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 id="2147483685" r:id="rId2"/>
    <p:sldMasterId id="2147483697" r:id="rId3"/>
    <p:sldMasterId id="2147483710" r:id="rId4"/>
    <p:sldMasterId id="2147483724" r:id="rId5"/>
  </p:sldMasterIdLst>
  <p:notesMasterIdLst>
    <p:notesMasterId r:id="rId21"/>
  </p:notesMasterIdLst>
  <p:sldIdLst>
    <p:sldId id="257" r:id="rId6"/>
    <p:sldId id="259" r:id="rId7"/>
    <p:sldId id="287" r:id="rId8"/>
    <p:sldId id="276" r:id="rId9"/>
    <p:sldId id="284" r:id="rId10"/>
    <p:sldId id="290" r:id="rId11"/>
    <p:sldId id="271" r:id="rId12"/>
    <p:sldId id="272" r:id="rId13"/>
    <p:sldId id="288" r:id="rId14"/>
    <p:sldId id="277" r:id="rId15"/>
    <p:sldId id="279" r:id="rId16"/>
    <p:sldId id="280" r:id="rId17"/>
    <p:sldId id="285" r:id="rId18"/>
    <p:sldId id="282" r:id="rId19"/>
    <p:sldId id="275" r:id="rId20"/>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onia Pandit" initials="SP" lastIdx="6" clrIdx="0">
    <p:extLst>
      <p:ext uri="{19B8F6BF-5375-455C-9EA6-DF929625EA0E}">
        <p15:presenceInfo xmlns:p15="http://schemas.microsoft.com/office/powerpoint/2012/main" userId="S-1-5-21-1268611206-43474576-316617838-270505" providerId="AD"/>
      </p:ext>
    </p:extLst>
  </p:cmAuthor>
  <p:cmAuthor id="2" name="Heather H. Howard" initials="HHH" lastIdx="7" clrIdx="1">
    <p:extLst>
      <p:ext uri="{19B8F6BF-5375-455C-9EA6-DF929625EA0E}">
        <p15:presenceInfo xmlns:p15="http://schemas.microsoft.com/office/powerpoint/2012/main" userId="S-1-5-21-1268611206-43474576-316617838-13636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8064A2"/>
    <a:srgbClr val="E9674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88" d="100"/>
          <a:sy n="88" d="100"/>
        </p:scale>
        <p:origin x="1334" y="3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0B2F330-BF16-45A3-81CB-9EDB7C275903}" type="datetimeFigureOut">
              <a:rPr lang="en-US" smtClean="0"/>
              <a:t>1/14/2020</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60A1ABE-3D6C-4A0C-BD87-AADF49012528}" type="slidenum">
              <a:rPr lang="en-US" smtClean="0"/>
              <a:t>‹#›</a:t>
            </a:fld>
            <a:endParaRPr lang="en-US"/>
          </a:p>
        </p:txBody>
      </p:sp>
    </p:spTree>
    <p:extLst>
      <p:ext uri="{BB962C8B-B14F-4D97-AF65-F5344CB8AC3E}">
        <p14:creationId xmlns:p14="http://schemas.microsoft.com/office/powerpoint/2010/main" val="26892845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49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8499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1363" indent="-284163">
              <a:defRPr>
                <a:solidFill>
                  <a:schemeClr val="tx1"/>
                </a:solidFill>
                <a:latin typeface="Calibri" panose="020F0502020204030204" pitchFamily="34" charset="0"/>
                <a:cs typeface="Arial" panose="020B0604020202020204" pitchFamily="34" charset="0"/>
              </a:defRPr>
            </a:lvl2pPr>
            <a:lvl3pPr marL="1141413" indent="-227013">
              <a:defRPr>
                <a:solidFill>
                  <a:schemeClr val="tx1"/>
                </a:solidFill>
                <a:latin typeface="Calibri" panose="020F0502020204030204" pitchFamily="34" charset="0"/>
                <a:cs typeface="Arial" panose="020B0604020202020204" pitchFamily="34" charset="0"/>
              </a:defRPr>
            </a:lvl3pPr>
            <a:lvl4pPr marL="1598613" indent="-227013">
              <a:defRPr>
                <a:solidFill>
                  <a:schemeClr val="tx1"/>
                </a:solidFill>
                <a:latin typeface="Calibri" panose="020F0502020204030204" pitchFamily="34" charset="0"/>
                <a:cs typeface="Arial" panose="020B0604020202020204" pitchFamily="34" charset="0"/>
              </a:defRPr>
            </a:lvl4pPr>
            <a:lvl5pPr marL="2055813" indent="-227013">
              <a:defRPr>
                <a:solidFill>
                  <a:schemeClr val="tx1"/>
                </a:solidFill>
                <a:latin typeface="Calibri" panose="020F0502020204030204" pitchFamily="34" charset="0"/>
                <a:cs typeface="Arial" panose="020B0604020202020204" pitchFamily="34" charset="0"/>
              </a:defRPr>
            </a:lvl5pPr>
            <a:lvl6pPr marL="2513013" indent="-2270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0213" indent="-2270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7413" indent="-2270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4613" indent="-2270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EC45502E-548F-4B71-A51F-C11803F48DF5}" type="slidenum">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alt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5489889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0000"/>
                </a:solidFill>
                <a:latin typeface="Calibri" charset="0"/>
              </a:rPr>
              <a:t>Most states experienced double digit rate increases in 2017 and 2018, partly due to silver loading.  Rate increases continue to vary dramatically by state and region, but most states will see single digit rate increases (or even decreases) for 2020.  </a:t>
            </a:r>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13E4839-FD96-3541-B869-EEB3BABC672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400751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63A5EBB-1017-46CC-B713-2AC138AC501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56059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63A5EBB-1017-46CC-B713-2AC138AC501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168309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13E4839-FD96-3541-B869-EEB3BABC67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21944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13E4839-FD96-3541-B869-EEB3BABC67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61328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F42FD92D-FC77-DC45-B093-430CAF4BCD48}" type="datetimeFigureOut">
              <a:rPr lang="en-US" smtClean="0"/>
              <a:t>1/14/2020</a:t>
            </a:fld>
            <a:endParaRPr lang="en-US" dirty="0"/>
          </a:p>
        </p:txBody>
      </p:sp>
      <p:sp>
        <p:nvSpPr>
          <p:cNvPr id="5" name="Footer Placeholder 4"/>
          <p:cNvSpPr>
            <a:spLocks noGrp="1"/>
          </p:cNvSpPr>
          <p:nvPr>
            <p:ph type="ftr" sz="quarter" idx="11"/>
          </p:nvPr>
        </p:nvSpPr>
        <p:spPr>
          <a:xfrm>
            <a:off x="3063240" y="6492875"/>
            <a:ext cx="2895600" cy="365125"/>
          </a:xfrm>
          <a:prstGeom prst="rect">
            <a:avLst/>
          </a:prstGeom>
        </p:spPr>
        <p:txBody>
          <a:bodyPr/>
          <a:lstStyle>
            <a:lvl1pPr algn="ctr">
              <a:defRPr/>
            </a:lvl1pPr>
          </a:lstStyle>
          <a:p>
            <a:endParaRPr lang="en-US" dirty="0"/>
          </a:p>
        </p:txBody>
      </p:sp>
      <p:sp>
        <p:nvSpPr>
          <p:cNvPr id="6" name="Slide Number Placeholder 5"/>
          <p:cNvSpPr>
            <a:spLocks noGrp="1"/>
          </p:cNvSpPr>
          <p:nvPr>
            <p:ph type="sldNum" sz="quarter" idx="12"/>
          </p:nvPr>
        </p:nvSpPr>
        <p:spPr/>
        <p:txBody>
          <a:bodyPr/>
          <a:lstStyle>
            <a:lvl1pPr>
              <a:defRPr sz="1400">
                <a:latin typeface="+mn-lt"/>
              </a:defRPr>
            </a:lvl1pPr>
          </a:lstStyle>
          <a:p>
            <a:r>
              <a:rPr lang="en-US" dirty="0"/>
              <a:t>www.shvs.org</a:t>
            </a:r>
          </a:p>
        </p:txBody>
      </p:sp>
    </p:spTree>
    <p:extLst>
      <p:ext uri="{BB962C8B-B14F-4D97-AF65-F5344CB8AC3E}">
        <p14:creationId xmlns:p14="http://schemas.microsoft.com/office/powerpoint/2010/main" val="10543733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F42FD92D-FC77-DC45-B093-430CAF4BCD48}" type="datetimeFigureOut">
              <a:rPr lang="en-US" smtClean="0"/>
              <a:t>1/14/2020</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F8F61B7B-C0D0-AF4B-B8D3-FC967CD47F6A}" type="slidenum">
              <a:rPr lang="en-US" smtClean="0"/>
              <a:t>‹#›</a:t>
            </a:fld>
            <a:endParaRPr lang="en-US" dirty="0"/>
          </a:p>
        </p:txBody>
      </p:sp>
    </p:spTree>
    <p:extLst>
      <p:ext uri="{BB962C8B-B14F-4D97-AF65-F5344CB8AC3E}">
        <p14:creationId xmlns:p14="http://schemas.microsoft.com/office/powerpoint/2010/main" val="40847008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F42FD92D-FC77-DC45-B093-430CAF4BCD48}" type="datetimeFigureOut">
              <a:rPr lang="en-US" smtClean="0"/>
              <a:t>1/14/2020</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F8F61B7B-C0D0-AF4B-B8D3-FC967CD47F6A}" type="slidenum">
              <a:rPr lang="en-US" smtClean="0"/>
              <a:t>‹#›</a:t>
            </a:fld>
            <a:endParaRPr lang="en-US" dirty="0"/>
          </a:p>
        </p:txBody>
      </p:sp>
    </p:spTree>
    <p:extLst>
      <p:ext uri="{BB962C8B-B14F-4D97-AF65-F5344CB8AC3E}">
        <p14:creationId xmlns:p14="http://schemas.microsoft.com/office/powerpoint/2010/main" val="23095854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vert="horz"/>
          <a:lstStyle/>
          <a:p>
            <a:r>
              <a:rPr lang="en-US"/>
              <a:t>Click to edit Master title style</a:t>
            </a:r>
          </a:p>
        </p:txBody>
      </p:sp>
      <p:sp>
        <p:nvSpPr>
          <p:cNvPr id="3" name="Slide Number Placeholder 2"/>
          <p:cNvSpPr>
            <a:spLocks noGrp="1"/>
          </p:cNvSpPr>
          <p:nvPr>
            <p:ph type="sldNum" sz="quarter" idx="10"/>
          </p:nvPr>
        </p:nvSpPr>
        <p:spPr/>
        <p:txBody>
          <a:bodyPr/>
          <a:lstStyle/>
          <a:p>
            <a:r>
              <a:rPr lang="en-US" dirty="0"/>
              <a:t>Page | </a:t>
            </a:r>
            <a:fld id="{F8F61B7B-C0D0-AF4B-B8D3-FC967CD47F6A}" type="slidenum">
              <a:rPr lang="en-US" smtClean="0"/>
              <a:pPr/>
              <a:t>‹#›</a:t>
            </a:fld>
            <a:endParaRPr lang="en-US" dirty="0"/>
          </a:p>
        </p:txBody>
      </p:sp>
    </p:spTree>
    <p:extLst>
      <p:ext uri="{BB962C8B-B14F-4D97-AF65-F5344CB8AC3E}">
        <p14:creationId xmlns:p14="http://schemas.microsoft.com/office/powerpoint/2010/main" val="32537303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5BAC74E3-19F4-0141-86E7-09A63899B376}" type="datetimeFigureOut">
              <a:rPr lang="en-US" smtClean="0"/>
              <a:t>1/14/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089AD78-8C7A-B549-90F5-327CDFD3286E}" type="slidenum">
              <a:rPr lang="en-US" smtClean="0"/>
              <a:t>‹#›</a:t>
            </a:fld>
            <a:endParaRPr lang="en-US" dirty="0"/>
          </a:p>
        </p:txBody>
      </p:sp>
    </p:spTree>
    <p:extLst>
      <p:ext uri="{BB962C8B-B14F-4D97-AF65-F5344CB8AC3E}">
        <p14:creationId xmlns:p14="http://schemas.microsoft.com/office/powerpoint/2010/main" val="6218913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BAC74E3-19F4-0141-86E7-09A63899B376}" type="datetimeFigureOut">
              <a:rPr lang="en-US" smtClean="0"/>
              <a:t>1/14/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089AD78-8C7A-B549-90F5-327CDFD3286E}" type="slidenum">
              <a:rPr lang="en-US" smtClean="0"/>
              <a:t>‹#›</a:t>
            </a:fld>
            <a:endParaRPr lang="en-US" dirty="0"/>
          </a:p>
        </p:txBody>
      </p:sp>
    </p:spTree>
    <p:extLst>
      <p:ext uri="{BB962C8B-B14F-4D97-AF65-F5344CB8AC3E}">
        <p14:creationId xmlns:p14="http://schemas.microsoft.com/office/powerpoint/2010/main" val="18422333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BAC74E3-19F4-0141-86E7-09A63899B376}" type="datetimeFigureOut">
              <a:rPr lang="en-US" smtClean="0"/>
              <a:t>1/14/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089AD78-8C7A-B549-90F5-327CDFD3286E}" type="slidenum">
              <a:rPr lang="en-US" smtClean="0"/>
              <a:t>‹#›</a:t>
            </a:fld>
            <a:endParaRPr lang="en-US" dirty="0"/>
          </a:p>
        </p:txBody>
      </p:sp>
    </p:spTree>
    <p:extLst>
      <p:ext uri="{BB962C8B-B14F-4D97-AF65-F5344CB8AC3E}">
        <p14:creationId xmlns:p14="http://schemas.microsoft.com/office/powerpoint/2010/main" val="38173903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825625"/>
            <a:ext cx="38671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825625"/>
            <a:ext cx="38671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BAC74E3-19F4-0141-86E7-09A63899B376}" type="datetimeFigureOut">
              <a:rPr lang="en-US" smtClean="0"/>
              <a:t>1/14/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089AD78-8C7A-B549-90F5-327CDFD3286E}" type="slidenum">
              <a:rPr lang="en-US" smtClean="0"/>
              <a:t>‹#›</a:t>
            </a:fld>
            <a:endParaRPr lang="en-US" dirty="0"/>
          </a:p>
        </p:txBody>
      </p:sp>
    </p:spTree>
    <p:extLst>
      <p:ext uri="{BB962C8B-B14F-4D97-AF65-F5344CB8AC3E}">
        <p14:creationId xmlns:p14="http://schemas.microsoft.com/office/powerpoint/2010/main" val="14996022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a:t>Click to edit Master title style</a:t>
            </a:r>
          </a:p>
        </p:txBody>
      </p:sp>
      <p:sp>
        <p:nvSpPr>
          <p:cNvPr id="3" name="Text Placehold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BAC74E3-19F4-0141-86E7-09A63899B376}" type="datetimeFigureOut">
              <a:rPr lang="en-US" smtClean="0"/>
              <a:t>1/14/2020</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8089AD78-8C7A-B549-90F5-327CDFD3286E}" type="slidenum">
              <a:rPr lang="en-US" smtClean="0"/>
              <a:t>‹#›</a:t>
            </a:fld>
            <a:endParaRPr lang="en-US" dirty="0"/>
          </a:p>
        </p:txBody>
      </p:sp>
    </p:spTree>
    <p:extLst>
      <p:ext uri="{BB962C8B-B14F-4D97-AF65-F5344CB8AC3E}">
        <p14:creationId xmlns:p14="http://schemas.microsoft.com/office/powerpoint/2010/main" val="181208677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BAC74E3-19F4-0141-86E7-09A63899B376}" type="datetimeFigureOut">
              <a:rPr lang="en-US" smtClean="0"/>
              <a:t>1/14/20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8089AD78-8C7A-B549-90F5-327CDFD3286E}" type="slidenum">
              <a:rPr lang="en-US" smtClean="0"/>
              <a:t>‹#›</a:t>
            </a:fld>
            <a:endParaRPr lang="en-US" dirty="0"/>
          </a:p>
        </p:txBody>
      </p:sp>
      <p:sp>
        <p:nvSpPr>
          <p:cNvPr id="6" name="Slide Number Placeholder 5"/>
          <p:cNvSpPr txBox="1">
            <a:spLocks/>
          </p:cNvSpPr>
          <p:nvPr userDrawn="1"/>
        </p:nvSpPr>
        <p:spPr>
          <a:xfrm>
            <a:off x="522878" y="6356350"/>
            <a:ext cx="3023937" cy="444977"/>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400" dirty="0">
                <a:solidFill>
                  <a:schemeClr val="bg1"/>
                </a:solidFill>
              </a:rPr>
              <a:t>State Health Value Strategies </a:t>
            </a:r>
            <a:r>
              <a:rPr lang="en-US" sz="1400" b="1" dirty="0">
                <a:solidFill>
                  <a:schemeClr val="bg1"/>
                </a:solidFill>
              </a:rPr>
              <a:t>| </a:t>
            </a:r>
            <a:r>
              <a:rPr lang="en-US" sz="1400" dirty="0">
                <a:solidFill>
                  <a:schemeClr val="bg1"/>
                </a:solidFill>
              </a:rPr>
              <a:t>&lt;#&gt;</a:t>
            </a:r>
          </a:p>
        </p:txBody>
      </p:sp>
    </p:spTree>
    <p:extLst>
      <p:ext uri="{BB962C8B-B14F-4D97-AF65-F5344CB8AC3E}">
        <p14:creationId xmlns:p14="http://schemas.microsoft.com/office/powerpoint/2010/main" val="2482640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BAC74E3-19F4-0141-86E7-09A63899B376}" type="datetimeFigureOut">
              <a:rPr lang="en-US" smtClean="0"/>
              <a:t>1/14/20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8089AD78-8C7A-B549-90F5-327CDFD3286E}" type="slidenum">
              <a:rPr lang="en-US" smtClean="0"/>
              <a:t>‹#›</a:t>
            </a:fld>
            <a:endParaRPr lang="en-US" dirty="0"/>
          </a:p>
        </p:txBody>
      </p:sp>
    </p:spTree>
    <p:extLst>
      <p:ext uri="{BB962C8B-B14F-4D97-AF65-F5344CB8AC3E}">
        <p14:creationId xmlns:p14="http://schemas.microsoft.com/office/powerpoint/2010/main" val="12088234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F42FD92D-FC77-DC45-B093-430CAF4BCD48}" type="datetimeFigureOut">
              <a:rPr lang="en-US" smtClean="0"/>
              <a:t>1/14/2020</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F8F61B7B-C0D0-AF4B-B8D3-FC967CD47F6A}" type="slidenum">
              <a:rPr lang="en-US" smtClean="0"/>
              <a:t>‹#›</a:t>
            </a:fld>
            <a:endParaRPr lang="en-US" dirty="0"/>
          </a:p>
        </p:txBody>
      </p:sp>
    </p:spTree>
    <p:extLst>
      <p:ext uri="{BB962C8B-B14F-4D97-AF65-F5344CB8AC3E}">
        <p14:creationId xmlns:p14="http://schemas.microsoft.com/office/powerpoint/2010/main" val="20981132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BAC74E3-19F4-0141-86E7-09A63899B376}" type="datetimeFigureOut">
              <a:rPr lang="en-US" smtClean="0"/>
              <a:t>1/14/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089AD78-8C7A-B549-90F5-327CDFD3286E}" type="slidenum">
              <a:rPr lang="en-US" smtClean="0"/>
              <a:t>‹#›</a:t>
            </a:fld>
            <a:endParaRPr lang="en-US" dirty="0"/>
          </a:p>
        </p:txBody>
      </p:sp>
    </p:spTree>
    <p:extLst>
      <p:ext uri="{BB962C8B-B14F-4D97-AF65-F5344CB8AC3E}">
        <p14:creationId xmlns:p14="http://schemas.microsoft.com/office/powerpoint/2010/main" val="20205531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BAC74E3-19F4-0141-86E7-09A63899B376}" type="datetimeFigureOut">
              <a:rPr lang="en-US" smtClean="0"/>
              <a:t>1/14/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089AD78-8C7A-B549-90F5-327CDFD3286E}" type="slidenum">
              <a:rPr lang="en-US" smtClean="0"/>
              <a:t>‹#›</a:t>
            </a:fld>
            <a:endParaRPr lang="en-US" dirty="0"/>
          </a:p>
        </p:txBody>
      </p:sp>
    </p:spTree>
    <p:extLst>
      <p:ext uri="{BB962C8B-B14F-4D97-AF65-F5344CB8AC3E}">
        <p14:creationId xmlns:p14="http://schemas.microsoft.com/office/powerpoint/2010/main" val="337251887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BAC74E3-19F4-0141-86E7-09A63899B376}" type="datetimeFigureOut">
              <a:rPr lang="en-US" smtClean="0"/>
              <a:t>1/14/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089AD78-8C7A-B549-90F5-327CDFD3286E}" type="slidenum">
              <a:rPr lang="en-US" smtClean="0"/>
              <a:t>‹#›</a:t>
            </a:fld>
            <a:endParaRPr lang="en-US" dirty="0"/>
          </a:p>
        </p:txBody>
      </p:sp>
    </p:spTree>
    <p:extLst>
      <p:ext uri="{BB962C8B-B14F-4D97-AF65-F5344CB8AC3E}">
        <p14:creationId xmlns:p14="http://schemas.microsoft.com/office/powerpoint/2010/main" val="279136933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365125"/>
            <a:ext cx="57626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BAC74E3-19F4-0141-86E7-09A63899B376}" type="datetimeFigureOut">
              <a:rPr lang="en-US" smtClean="0"/>
              <a:t>1/14/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089AD78-8C7A-B549-90F5-327CDFD3286E}" type="slidenum">
              <a:rPr lang="en-US" smtClean="0"/>
              <a:t>‹#›</a:t>
            </a:fld>
            <a:endParaRPr lang="en-US" dirty="0"/>
          </a:p>
        </p:txBody>
      </p:sp>
    </p:spTree>
    <p:extLst>
      <p:ext uri="{BB962C8B-B14F-4D97-AF65-F5344CB8AC3E}">
        <p14:creationId xmlns:p14="http://schemas.microsoft.com/office/powerpoint/2010/main" val="334399333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1/14/2020</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15746637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a:blip r:embed="rId2"/>
          <a:tile tx="0" ty="0" sx="100000" sy="100000" flip="none" algn="tl"/>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541374"/>
            <a:ext cx="8229600" cy="1143000"/>
          </a:xfrm>
        </p:spPr>
        <p:txBody>
          <a:bodyPr/>
          <a:lstStyle/>
          <a:p>
            <a:r>
              <a:rPr lang="en-US"/>
              <a:t>Click to edit Master title style</a:t>
            </a:r>
          </a:p>
        </p:txBody>
      </p:sp>
      <p:sp>
        <p:nvSpPr>
          <p:cNvPr id="3" name="Content Placeholder 2"/>
          <p:cNvSpPr>
            <a:spLocks noGrp="1"/>
          </p:cNvSpPr>
          <p:nvPr>
            <p:ph idx="1"/>
          </p:nvPr>
        </p:nvSpPr>
        <p:spPr>
          <a:xfrm>
            <a:off x="457200" y="2154118"/>
            <a:ext cx="8229600" cy="385332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1/14/2020</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196867355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1/14/2020</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233263794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1/14/2020</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255914010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1/14/2020</a:t>
            </a:fld>
            <a:endParaRPr lang="en-US" dirty="0"/>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9" name="Slide Number Placeholder 8"/>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19656624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1/14/2020</a:t>
            </a:fld>
            <a:endParaRPr lang="en-US" dirty="0"/>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5" name="Slide Number Placeholder 4"/>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4639388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F42FD92D-FC77-DC45-B093-430CAF4BCD48}" type="datetimeFigureOut">
              <a:rPr lang="en-US" smtClean="0"/>
              <a:t>1/14/2020</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F8F61B7B-C0D0-AF4B-B8D3-FC967CD47F6A}" type="slidenum">
              <a:rPr lang="en-US" smtClean="0"/>
              <a:t>‹#›</a:t>
            </a:fld>
            <a:endParaRPr lang="en-US" dirty="0"/>
          </a:p>
        </p:txBody>
      </p:sp>
    </p:spTree>
    <p:extLst>
      <p:ext uri="{BB962C8B-B14F-4D97-AF65-F5344CB8AC3E}">
        <p14:creationId xmlns:p14="http://schemas.microsoft.com/office/powerpoint/2010/main" val="260570301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1/14/2020</a:t>
            </a:fld>
            <a:endParaRPr lang="en-US" dirty="0"/>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4" name="Slide Number Placeholder 3"/>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385398081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1/14/2020</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177140836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1/14/2020</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47306310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1/14/2020</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111495686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1/14/2020</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388382392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Robert Wood Johnson Foundation">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p:txBody>
          <a:bodyPr/>
          <a:lstStyle>
            <a:lvl1pPr>
              <a:defRPr/>
            </a:lvl1pPr>
          </a:lstStyle>
          <a:p>
            <a:fld id="{2ACCFB6C-78E0-481E-B587-DF46E611C85E}" type="slidenum">
              <a:rPr lang="en-US" altLang="en-US"/>
              <a:pPr/>
              <a:t>‹#›</a:t>
            </a:fld>
            <a:endParaRPr lang="en-US" altLang="en-US" dirty="0"/>
          </a:p>
        </p:txBody>
      </p:sp>
    </p:spTree>
    <p:extLst>
      <p:ext uri="{BB962C8B-B14F-4D97-AF65-F5344CB8AC3E}">
        <p14:creationId xmlns:p14="http://schemas.microsoft.com/office/powerpoint/2010/main" val="331187396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dirty="0"/>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14/2020</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418109705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a:blip r:embed="rId2"/>
          <a:tile tx="0" ty="0" sx="100000" sy="100000" flip="none" algn="tl"/>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541374"/>
            <a:ext cx="8229600" cy="1143000"/>
          </a:xfrm>
        </p:spPr>
        <p:txBody>
          <a:bodyPr/>
          <a:lstStyle/>
          <a:p>
            <a:r>
              <a:rPr lang="en-US"/>
              <a:t>Click to edit Master title style</a:t>
            </a:r>
          </a:p>
        </p:txBody>
      </p:sp>
      <p:sp>
        <p:nvSpPr>
          <p:cNvPr id="3" name="Content Placeholder 2"/>
          <p:cNvSpPr>
            <a:spLocks noGrp="1"/>
          </p:cNvSpPr>
          <p:nvPr>
            <p:ph idx="1"/>
          </p:nvPr>
        </p:nvSpPr>
        <p:spPr>
          <a:xfrm>
            <a:off x="457200" y="2154118"/>
            <a:ext cx="8229600" cy="385332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14/2020</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123407942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14/2020</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4790807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14/2020</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18231292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F42FD92D-FC77-DC45-B093-430CAF4BCD48}" type="datetimeFigureOut">
              <a:rPr lang="en-US" smtClean="0"/>
              <a:t>1/14/2020</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p:txBody>
          <a:bodyPr/>
          <a:lstStyle/>
          <a:p>
            <a:fld id="{F8F61B7B-C0D0-AF4B-B8D3-FC967CD47F6A}" type="slidenum">
              <a:rPr lang="en-US" smtClean="0"/>
              <a:t>‹#›</a:t>
            </a:fld>
            <a:endParaRPr lang="en-US" dirty="0"/>
          </a:p>
        </p:txBody>
      </p:sp>
    </p:spTree>
    <p:extLst>
      <p:ext uri="{BB962C8B-B14F-4D97-AF65-F5344CB8AC3E}">
        <p14:creationId xmlns:p14="http://schemas.microsoft.com/office/powerpoint/2010/main" val="290701557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14/2020</a:t>
            </a:fld>
            <a:endParaRPr lang="en-US" dirty="0">
              <a:solidFill>
                <a:prstClr val="black"/>
              </a:solidFill>
            </a:endParaRPr>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9" name="Slide Number Placeholder 8"/>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62357364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14/2020</a:t>
            </a:fld>
            <a:endParaRPr lang="en-US" dirty="0">
              <a:solidFill>
                <a:prstClr val="black"/>
              </a:solidFill>
            </a:endParaRPr>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5" name="Slide Number Placeholder 4"/>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21422593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14/2020</a:t>
            </a:fld>
            <a:endParaRPr lang="en-US" dirty="0">
              <a:solidFill>
                <a:prstClr val="black"/>
              </a:solidFill>
            </a:endParaRP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4" name="Slide Number Placeholder 3"/>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381255007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14/2020</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4987333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14/2020</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415075015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14/2020</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321831506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14/2020</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36152302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15954" y="358775"/>
            <a:ext cx="8450263" cy="56245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6184241"/>
      </p:ext>
    </p:extLst>
  </p:cSld>
  <p:clrMapOvr>
    <a:masterClrMapping/>
  </p:clrMapOvr>
  <p:transition spd="slow">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126327394"/>
      </p:ext>
    </p:extLst>
  </p:cSld>
  <p:clrMapOvr>
    <a:masterClrMapping/>
  </p:clrMapOvr>
  <p:transition spd="slow">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1/14/2020</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55FB97A1-9E25-5140-8E20-D0104F209260}" type="slidenum">
              <a:rPr lang="en-US" smtClean="0"/>
              <a:t>‹#›</a:t>
            </a:fld>
            <a:endParaRPr lang="en-US"/>
          </a:p>
        </p:txBody>
      </p:sp>
    </p:spTree>
    <p:extLst>
      <p:ext uri="{BB962C8B-B14F-4D97-AF65-F5344CB8AC3E}">
        <p14:creationId xmlns:p14="http://schemas.microsoft.com/office/powerpoint/2010/main" val="9867527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F42FD92D-FC77-DC45-B093-430CAF4BCD48}" type="datetimeFigureOut">
              <a:rPr lang="en-US" smtClean="0"/>
              <a:t>1/14/2020</a:t>
            </a:fld>
            <a:endParaRPr lang="en-US" dirty="0"/>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9" name="Slide Number Placeholder 8"/>
          <p:cNvSpPr>
            <a:spLocks noGrp="1"/>
          </p:cNvSpPr>
          <p:nvPr>
            <p:ph type="sldNum" sz="quarter" idx="12"/>
          </p:nvPr>
        </p:nvSpPr>
        <p:spPr/>
        <p:txBody>
          <a:bodyPr/>
          <a:lstStyle/>
          <a:p>
            <a:fld id="{F8F61B7B-C0D0-AF4B-B8D3-FC967CD47F6A}" type="slidenum">
              <a:rPr lang="en-US" smtClean="0"/>
              <a:t>‹#›</a:t>
            </a:fld>
            <a:endParaRPr lang="en-US" dirty="0"/>
          </a:p>
        </p:txBody>
      </p:sp>
    </p:spTree>
    <p:extLst>
      <p:ext uri="{BB962C8B-B14F-4D97-AF65-F5344CB8AC3E}">
        <p14:creationId xmlns:p14="http://schemas.microsoft.com/office/powerpoint/2010/main" val="162970354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a:blip r:embed="rId2"/>
          <a:tile tx="0" ty="0" sx="100000" sy="100000" flip="none" algn="tl"/>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541374"/>
            <a:ext cx="8229600" cy="1143000"/>
          </a:xfrm>
        </p:spPr>
        <p:txBody>
          <a:bodyPr/>
          <a:lstStyle/>
          <a:p>
            <a:r>
              <a:rPr lang="en-US"/>
              <a:t>Click to edit Master title style</a:t>
            </a:r>
          </a:p>
        </p:txBody>
      </p:sp>
      <p:sp>
        <p:nvSpPr>
          <p:cNvPr id="3" name="Content Placeholder 2"/>
          <p:cNvSpPr>
            <a:spLocks noGrp="1"/>
          </p:cNvSpPr>
          <p:nvPr>
            <p:ph idx="1"/>
          </p:nvPr>
        </p:nvSpPr>
        <p:spPr>
          <a:xfrm>
            <a:off x="457200" y="2154118"/>
            <a:ext cx="8229600" cy="385332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1/14/2020</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55FB97A1-9E25-5140-8E20-D0104F209260}" type="slidenum">
              <a:rPr lang="en-US" smtClean="0"/>
              <a:t>‹#›</a:t>
            </a:fld>
            <a:endParaRPr lang="en-US"/>
          </a:p>
        </p:txBody>
      </p:sp>
    </p:spTree>
    <p:extLst>
      <p:ext uri="{BB962C8B-B14F-4D97-AF65-F5344CB8AC3E}">
        <p14:creationId xmlns:p14="http://schemas.microsoft.com/office/powerpoint/2010/main" val="272059357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1/14/2020</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55FB97A1-9E25-5140-8E20-D0104F209260}" type="slidenum">
              <a:rPr lang="en-US" smtClean="0"/>
              <a:t>‹#›</a:t>
            </a:fld>
            <a:endParaRPr lang="en-US"/>
          </a:p>
        </p:txBody>
      </p:sp>
    </p:spTree>
    <p:extLst>
      <p:ext uri="{BB962C8B-B14F-4D97-AF65-F5344CB8AC3E}">
        <p14:creationId xmlns:p14="http://schemas.microsoft.com/office/powerpoint/2010/main" val="345749435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1/14/2020</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p:txBody>
          <a:bodyPr/>
          <a:lstStyle/>
          <a:p>
            <a:fld id="{55FB97A1-9E25-5140-8E20-D0104F209260}" type="slidenum">
              <a:rPr lang="en-US" smtClean="0"/>
              <a:t>‹#›</a:t>
            </a:fld>
            <a:endParaRPr lang="en-US"/>
          </a:p>
        </p:txBody>
      </p:sp>
    </p:spTree>
    <p:extLst>
      <p:ext uri="{BB962C8B-B14F-4D97-AF65-F5344CB8AC3E}">
        <p14:creationId xmlns:p14="http://schemas.microsoft.com/office/powerpoint/2010/main" val="38819627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1/14/2020</a:t>
            </a:fld>
            <a:endParaRPr lang="en-US"/>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a:p>
        </p:txBody>
      </p:sp>
      <p:sp>
        <p:nvSpPr>
          <p:cNvPr id="9" name="Slide Number Placeholder 8"/>
          <p:cNvSpPr>
            <a:spLocks noGrp="1"/>
          </p:cNvSpPr>
          <p:nvPr>
            <p:ph type="sldNum" sz="quarter" idx="12"/>
          </p:nvPr>
        </p:nvSpPr>
        <p:spPr/>
        <p:txBody>
          <a:bodyPr/>
          <a:lstStyle/>
          <a:p>
            <a:fld id="{55FB97A1-9E25-5140-8E20-D0104F209260}" type="slidenum">
              <a:rPr lang="en-US" smtClean="0"/>
              <a:t>‹#›</a:t>
            </a:fld>
            <a:endParaRPr lang="en-US"/>
          </a:p>
        </p:txBody>
      </p:sp>
    </p:spTree>
    <p:extLst>
      <p:ext uri="{BB962C8B-B14F-4D97-AF65-F5344CB8AC3E}">
        <p14:creationId xmlns:p14="http://schemas.microsoft.com/office/powerpoint/2010/main" val="238829929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1/14/2020</a:t>
            </a:fld>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a:p>
        </p:txBody>
      </p:sp>
      <p:sp>
        <p:nvSpPr>
          <p:cNvPr id="5" name="Slide Number Placeholder 4"/>
          <p:cNvSpPr>
            <a:spLocks noGrp="1"/>
          </p:cNvSpPr>
          <p:nvPr>
            <p:ph type="sldNum" sz="quarter" idx="12"/>
          </p:nvPr>
        </p:nvSpPr>
        <p:spPr/>
        <p:txBody>
          <a:bodyPr/>
          <a:lstStyle/>
          <a:p>
            <a:fld id="{55FB97A1-9E25-5140-8E20-D0104F209260}" type="slidenum">
              <a:rPr lang="en-US" smtClean="0"/>
              <a:t>‹#›</a:t>
            </a:fld>
            <a:endParaRPr lang="en-US"/>
          </a:p>
        </p:txBody>
      </p:sp>
    </p:spTree>
    <p:extLst>
      <p:ext uri="{BB962C8B-B14F-4D97-AF65-F5344CB8AC3E}">
        <p14:creationId xmlns:p14="http://schemas.microsoft.com/office/powerpoint/2010/main" val="111055258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1/14/2020</a:t>
            </a:fld>
            <a:endParaRPr lang="en-US"/>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a:p>
        </p:txBody>
      </p:sp>
      <p:sp>
        <p:nvSpPr>
          <p:cNvPr id="4" name="Slide Number Placeholder 3"/>
          <p:cNvSpPr>
            <a:spLocks noGrp="1"/>
          </p:cNvSpPr>
          <p:nvPr>
            <p:ph type="sldNum" sz="quarter" idx="12"/>
          </p:nvPr>
        </p:nvSpPr>
        <p:spPr/>
        <p:txBody>
          <a:bodyPr/>
          <a:lstStyle/>
          <a:p>
            <a:fld id="{55FB97A1-9E25-5140-8E20-D0104F209260}" type="slidenum">
              <a:rPr lang="en-US" smtClean="0"/>
              <a:t>‹#›</a:t>
            </a:fld>
            <a:endParaRPr lang="en-US"/>
          </a:p>
        </p:txBody>
      </p:sp>
    </p:spTree>
    <p:extLst>
      <p:ext uri="{BB962C8B-B14F-4D97-AF65-F5344CB8AC3E}">
        <p14:creationId xmlns:p14="http://schemas.microsoft.com/office/powerpoint/2010/main" val="300944871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1/14/2020</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p:txBody>
          <a:bodyPr/>
          <a:lstStyle/>
          <a:p>
            <a:fld id="{55FB97A1-9E25-5140-8E20-D0104F209260}" type="slidenum">
              <a:rPr lang="en-US" smtClean="0"/>
              <a:t>‹#›</a:t>
            </a:fld>
            <a:endParaRPr lang="en-US"/>
          </a:p>
        </p:txBody>
      </p:sp>
    </p:spTree>
    <p:extLst>
      <p:ext uri="{BB962C8B-B14F-4D97-AF65-F5344CB8AC3E}">
        <p14:creationId xmlns:p14="http://schemas.microsoft.com/office/powerpoint/2010/main" val="183855299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1/14/2020</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p:txBody>
          <a:bodyPr/>
          <a:lstStyle/>
          <a:p>
            <a:fld id="{55FB97A1-9E25-5140-8E20-D0104F209260}" type="slidenum">
              <a:rPr lang="en-US" smtClean="0"/>
              <a:t>‹#›</a:t>
            </a:fld>
            <a:endParaRPr lang="en-US"/>
          </a:p>
        </p:txBody>
      </p:sp>
    </p:spTree>
    <p:extLst>
      <p:ext uri="{BB962C8B-B14F-4D97-AF65-F5344CB8AC3E}">
        <p14:creationId xmlns:p14="http://schemas.microsoft.com/office/powerpoint/2010/main" val="93999899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1/14/2020</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55FB97A1-9E25-5140-8E20-D0104F209260}" type="slidenum">
              <a:rPr lang="en-US" smtClean="0"/>
              <a:t>‹#›</a:t>
            </a:fld>
            <a:endParaRPr lang="en-US"/>
          </a:p>
        </p:txBody>
      </p:sp>
    </p:spTree>
    <p:extLst>
      <p:ext uri="{BB962C8B-B14F-4D97-AF65-F5344CB8AC3E}">
        <p14:creationId xmlns:p14="http://schemas.microsoft.com/office/powerpoint/2010/main" val="379999382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1/14/2020</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55FB97A1-9E25-5140-8E20-D0104F209260}" type="slidenum">
              <a:rPr lang="en-US" smtClean="0"/>
              <a:t>‹#›</a:t>
            </a:fld>
            <a:endParaRPr lang="en-US"/>
          </a:p>
        </p:txBody>
      </p:sp>
    </p:spTree>
    <p:extLst>
      <p:ext uri="{BB962C8B-B14F-4D97-AF65-F5344CB8AC3E}">
        <p14:creationId xmlns:p14="http://schemas.microsoft.com/office/powerpoint/2010/main" val="7233874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F42FD92D-FC77-DC45-B093-430CAF4BCD48}" type="datetimeFigureOut">
              <a:rPr lang="en-US" smtClean="0"/>
              <a:t>1/14/2020</a:t>
            </a:fld>
            <a:endParaRPr lang="en-US" dirty="0"/>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5" name="Slide Number Placeholder 4"/>
          <p:cNvSpPr>
            <a:spLocks noGrp="1"/>
          </p:cNvSpPr>
          <p:nvPr>
            <p:ph type="sldNum" sz="quarter" idx="12"/>
          </p:nvPr>
        </p:nvSpPr>
        <p:spPr/>
        <p:txBody>
          <a:bodyPr/>
          <a:lstStyle/>
          <a:p>
            <a:fld id="{F8F61B7B-C0D0-AF4B-B8D3-FC967CD47F6A}" type="slidenum">
              <a:rPr lang="en-US" smtClean="0"/>
              <a:t>‹#›</a:t>
            </a:fld>
            <a:endParaRPr lang="en-US" dirty="0"/>
          </a:p>
        </p:txBody>
      </p:sp>
    </p:spTree>
    <p:extLst>
      <p:ext uri="{BB962C8B-B14F-4D97-AF65-F5344CB8AC3E}">
        <p14:creationId xmlns:p14="http://schemas.microsoft.com/office/powerpoint/2010/main" val="5884106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F42FD92D-FC77-DC45-B093-430CAF4BCD48}" type="datetimeFigureOut">
              <a:rPr lang="en-US" smtClean="0"/>
              <a:t>1/14/2020</a:t>
            </a:fld>
            <a:endParaRPr lang="en-US" dirty="0"/>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4" name="Slide Number Placeholder 3"/>
          <p:cNvSpPr>
            <a:spLocks noGrp="1"/>
          </p:cNvSpPr>
          <p:nvPr>
            <p:ph type="sldNum" sz="quarter" idx="12"/>
          </p:nvPr>
        </p:nvSpPr>
        <p:spPr/>
        <p:txBody>
          <a:bodyPr/>
          <a:lstStyle/>
          <a:p>
            <a:fld id="{F8F61B7B-C0D0-AF4B-B8D3-FC967CD47F6A}" type="slidenum">
              <a:rPr lang="en-US" smtClean="0"/>
              <a:t>‹#›</a:t>
            </a:fld>
            <a:endParaRPr lang="en-US" dirty="0"/>
          </a:p>
        </p:txBody>
      </p:sp>
    </p:spTree>
    <p:extLst>
      <p:ext uri="{BB962C8B-B14F-4D97-AF65-F5344CB8AC3E}">
        <p14:creationId xmlns:p14="http://schemas.microsoft.com/office/powerpoint/2010/main" val="17780543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F42FD92D-FC77-DC45-B093-430CAF4BCD48}" type="datetimeFigureOut">
              <a:rPr lang="en-US" smtClean="0"/>
              <a:t>1/14/2020</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p:txBody>
          <a:bodyPr/>
          <a:lstStyle/>
          <a:p>
            <a:fld id="{F8F61B7B-C0D0-AF4B-B8D3-FC967CD47F6A}" type="slidenum">
              <a:rPr lang="en-US" smtClean="0"/>
              <a:t>‹#›</a:t>
            </a:fld>
            <a:endParaRPr lang="en-US" dirty="0"/>
          </a:p>
        </p:txBody>
      </p:sp>
    </p:spTree>
    <p:extLst>
      <p:ext uri="{BB962C8B-B14F-4D97-AF65-F5344CB8AC3E}">
        <p14:creationId xmlns:p14="http://schemas.microsoft.com/office/powerpoint/2010/main" val="14876093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F42FD92D-FC77-DC45-B093-430CAF4BCD48}" type="datetimeFigureOut">
              <a:rPr lang="en-US" smtClean="0"/>
              <a:t>1/14/2020</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p:txBody>
          <a:bodyPr/>
          <a:lstStyle/>
          <a:p>
            <a:fld id="{F8F61B7B-C0D0-AF4B-B8D3-FC967CD47F6A}" type="slidenum">
              <a:rPr lang="en-US" smtClean="0"/>
              <a:t>‹#›</a:t>
            </a:fld>
            <a:endParaRPr lang="en-US" dirty="0"/>
          </a:p>
        </p:txBody>
      </p:sp>
    </p:spTree>
    <p:extLst>
      <p:ext uri="{BB962C8B-B14F-4D97-AF65-F5344CB8AC3E}">
        <p14:creationId xmlns:p14="http://schemas.microsoft.com/office/powerpoint/2010/main" val="35825483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image" Target="../media/image2.jpe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theme" Target="../theme/theme3.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image" Target="../media/image3.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image" Target="../media/image3.png"/><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image" Target="../media/image3.png"/><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theme" Target="../theme/theme5.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069" y="-36286"/>
            <a:ext cx="9214051" cy="6985000"/>
          </a:xfrm>
          <a:prstGeom prst="rect">
            <a:avLst/>
          </a:prstGeom>
        </p:spPr>
      </p:pic>
      <p:sp>
        <p:nvSpPr>
          <p:cNvPr id="6" name="Slide Number Placeholder 5"/>
          <p:cNvSpPr>
            <a:spLocks noGrp="1"/>
          </p:cNvSpPr>
          <p:nvPr>
            <p:ph type="sldNum" sz="quarter" idx="4"/>
          </p:nvPr>
        </p:nvSpPr>
        <p:spPr>
          <a:xfrm>
            <a:off x="6553200" y="6492875"/>
            <a:ext cx="2133600" cy="365125"/>
          </a:xfrm>
          <a:prstGeom prst="rect">
            <a:avLst/>
          </a:prstGeom>
        </p:spPr>
        <p:txBody>
          <a:bodyPr vert="horz" lIns="91440" tIns="45720" rIns="91440" bIns="45720" rtlCol="0" anchor="ctr"/>
          <a:lstStyle>
            <a:lvl1pPr algn="r">
              <a:defRPr sz="1200" b="0" i="0">
                <a:solidFill>
                  <a:schemeClr val="bg1"/>
                </a:solidFill>
                <a:latin typeface="Helvetica Neue Medium"/>
                <a:cs typeface="Helvetica Neue Medium"/>
              </a:defRPr>
            </a:lvl1pPr>
          </a:lstStyle>
          <a:p>
            <a:r>
              <a:rPr lang="en-US" sz="1400" dirty="0">
                <a:latin typeface="+mn-lt"/>
              </a:rPr>
              <a:t>www.shvs.org</a:t>
            </a:r>
            <a:r>
              <a:rPr lang="en-US" dirty="0"/>
              <a:t> </a:t>
            </a:r>
          </a:p>
        </p:txBody>
      </p:sp>
    </p:spTree>
    <p:extLst>
      <p:ext uri="{BB962C8B-B14F-4D97-AF65-F5344CB8AC3E}">
        <p14:creationId xmlns:p14="http://schemas.microsoft.com/office/powerpoint/2010/main" val="252541528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Placeholder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BAC74E3-19F4-0141-86E7-09A63899B376}" type="datetimeFigureOut">
              <a:rPr lang="en-US" smtClean="0"/>
              <a:t>1/14/2020</a:t>
            </a:fld>
            <a:endParaRPr lang="en-US" dirty="0"/>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400">
                <a:solidFill>
                  <a:schemeClr val="bg1"/>
                </a:solidFill>
              </a:defRPr>
            </a:lvl1pPr>
          </a:lstStyle>
          <a:p>
            <a:r>
              <a:rPr lang="en-US" dirty="0"/>
              <a:t>www.shsvs.org</a:t>
            </a:r>
          </a:p>
        </p:txBody>
      </p:sp>
      <p:sp>
        <p:nvSpPr>
          <p:cNvPr id="9" name="Slide Number Placeholder 5"/>
          <p:cNvSpPr txBox="1">
            <a:spLocks/>
          </p:cNvSpPr>
          <p:nvPr userDrawn="1"/>
        </p:nvSpPr>
        <p:spPr>
          <a:xfrm>
            <a:off x="457200" y="6413023"/>
            <a:ext cx="3023937" cy="444977"/>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400" dirty="0">
                <a:solidFill>
                  <a:schemeClr val="bg1"/>
                </a:solidFill>
                <a:latin typeface="+mn-lt"/>
              </a:rPr>
              <a:t>State Health &amp; Value Strategies </a:t>
            </a:r>
            <a:r>
              <a:rPr lang="en-US" sz="1400" b="1" dirty="0">
                <a:solidFill>
                  <a:schemeClr val="bg1"/>
                </a:solidFill>
                <a:latin typeface="Helvetica Neue"/>
              </a:rPr>
              <a:t>| </a:t>
            </a:r>
            <a:fld id="{26D9845C-63AA-463A-8512-233372477E42}" type="slidenum">
              <a:rPr lang="en-US" sz="1400" smtClean="0">
                <a:solidFill>
                  <a:schemeClr val="bg1"/>
                </a:solidFill>
                <a:latin typeface="+mn-lt"/>
              </a:rPr>
              <a:t>‹#›</a:t>
            </a:fld>
            <a:endParaRPr lang="en-US" sz="1400" dirty="0">
              <a:solidFill>
                <a:schemeClr val="bg1"/>
              </a:solidFill>
              <a:latin typeface="+mn-lt"/>
            </a:endParaRPr>
          </a:p>
        </p:txBody>
      </p:sp>
    </p:spTree>
    <p:extLst>
      <p:ext uri="{BB962C8B-B14F-4D97-AF65-F5344CB8AC3E}">
        <p14:creationId xmlns:p14="http://schemas.microsoft.com/office/powerpoint/2010/main" val="199031003"/>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Lst>
  <p:txStyles>
    <p:titleStyle>
      <a:lvl1pPr algn="l" defTabSz="914400" rtl="0" eaLnBrk="1" latinLnBrk="0" hangingPunct="1">
        <a:lnSpc>
          <a:spcPct val="90000"/>
        </a:lnSpc>
        <a:spcBef>
          <a:spcPct val="0"/>
        </a:spcBef>
        <a:buNone/>
        <a:defRPr sz="3600" b="0" i="0" kern="1200">
          <a:solidFill>
            <a:schemeClr val="bg1"/>
          </a:solidFill>
          <a:latin typeface="+mn-lt"/>
          <a:ea typeface="Helvetica Neue Medium" charset="0"/>
          <a:cs typeface="Helvetica Neue Medium" charset="0"/>
        </a:defRPr>
      </a:lvl1pPr>
    </p:titleStyle>
    <p:bodyStyle>
      <a:lvl1pPr marL="228600" indent="-228600" algn="l" defTabSz="914400" rtl="0" eaLnBrk="1" latinLnBrk="0" hangingPunct="1">
        <a:lnSpc>
          <a:spcPct val="90000"/>
        </a:lnSpc>
        <a:spcBef>
          <a:spcPts val="1000"/>
        </a:spcBef>
        <a:buClr>
          <a:srgbClr val="5F2A5B"/>
        </a:buClr>
        <a:buFont typeface="Arial"/>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rgbClr val="5F2A5B"/>
        </a:buClr>
        <a:buFont typeface="Arial"/>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rgbClr val="5F2A5B"/>
        </a:buClr>
        <a:buFont typeface="Arial"/>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rgbClr val="5F2A5B"/>
        </a:buClr>
        <a:buFont typeface="Arial"/>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rgbClr val="5F2A5B"/>
        </a:buClr>
        <a:buFont typeface="Arial"/>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Placeholder 1"/>
          <p:cNvSpPr>
            <a:spLocks noGrp="1"/>
          </p:cNvSpPr>
          <p:nvPr>
            <p:ph type="title"/>
          </p:nvPr>
        </p:nvSpPr>
        <p:spPr>
          <a:xfrm>
            <a:off x="457200" y="545850"/>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2138076"/>
            <a:ext cx="8229600" cy="385332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6472518" y="6012516"/>
            <a:ext cx="2133600" cy="365125"/>
          </a:xfrm>
          <a:prstGeom prst="rect">
            <a:avLst/>
          </a:prstGeom>
        </p:spPr>
        <p:txBody>
          <a:bodyPr vert="horz" lIns="91440" tIns="45720" rIns="91440" bIns="45720" rtlCol="0" anchor="ctr"/>
          <a:lstStyle>
            <a:lvl1pPr algn="r">
              <a:defRPr sz="1200" b="0" i="0">
                <a:solidFill>
                  <a:srgbClr val="E9674F"/>
                </a:solidFill>
                <a:latin typeface="Helvetica Neue Medium"/>
                <a:cs typeface="Helvetica Neue Medium"/>
              </a:defRPr>
            </a:lvl1pPr>
          </a:lstStyle>
          <a:p>
            <a:r>
              <a:rPr lang="en-US" dirty="0"/>
              <a:t>Page | </a:t>
            </a:r>
            <a:fld id="{55FB97A1-9E25-5140-8E20-D0104F209260}" type="slidenum">
              <a:rPr lang="en-US" smtClean="0"/>
              <a:pPr/>
              <a:t>‹#›</a:t>
            </a:fld>
            <a:endParaRPr lang="en-US" dirty="0"/>
          </a:p>
        </p:txBody>
      </p:sp>
      <p:sp>
        <p:nvSpPr>
          <p:cNvPr id="8" name="Slide Number Placeholder 5"/>
          <p:cNvSpPr txBox="1">
            <a:spLocks/>
          </p:cNvSpPr>
          <p:nvPr userDrawn="1"/>
        </p:nvSpPr>
        <p:spPr>
          <a:xfrm>
            <a:off x="457200" y="6488382"/>
            <a:ext cx="3023937" cy="444977"/>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400" dirty="0">
                <a:solidFill>
                  <a:schemeClr val="bg1"/>
                </a:solidFill>
                <a:latin typeface="+mn-lt"/>
              </a:rPr>
              <a:t>State Health &amp; Value Strategies </a:t>
            </a:r>
            <a:r>
              <a:rPr lang="en-US" sz="1400" b="1" dirty="0">
                <a:solidFill>
                  <a:schemeClr val="bg1"/>
                </a:solidFill>
                <a:latin typeface="Helvetica Neue"/>
              </a:rPr>
              <a:t>| </a:t>
            </a:r>
            <a:fld id="{26D9845C-63AA-463A-8512-233372477E42}" type="slidenum">
              <a:rPr lang="en-US" sz="1400" smtClean="0">
                <a:solidFill>
                  <a:schemeClr val="bg1"/>
                </a:solidFill>
                <a:latin typeface="+mn-lt"/>
              </a:rPr>
              <a:t>‹#›</a:t>
            </a:fld>
            <a:endParaRPr lang="en-US" sz="1400" dirty="0">
              <a:solidFill>
                <a:schemeClr val="bg1"/>
              </a:solidFill>
              <a:latin typeface="+mn-lt"/>
            </a:endParaRPr>
          </a:p>
        </p:txBody>
      </p:sp>
    </p:spTree>
    <p:extLst>
      <p:ext uri="{BB962C8B-B14F-4D97-AF65-F5344CB8AC3E}">
        <p14:creationId xmlns:p14="http://schemas.microsoft.com/office/powerpoint/2010/main" val="3880250851"/>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Lst>
  <p:txStyles>
    <p:titleStyle>
      <a:lvl1pPr algn="l" defTabSz="457200" rtl="0" eaLnBrk="1" latinLnBrk="0" hangingPunct="1">
        <a:spcBef>
          <a:spcPct val="0"/>
        </a:spcBef>
        <a:buNone/>
        <a:defRPr sz="3600" b="0" i="0" kern="1200">
          <a:solidFill>
            <a:srgbClr val="E9674F"/>
          </a:solidFill>
          <a:latin typeface="+mj-lt"/>
          <a:ea typeface="+mj-ea"/>
          <a:cs typeface="Helvetica Neue Medium"/>
        </a:defRPr>
      </a:lvl1pPr>
    </p:titleStyle>
    <p:bodyStyle>
      <a:lvl1pPr marL="342900" indent="-342900" algn="l" defTabSz="457200" rtl="0" eaLnBrk="1" latinLnBrk="0" hangingPunct="1">
        <a:spcBef>
          <a:spcPct val="20000"/>
        </a:spcBef>
        <a:buClr>
          <a:srgbClr val="E9674F"/>
        </a:buClr>
        <a:buFont typeface="Arial"/>
        <a:buChar char="•"/>
        <a:defRPr sz="3200" b="0" i="0" kern="1200">
          <a:solidFill>
            <a:schemeClr val="tx1">
              <a:lumMod val="75000"/>
              <a:lumOff val="25000"/>
            </a:schemeClr>
          </a:solidFill>
          <a:latin typeface="+mn-lt"/>
          <a:ea typeface="+mn-ea"/>
          <a:cs typeface="Helvetica Neue"/>
        </a:defRPr>
      </a:lvl1pPr>
      <a:lvl2pPr marL="742950" indent="-285750" algn="l" defTabSz="457200" rtl="0" eaLnBrk="1" latinLnBrk="0" hangingPunct="1">
        <a:spcBef>
          <a:spcPct val="20000"/>
        </a:spcBef>
        <a:buClr>
          <a:srgbClr val="E9674F"/>
        </a:buClr>
        <a:buFont typeface="Arial"/>
        <a:buChar char="–"/>
        <a:defRPr sz="2800" b="0" i="0" kern="1200">
          <a:solidFill>
            <a:schemeClr val="tx1">
              <a:lumMod val="75000"/>
              <a:lumOff val="25000"/>
            </a:schemeClr>
          </a:solidFill>
          <a:latin typeface="+mn-lt"/>
          <a:ea typeface="+mn-ea"/>
          <a:cs typeface="Helvetica Neue"/>
        </a:defRPr>
      </a:lvl2pPr>
      <a:lvl3pPr marL="1143000" indent="-228600" algn="l" defTabSz="457200" rtl="0" eaLnBrk="1" latinLnBrk="0" hangingPunct="1">
        <a:spcBef>
          <a:spcPct val="20000"/>
        </a:spcBef>
        <a:buClr>
          <a:srgbClr val="E9674F"/>
        </a:buClr>
        <a:buFont typeface="Arial"/>
        <a:buChar char="•"/>
        <a:defRPr sz="2400" b="0" i="0" kern="1200">
          <a:solidFill>
            <a:schemeClr val="tx1">
              <a:lumMod val="75000"/>
              <a:lumOff val="25000"/>
            </a:schemeClr>
          </a:solidFill>
          <a:latin typeface="+mn-lt"/>
          <a:ea typeface="+mn-ea"/>
          <a:cs typeface="Helvetica Neue"/>
        </a:defRPr>
      </a:lvl3pPr>
      <a:lvl4pPr marL="1600200" indent="-228600" algn="l" defTabSz="457200" rtl="0" eaLnBrk="1" latinLnBrk="0" hangingPunct="1">
        <a:spcBef>
          <a:spcPct val="20000"/>
        </a:spcBef>
        <a:buClr>
          <a:srgbClr val="E9674F"/>
        </a:buClr>
        <a:buFont typeface="Arial"/>
        <a:buChar char="–"/>
        <a:defRPr sz="2000" b="0" i="0" kern="1200">
          <a:solidFill>
            <a:schemeClr val="tx1">
              <a:lumMod val="75000"/>
              <a:lumOff val="25000"/>
            </a:schemeClr>
          </a:solidFill>
          <a:latin typeface="+mn-lt"/>
          <a:ea typeface="+mn-ea"/>
          <a:cs typeface="Helvetica Neue"/>
        </a:defRPr>
      </a:lvl4pPr>
      <a:lvl5pPr marL="2057400" indent="-228600" algn="l" defTabSz="457200" rtl="0" eaLnBrk="1" latinLnBrk="0" hangingPunct="1">
        <a:spcBef>
          <a:spcPct val="20000"/>
        </a:spcBef>
        <a:buClr>
          <a:srgbClr val="E9674F"/>
        </a:buClr>
        <a:buFont typeface="Arial"/>
        <a:buChar char="»"/>
        <a:defRPr sz="2000" b="0" i="0" kern="1200">
          <a:solidFill>
            <a:schemeClr val="tx1">
              <a:lumMod val="75000"/>
              <a:lumOff val="25000"/>
            </a:schemeClr>
          </a:solidFill>
          <a:latin typeface="+mn-lt"/>
          <a:ea typeface="+mn-ea"/>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Placeholder 1"/>
          <p:cNvSpPr>
            <a:spLocks noGrp="1"/>
          </p:cNvSpPr>
          <p:nvPr>
            <p:ph type="title"/>
          </p:nvPr>
        </p:nvSpPr>
        <p:spPr>
          <a:xfrm>
            <a:off x="457200" y="545850"/>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2138076"/>
            <a:ext cx="8229600" cy="385332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6472518" y="6012516"/>
            <a:ext cx="2133600" cy="365125"/>
          </a:xfrm>
          <a:prstGeom prst="rect">
            <a:avLst/>
          </a:prstGeom>
        </p:spPr>
        <p:txBody>
          <a:bodyPr vert="horz" lIns="91440" tIns="45720" rIns="91440" bIns="45720" rtlCol="0" anchor="ctr"/>
          <a:lstStyle>
            <a:lvl1pPr algn="r">
              <a:defRPr sz="1200" b="0" i="0">
                <a:solidFill>
                  <a:srgbClr val="E9674F"/>
                </a:solidFill>
                <a:latin typeface="+mj-lt"/>
                <a:cs typeface="Helvetica Neue Medium"/>
              </a:defRPr>
            </a:lvl1pPr>
          </a:lstStyle>
          <a:p>
            <a:r>
              <a:rPr lang="en-US" dirty="0"/>
              <a:t>Page | </a:t>
            </a:r>
            <a:fld id="{55FB97A1-9E25-5140-8E20-D0104F209260}" type="slidenum">
              <a:rPr lang="en-US" smtClean="0"/>
              <a:pPr/>
              <a:t>‹#›</a:t>
            </a:fld>
            <a:endParaRPr lang="en-US" dirty="0"/>
          </a:p>
        </p:txBody>
      </p:sp>
      <p:sp>
        <p:nvSpPr>
          <p:cNvPr id="8" name="Slide Number Placeholder 5"/>
          <p:cNvSpPr txBox="1">
            <a:spLocks/>
          </p:cNvSpPr>
          <p:nvPr userDrawn="1"/>
        </p:nvSpPr>
        <p:spPr>
          <a:xfrm>
            <a:off x="457200" y="6488382"/>
            <a:ext cx="3023937" cy="444977"/>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400" dirty="0">
                <a:solidFill>
                  <a:prstClr val="white"/>
                </a:solidFill>
              </a:rPr>
              <a:t>State Health &amp; Value Strategies </a:t>
            </a:r>
            <a:r>
              <a:rPr lang="en-US" sz="1400" b="1" dirty="0">
                <a:solidFill>
                  <a:prstClr val="white"/>
                </a:solidFill>
              </a:rPr>
              <a:t>| </a:t>
            </a:r>
            <a:fld id="{26D9845C-63AA-463A-8512-233372477E42}" type="slidenum">
              <a:rPr lang="en-US" sz="1400" smtClean="0">
                <a:solidFill>
                  <a:prstClr val="white"/>
                </a:solidFill>
              </a:rPr>
              <a:pPr algn="l"/>
              <a:t>‹#›</a:t>
            </a:fld>
            <a:endParaRPr lang="en-US" sz="1400" dirty="0">
              <a:solidFill>
                <a:prstClr val="white"/>
              </a:solidFill>
            </a:endParaRPr>
          </a:p>
        </p:txBody>
      </p:sp>
    </p:spTree>
    <p:extLst>
      <p:ext uri="{BB962C8B-B14F-4D97-AF65-F5344CB8AC3E}">
        <p14:creationId xmlns:p14="http://schemas.microsoft.com/office/powerpoint/2010/main" val="1488211896"/>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Lst>
  <p:txStyles>
    <p:titleStyle>
      <a:lvl1pPr algn="l" defTabSz="457200" rtl="0" eaLnBrk="1" latinLnBrk="0" hangingPunct="1">
        <a:spcBef>
          <a:spcPct val="0"/>
        </a:spcBef>
        <a:buNone/>
        <a:defRPr sz="3600" b="0" i="0" kern="1200">
          <a:solidFill>
            <a:srgbClr val="E9674F"/>
          </a:solidFill>
          <a:latin typeface="+mn-lt"/>
          <a:ea typeface="+mj-ea"/>
          <a:cs typeface="Helvetica Neue Medium"/>
        </a:defRPr>
      </a:lvl1pPr>
    </p:titleStyle>
    <p:bodyStyle>
      <a:lvl1pPr marL="342900" indent="-342900" algn="l" defTabSz="457200" rtl="0" eaLnBrk="1" latinLnBrk="0" hangingPunct="1">
        <a:spcBef>
          <a:spcPct val="20000"/>
        </a:spcBef>
        <a:buClr>
          <a:srgbClr val="E9674F"/>
        </a:buClr>
        <a:buFont typeface="Arial"/>
        <a:buChar char="•"/>
        <a:defRPr sz="3200" b="0" i="0" kern="1200">
          <a:solidFill>
            <a:schemeClr val="tx1">
              <a:lumMod val="75000"/>
              <a:lumOff val="25000"/>
            </a:schemeClr>
          </a:solidFill>
          <a:latin typeface="+mn-lt"/>
          <a:ea typeface="+mn-ea"/>
          <a:cs typeface="Helvetica Neue"/>
        </a:defRPr>
      </a:lvl1pPr>
      <a:lvl2pPr marL="742950" indent="-285750" algn="l" defTabSz="457200" rtl="0" eaLnBrk="1" latinLnBrk="0" hangingPunct="1">
        <a:spcBef>
          <a:spcPct val="20000"/>
        </a:spcBef>
        <a:buClr>
          <a:srgbClr val="E9674F"/>
        </a:buClr>
        <a:buFont typeface="Arial"/>
        <a:buChar char="–"/>
        <a:defRPr sz="2800" b="0" i="0" kern="1200">
          <a:solidFill>
            <a:schemeClr val="tx1">
              <a:lumMod val="75000"/>
              <a:lumOff val="25000"/>
            </a:schemeClr>
          </a:solidFill>
          <a:latin typeface="+mn-lt"/>
          <a:ea typeface="+mn-ea"/>
          <a:cs typeface="Helvetica Neue"/>
        </a:defRPr>
      </a:lvl2pPr>
      <a:lvl3pPr marL="1143000" indent="-228600" algn="l" defTabSz="457200" rtl="0" eaLnBrk="1" latinLnBrk="0" hangingPunct="1">
        <a:spcBef>
          <a:spcPct val="20000"/>
        </a:spcBef>
        <a:buClr>
          <a:srgbClr val="E9674F"/>
        </a:buClr>
        <a:buFont typeface="Arial"/>
        <a:buChar char="•"/>
        <a:defRPr sz="2400" b="0" i="0" kern="1200">
          <a:solidFill>
            <a:schemeClr val="tx1">
              <a:lumMod val="75000"/>
              <a:lumOff val="25000"/>
            </a:schemeClr>
          </a:solidFill>
          <a:latin typeface="+mn-lt"/>
          <a:ea typeface="+mn-ea"/>
          <a:cs typeface="Helvetica Neue"/>
        </a:defRPr>
      </a:lvl3pPr>
      <a:lvl4pPr marL="1600200" indent="-228600" algn="l" defTabSz="457200" rtl="0" eaLnBrk="1" latinLnBrk="0" hangingPunct="1">
        <a:spcBef>
          <a:spcPct val="20000"/>
        </a:spcBef>
        <a:buClr>
          <a:srgbClr val="E9674F"/>
        </a:buClr>
        <a:buFont typeface="Arial"/>
        <a:buChar char="–"/>
        <a:defRPr sz="2000" b="0" i="0" kern="1200">
          <a:solidFill>
            <a:schemeClr val="tx1">
              <a:lumMod val="75000"/>
              <a:lumOff val="25000"/>
            </a:schemeClr>
          </a:solidFill>
          <a:latin typeface="+mn-lt"/>
          <a:ea typeface="+mn-ea"/>
          <a:cs typeface="Helvetica Neue"/>
        </a:defRPr>
      </a:lvl4pPr>
      <a:lvl5pPr marL="2057400" indent="-228600" algn="l" defTabSz="457200" rtl="0" eaLnBrk="1" latinLnBrk="0" hangingPunct="1">
        <a:spcBef>
          <a:spcPct val="20000"/>
        </a:spcBef>
        <a:buClr>
          <a:srgbClr val="E9674F"/>
        </a:buClr>
        <a:buFont typeface="Arial"/>
        <a:buChar char="»"/>
        <a:defRPr sz="2000" b="0" i="0" kern="1200">
          <a:solidFill>
            <a:schemeClr val="tx1">
              <a:lumMod val="75000"/>
              <a:lumOff val="25000"/>
            </a:schemeClr>
          </a:solidFill>
          <a:latin typeface="+mn-lt"/>
          <a:ea typeface="+mn-ea"/>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Placeholder 1"/>
          <p:cNvSpPr>
            <a:spLocks noGrp="1"/>
          </p:cNvSpPr>
          <p:nvPr>
            <p:ph type="title"/>
          </p:nvPr>
        </p:nvSpPr>
        <p:spPr>
          <a:xfrm>
            <a:off x="457200" y="545850"/>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2138076"/>
            <a:ext cx="8229600" cy="385332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6472518" y="6012516"/>
            <a:ext cx="2133600" cy="365125"/>
          </a:xfrm>
          <a:prstGeom prst="rect">
            <a:avLst/>
          </a:prstGeom>
        </p:spPr>
        <p:txBody>
          <a:bodyPr vert="horz" lIns="91440" tIns="45720" rIns="91440" bIns="45720" rtlCol="0" anchor="ctr"/>
          <a:lstStyle>
            <a:lvl1pPr algn="r">
              <a:defRPr sz="1200" b="0" i="0">
                <a:solidFill>
                  <a:srgbClr val="E9674F"/>
                </a:solidFill>
                <a:latin typeface="Helvetica Neue Medium"/>
                <a:cs typeface="Helvetica Neue Medium"/>
              </a:defRPr>
            </a:lvl1pPr>
          </a:lstStyle>
          <a:p>
            <a:r>
              <a:rPr lang="en-US" dirty="0"/>
              <a:t>Page | </a:t>
            </a:r>
            <a:fld id="{55FB97A1-9E25-5140-8E20-D0104F209260}" type="slidenum">
              <a:rPr lang="en-US" smtClean="0"/>
              <a:pPr/>
              <a:t>‹#›</a:t>
            </a:fld>
            <a:endParaRPr lang="en-US" dirty="0"/>
          </a:p>
        </p:txBody>
      </p:sp>
      <p:sp>
        <p:nvSpPr>
          <p:cNvPr id="8" name="Slide Number Placeholder 5"/>
          <p:cNvSpPr txBox="1">
            <a:spLocks/>
          </p:cNvSpPr>
          <p:nvPr userDrawn="1"/>
        </p:nvSpPr>
        <p:spPr>
          <a:xfrm>
            <a:off x="457200" y="6488382"/>
            <a:ext cx="3023937" cy="444977"/>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400" dirty="0">
                <a:solidFill>
                  <a:schemeClr val="bg1"/>
                </a:solidFill>
                <a:latin typeface="+mn-lt"/>
              </a:rPr>
              <a:t>State Health Value Strategies </a:t>
            </a:r>
            <a:r>
              <a:rPr lang="en-US" sz="1400" b="1" dirty="0">
                <a:solidFill>
                  <a:schemeClr val="bg1"/>
                </a:solidFill>
                <a:latin typeface="Helvetica Neue"/>
              </a:rPr>
              <a:t>| </a:t>
            </a:r>
            <a:fld id="{26D9845C-63AA-463A-8512-233372477E42}" type="slidenum">
              <a:rPr lang="en-US" sz="1400" smtClean="0">
                <a:solidFill>
                  <a:schemeClr val="bg1"/>
                </a:solidFill>
                <a:latin typeface="+mn-lt"/>
              </a:rPr>
              <a:t>‹#›</a:t>
            </a:fld>
            <a:endParaRPr lang="en-US" sz="1400" dirty="0">
              <a:solidFill>
                <a:schemeClr val="bg1"/>
              </a:solidFill>
              <a:latin typeface="+mn-lt"/>
            </a:endParaRPr>
          </a:p>
        </p:txBody>
      </p:sp>
    </p:spTree>
    <p:extLst>
      <p:ext uri="{BB962C8B-B14F-4D97-AF65-F5344CB8AC3E}">
        <p14:creationId xmlns:p14="http://schemas.microsoft.com/office/powerpoint/2010/main" val="2667440444"/>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Lst>
  <p:txStyles>
    <p:titleStyle>
      <a:lvl1pPr algn="l" defTabSz="457200" rtl="0" eaLnBrk="1" latinLnBrk="0" hangingPunct="1">
        <a:spcBef>
          <a:spcPct val="0"/>
        </a:spcBef>
        <a:buNone/>
        <a:defRPr sz="3600" b="0" i="0" kern="1200">
          <a:solidFill>
            <a:srgbClr val="E9674F"/>
          </a:solidFill>
          <a:latin typeface="+mj-lt"/>
          <a:ea typeface="+mj-ea"/>
          <a:cs typeface="Helvetica Neue Medium"/>
        </a:defRPr>
      </a:lvl1pPr>
    </p:titleStyle>
    <p:bodyStyle>
      <a:lvl1pPr marL="342900" indent="-342900" algn="l" defTabSz="457200" rtl="0" eaLnBrk="1" latinLnBrk="0" hangingPunct="1">
        <a:spcBef>
          <a:spcPct val="20000"/>
        </a:spcBef>
        <a:buClr>
          <a:srgbClr val="E9674F"/>
        </a:buClr>
        <a:buFont typeface="Arial"/>
        <a:buChar char="•"/>
        <a:defRPr sz="3200" b="0" i="0" kern="1200">
          <a:solidFill>
            <a:schemeClr val="tx1">
              <a:lumMod val="75000"/>
              <a:lumOff val="25000"/>
            </a:schemeClr>
          </a:solidFill>
          <a:latin typeface="+mn-lt"/>
          <a:ea typeface="+mn-ea"/>
          <a:cs typeface="Helvetica Neue"/>
        </a:defRPr>
      </a:lvl1pPr>
      <a:lvl2pPr marL="742950" indent="-285750" algn="l" defTabSz="457200" rtl="0" eaLnBrk="1" latinLnBrk="0" hangingPunct="1">
        <a:spcBef>
          <a:spcPct val="20000"/>
        </a:spcBef>
        <a:buClr>
          <a:srgbClr val="E9674F"/>
        </a:buClr>
        <a:buFont typeface="Arial"/>
        <a:buChar char="–"/>
        <a:defRPr sz="2800" b="0" i="0" kern="1200">
          <a:solidFill>
            <a:schemeClr val="tx1">
              <a:lumMod val="75000"/>
              <a:lumOff val="25000"/>
            </a:schemeClr>
          </a:solidFill>
          <a:latin typeface="+mn-lt"/>
          <a:ea typeface="+mn-ea"/>
          <a:cs typeface="Helvetica Neue"/>
        </a:defRPr>
      </a:lvl2pPr>
      <a:lvl3pPr marL="1143000" indent="-228600" algn="l" defTabSz="457200" rtl="0" eaLnBrk="1" latinLnBrk="0" hangingPunct="1">
        <a:spcBef>
          <a:spcPct val="20000"/>
        </a:spcBef>
        <a:buClr>
          <a:srgbClr val="E9674F"/>
        </a:buClr>
        <a:buFont typeface="Arial"/>
        <a:buChar char="•"/>
        <a:defRPr sz="2400" b="0" i="0" kern="1200">
          <a:solidFill>
            <a:schemeClr val="tx1">
              <a:lumMod val="75000"/>
              <a:lumOff val="25000"/>
            </a:schemeClr>
          </a:solidFill>
          <a:latin typeface="+mn-lt"/>
          <a:ea typeface="+mn-ea"/>
          <a:cs typeface="Helvetica Neue"/>
        </a:defRPr>
      </a:lvl3pPr>
      <a:lvl4pPr marL="1600200" indent="-228600" algn="l" defTabSz="457200" rtl="0" eaLnBrk="1" latinLnBrk="0" hangingPunct="1">
        <a:spcBef>
          <a:spcPct val="20000"/>
        </a:spcBef>
        <a:buClr>
          <a:srgbClr val="E9674F"/>
        </a:buClr>
        <a:buFont typeface="Arial"/>
        <a:buChar char="–"/>
        <a:defRPr sz="2000" b="0" i="0" kern="1200">
          <a:solidFill>
            <a:schemeClr val="tx1">
              <a:lumMod val="75000"/>
              <a:lumOff val="25000"/>
            </a:schemeClr>
          </a:solidFill>
          <a:latin typeface="+mn-lt"/>
          <a:ea typeface="+mn-ea"/>
          <a:cs typeface="Helvetica Neue"/>
        </a:defRPr>
      </a:lvl4pPr>
      <a:lvl5pPr marL="2057400" indent="-228600" algn="l" defTabSz="457200" rtl="0" eaLnBrk="1" latinLnBrk="0" hangingPunct="1">
        <a:spcBef>
          <a:spcPct val="20000"/>
        </a:spcBef>
        <a:buClr>
          <a:srgbClr val="E9674F"/>
        </a:buClr>
        <a:buFont typeface="Arial"/>
        <a:buChar char="»"/>
        <a:defRPr sz="2000" b="0" i="0" kern="1200">
          <a:solidFill>
            <a:schemeClr val="tx1">
              <a:lumMod val="75000"/>
              <a:lumOff val="25000"/>
            </a:schemeClr>
          </a:solidFill>
          <a:latin typeface="+mn-lt"/>
          <a:ea typeface="+mn-ea"/>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3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8" Type="http://schemas.openxmlformats.org/officeDocument/2006/relationships/hyperlink" Target="http://www.shvs.org/" TargetMode="External"/><Relationship Id="rId3" Type="http://schemas.openxmlformats.org/officeDocument/2006/relationships/tags" Target="../tags/tag2.xml"/><Relationship Id="rId7" Type="http://schemas.openxmlformats.org/officeDocument/2006/relationships/image" Target="../media/image24.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6.xml"/><Relationship Id="rId4"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5.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5.xml"/><Relationship Id="rId4" Type="http://schemas.openxmlformats.org/officeDocument/2006/relationships/image" Target="../media/image9.png"/></Relationships>
</file>

<file path=ppt/slides/_rels/slide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47.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png"/><Relationship Id="rId1" Type="http://schemas.openxmlformats.org/officeDocument/2006/relationships/slideLayout" Target="../slideLayouts/slideLayout25.xml"/><Relationship Id="rId4" Type="http://schemas.openxmlformats.org/officeDocument/2006/relationships/image" Target="../media/image18.jpe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5.xml"/><Relationship Id="rId4"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67200" y="1609725"/>
            <a:ext cx="4453618" cy="1470025"/>
          </a:xfrm>
        </p:spPr>
        <p:txBody>
          <a:bodyPr/>
          <a:lstStyle/>
          <a:p>
            <a:pPr algn="r"/>
            <a:r>
              <a:rPr lang="en-US" sz="2800" dirty="0">
                <a:solidFill>
                  <a:srgbClr val="FFFFFF"/>
                </a:solidFill>
                <a:cs typeface="Helvetica Neue Medium"/>
              </a:rPr>
              <a:t>What’s Next? Coverage and Affordability Opportunities in Red, Blue, and Purple States</a:t>
            </a:r>
          </a:p>
        </p:txBody>
      </p:sp>
      <p:sp>
        <p:nvSpPr>
          <p:cNvPr id="3" name="Subtitle 2"/>
          <p:cNvSpPr>
            <a:spLocks noGrp="1"/>
          </p:cNvSpPr>
          <p:nvPr>
            <p:ph type="subTitle" idx="1"/>
          </p:nvPr>
        </p:nvSpPr>
        <p:spPr>
          <a:xfrm>
            <a:off x="3861254" y="3344005"/>
            <a:ext cx="4870450" cy="1298074"/>
          </a:xfrm>
        </p:spPr>
        <p:txBody>
          <a:bodyPr/>
          <a:lstStyle/>
          <a:p>
            <a:pPr algn="r"/>
            <a:r>
              <a:rPr lang="en-US" sz="2800" dirty="0">
                <a:solidFill>
                  <a:srgbClr val="FFFFFF"/>
                </a:solidFill>
                <a:cs typeface="Helvetica Neue"/>
              </a:rPr>
              <a:t>Heather Howard</a:t>
            </a:r>
            <a:endParaRPr lang="en-US" sz="1800" dirty="0">
              <a:solidFill>
                <a:srgbClr val="FFFFFF"/>
              </a:solidFill>
              <a:cs typeface="Helvetica Neue"/>
            </a:endParaRPr>
          </a:p>
          <a:p>
            <a:pPr algn="r"/>
            <a:r>
              <a:rPr lang="en-US" sz="1800" dirty="0">
                <a:solidFill>
                  <a:srgbClr val="FFFFFF"/>
                </a:solidFill>
                <a:cs typeface="Helvetica Neue"/>
              </a:rPr>
              <a:t>January 24, 2020</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11986" y="4750923"/>
            <a:ext cx="3608832" cy="969264"/>
          </a:xfrm>
          <a:prstGeom prst="rect">
            <a:avLst/>
          </a:prstGeom>
        </p:spPr>
      </p:pic>
      <p:sp>
        <p:nvSpPr>
          <p:cNvPr id="4" name="TextBox 3"/>
          <p:cNvSpPr txBox="1"/>
          <p:nvPr/>
        </p:nvSpPr>
        <p:spPr>
          <a:xfrm>
            <a:off x="5053262" y="5951621"/>
            <a:ext cx="3795892"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white"/>
                </a:solidFill>
                <a:effectLst/>
                <a:uLnTx/>
                <a:uFillTx/>
                <a:latin typeface="Avenir Medium Oblique" charset="0"/>
                <a:ea typeface="Avenir Medium Oblique" charset="0"/>
                <a:cs typeface="Avenir Medium Oblique" charset="0"/>
              </a:rPr>
              <a:t>A grantee of the Robert Wood Johnson Foundation</a:t>
            </a: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a:ea typeface="+mn-ea"/>
              </a:rPr>
              <a:t>www.shvs.org</a:t>
            </a:r>
          </a:p>
        </p:txBody>
      </p:sp>
    </p:spTree>
    <p:extLst>
      <p:ext uri="{BB962C8B-B14F-4D97-AF65-F5344CB8AC3E}">
        <p14:creationId xmlns:p14="http://schemas.microsoft.com/office/powerpoint/2010/main" val="5990941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dirty="0"/>
              <a:t>Medicaid Buy-In and Public Option Proposals 2019</a:t>
            </a:r>
          </a:p>
        </p:txBody>
      </p:sp>
      <p:sp>
        <p:nvSpPr>
          <p:cNvPr id="6" name="Title 3"/>
          <p:cNvSpPr txBox="1">
            <a:spLocks/>
          </p:cNvSpPr>
          <p:nvPr/>
        </p:nvSpPr>
        <p:spPr>
          <a:xfrm>
            <a:off x="446719" y="-230232"/>
            <a:ext cx="8229600" cy="1143000"/>
          </a:xfrm>
          <a:prstGeom prst="rect">
            <a:avLst/>
          </a:prstGeom>
        </p:spPr>
        <p:txBody>
          <a:bodyPr vert="horz" lIns="91440" tIns="45720" rIns="91440" bIns="45720" rtlCol="0" anchor="ctr">
            <a:normAutofit/>
          </a:bodyPr>
          <a:lstStyle>
            <a:lvl1pPr algn="l" defTabSz="457200" rtl="0" eaLnBrk="1" latinLnBrk="0" hangingPunct="1">
              <a:spcBef>
                <a:spcPct val="0"/>
              </a:spcBef>
              <a:buNone/>
              <a:defRPr sz="3600" b="0" i="0" kern="1200">
                <a:solidFill>
                  <a:srgbClr val="E9674F"/>
                </a:solidFill>
                <a:latin typeface="+mj-lt"/>
                <a:ea typeface="+mj-ea"/>
                <a:cs typeface="Helvetica Neue Medium"/>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en-US" sz="3400" b="1" i="0" u="none" strike="noStrike" kern="1200" cap="none" spc="0" normalizeH="0" baseline="0" noProof="0" dirty="0">
              <a:ln>
                <a:noFill/>
              </a:ln>
              <a:solidFill>
                <a:srgbClr val="E9674F"/>
              </a:solidFill>
              <a:effectLst/>
              <a:uLnTx/>
              <a:uFillTx/>
              <a:latin typeface="Calibri"/>
              <a:ea typeface="+mj-ea"/>
            </a:endParaRPr>
          </a:p>
        </p:txBody>
      </p:sp>
      <p:sp>
        <p:nvSpPr>
          <p:cNvPr id="7" name="State: Wyoming"/>
          <p:cNvSpPr>
            <a:spLocks/>
          </p:cNvSpPr>
          <p:nvPr/>
        </p:nvSpPr>
        <p:spPr bwMode="auto">
          <a:xfrm>
            <a:off x="2267339" y="2778907"/>
            <a:ext cx="918171" cy="804480"/>
          </a:xfrm>
          <a:custGeom>
            <a:avLst/>
            <a:gdLst>
              <a:gd name="T0" fmla="*/ 2147483647 w 615"/>
              <a:gd name="T1" fmla="*/ 0 h 523"/>
              <a:gd name="T2" fmla="*/ 2147483647 w 615"/>
              <a:gd name="T3" fmla="*/ 2147483647 h 523"/>
              <a:gd name="T4" fmla="*/ 2147483647 w 615"/>
              <a:gd name="T5" fmla="*/ 2147483647 h 523"/>
              <a:gd name="T6" fmla="*/ 2147483647 w 615"/>
              <a:gd name="T7" fmla="*/ 2147483647 h 523"/>
              <a:gd name="T8" fmla="*/ 2147483647 w 615"/>
              <a:gd name="T9" fmla="*/ 2147483647 h 523"/>
              <a:gd name="T10" fmla="*/ 2147483647 w 615"/>
              <a:gd name="T11" fmla="*/ 2147483647 h 523"/>
              <a:gd name="T12" fmla="*/ 2147483647 w 615"/>
              <a:gd name="T13" fmla="*/ 2147483647 h 523"/>
              <a:gd name="T14" fmla="*/ 0 w 615"/>
              <a:gd name="T15" fmla="*/ 2147483647 h 523"/>
              <a:gd name="T16" fmla="*/ 2147483647 w 615"/>
              <a:gd name="T17" fmla="*/ 2147483647 h 523"/>
              <a:gd name="T18" fmla="*/ 2147483647 w 615"/>
              <a:gd name="T19" fmla="*/ 2147483647 h 523"/>
              <a:gd name="T20" fmla="*/ 2147483647 w 615"/>
              <a:gd name="T21" fmla="*/ 2147483647 h 523"/>
              <a:gd name="T22" fmla="*/ 2147483647 w 615"/>
              <a:gd name="T23" fmla="*/ 2147483647 h 523"/>
              <a:gd name="T24" fmla="*/ 2147483647 w 615"/>
              <a:gd name="T25" fmla="*/ 2147483647 h 523"/>
              <a:gd name="T26" fmla="*/ 2147483647 w 615"/>
              <a:gd name="T27" fmla="*/ 2147483647 h 523"/>
              <a:gd name="T28" fmla="*/ 2147483647 w 615"/>
              <a:gd name="T29" fmla="*/ 2147483647 h 523"/>
              <a:gd name="T30" fmla="*/ 2147483647 w 615"/>
              <a:gd name="T31" fmla="*/ 2147483647 h 523"/>
              <a:gd name="T32" fmla="*/ 2147483647 w 615"/>
              <a:gd name="T33" fmla="*/ 2147483647 h 523"/>
              <a:gd name="T34" fmla="*/ 2147483647 w 615"/>
              <a:gd name="T35" fmla="*/ 2147483647 h 523"/>
              <a:gd name="T36" fmla="*/ 2147483647 w 615"/>
              <a:gd name="T37" fmla="*/ 2147483647 h 523"/>
              <a:gd name="T38" fmla="*/ 2147483647 w 615"/>
              <a:gd name="T39" fmla="*/ 2147483647 h 523"/>
              <a:gd name="T40" fmla="*/ 2147483647 w 615"/>
              <a:gd name="T41" fmla="*/ 2147483647 h 523"/>
              <a:gd name="T42" fmla="*/ 2147483647 w 615"/>
              <a:gd name="T43" fmla="*/ 2147483647 h 523"/>
              <a:gd name="T44" fmla="*/ 2147483647 w 615"/>
              <a:gd name="T45" fmla="*/ 2147483647 h 523"/>
              <a:gd name="T46" fmla="*/ 2147483647 w 615"/>
              <a:gd name="T47" fmla="*/ 2147483647 h 523"/>
              <a:gd name="T48" fmla="*/ 2147483647 w 615"/>
              <a:gd name="T49" fmla="*/ 2147483647 h 523"/>
              <a:gd name="T50" fmla="*/ 2147483647 w 615"/>
              <a:gd name="T51" fmla="*/ 2147483647 h 523"/>
              <a:gd name="T52" fmla="*/ 2147483647 w 615"/>
              <a:gd name="T53" fmla="*/ 2147483647 h 523"/>
              <a:gd name="T54" fmla="*/ 2147483647 w 615"/>
              <a:gd name="T55" fmla="*/ 2147483647 h 523"/>
              <a:gd name="T56" fmla="*/ 2147483647 w 615"/>
              <a:gd name="T57" fmla="*/ 2147483647 h 523"/>
              <a:gd name="T58" fmla="*/ 2147483647 w 615"/>
              <a:gd name="T59" fmla="*/ 0 h 52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15"/>
              <a:gd name="T91" fmla="*/ 0 h 523"/>
              <a:gd name="T92" fmla="*/ 615 w 615"/>
              <a:gd name="T93" fmla="*/ 523 h 52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15" h="523">
                <a:moveTo>
                  <a:pt x="81" y="0"/>
                </a:moveTo>
                <a:lnTo>
                  <a:pt x="62" y="76"/>
                </a:lnTo>
                <a:lnTo>
                  <a:pt x="49" y="149"/>
                </a:lnTo>
                <a:lnTo>
                  <a:pt x="33" y="232"/>
                </a:lnTo>
                <a:lnTo>
                  <a:pt x="20" y="295"/>
                </a:lnTo>
                <a:lnTo>
                  <a:pt x="17" y="313"/>
                </a:lnTo>
                <a:lnTo>
                  <a:pt x="13" y="340"/>
                </a:lnTo>
                <a:lnTo>
                  <a:pt x="0" y="435"/>
                </a:lnTo>
                <a:lnTo>
                  <a:pt x="159" y="469"/>
                </a:lnTo>
                <a:lnTo>
                  <a:pt x="279" y="483"/>
                </a:lnTo>
                <a:lnTo>
                  <a:pt x="351" y="494"/>
                </a:lnTo>
                <a:lnTo>
                  <a:pt x="413" y="502"/>
                </a:lnTo>
                <a:lnTo>
                  <a:pt x="461" y="508"/>
                </a:lnTo>
                <a:lnTo>
                  <a:pt x="508" y="515"/>
                </a:lnTo>
                <a:lnTo>
                  <a:pt x="569" y="523"/>
                </a:lnTo>
                <a:lnTo>
                  <a:pt x="572" y="497"/>
                </a:lnTo>
                <a:lnTo>
                  <a:pt x="575" y="467"/>
                </a:lnTo>
                <a:lnTo>
                  <a:pt x="578" y="440"/>
                </a:lnTo>
                <a:lnTo>
                  <a:pt x="580" y="413"/>
                </a:lnTo>
                <a:lnTo>
                  <a:pt x="583" y="380"/>
                </a:lnTo>
                <a:lnTo>
                  <a:pt x="588" y="345"/>
                </a:lnTo>
                <a:lnTo>
                  <a:pt x="591" y="314"/>
                </a:lnTo>
                <a:lnTo>
                  <a:pt x="594" y="272"/>
                </a:lnTo>
                <a:lnTo>
                  <a:pt x="600" y="232"/>
                </a:lnTo>
                <a:lnTo>
                  <a:pt x="602" y="198"/>
                </a:lnTo>
                <a:lnTo>
                  <a:pt x="605" y="164"/>
                </a:lnTo>
                <a:lnTo>
                  <a:pt x="610" y="127"/>
                </a:lnTo>
                <a:lnTo>
                  <a:pt x="612" y="94"/>
                </a:lnTo>
                <a:lnTo>
                  <a:pt x="615" y="81"/>
                </a:lnTo>
                <a:lnTo>
                  <a:pt x="81" y="0"/>
                </a:lnTo>
                <a:close/>
              </a:path>
            </a:pathLst>
          </a:custGeom>
          <a:solidFill>
            <a:schemeClr val="bg1">
              <a:lumMod val="95000"/>
            </a:schemeClr>
          </a:solidFill>
          <a:ln w="0" algn="ctr">
            <a:solidFill>
              <a:srgbClr val="808080"/>
            </a:solidFill>
            <a:round/>
            <a:headEnd/>
            <a:tailEnd/>
          </a:ln>
        </p:spPr>
        <p:txBody>
          <a:bodyPr lIns="101798" tIns="50899" rIns="101798" bIns="50899"/>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endParaRPr>
          </a:p>
        </p:txBody>
      </p:sp>
      <p:sp>
        <p:nvSpPr>
          <p:cNvPr id="8" name="State: Wisconsin"/>
          <p:cNvSpPr>
            <a:spLocks/>
          </p:cNvSpPr>
          <p:nvPr/>
        </p:nvSpPr>
        <p:spPr bwMode="auto">
          <a:xfrm>
            <a:off x="4461989" y="2622013"/>
            <a:ext cx="670340" cy="747566"/>
          </a:xfrm>
          <a:custGeom>
            <a:avLst/>
            <a:gdLst>
              <a:gd name="T0" fmla="*/ 2147483647 w 449"/>
              <a:gd name="T1" fmla="*/ 2147483647 h 486"/>
              <a:gd name="T2" fmla="*/ 2147483647 w 449"/>
              <a:gd name="T3" fmla="*/ 2147483647 h 486"/>
              <a:gd name="T4" fmla="*/ 2147483647 w 449"/>
              <a:gd name="T5" fmla="*/ 2147483647 h 486"/>
              <a:gd name="T6" fmla="*/ 2147483647 w 449"/>
              <a:gd name="T7" fmla="*/ 0 h 486"/>
              <a:gd name="T8" fmla="*/ 2147483647 w 449"/>
              <a:gd name="T9" fmla="*/ 2147483647 h 486"/>
              <a:gd name="T10" fmla="*/ 2147483647 w 449"/>
              <a:gd name="T11" fmla="*/ 2147483647 h 486"/>
              <a:gd name="T12" fmla="*/ 2147483647 w 449"/>
              <a:gd name="T13" fmla="*/ 2147483647 h 486"/>
              <a:gd name="T14" fmla="*/ 2147483647 w 449"/>
              <a:gd name="T15" fmla="*/ 2147483647 h 486"/>
              <a:gd name="T16" fmla="*/ 2147483647 w 449"/>
              <a:gd name="T17" fmla="*/ 2147483647 h 486"/>
              <a:gd name="T18" fmla="*/ 2147483647 w 449"/>
              <a:gd name="T19" fmla="*/ 2147483647 h 486"/>
              <a:gd name="T20" fmla="*/ 2147483647 w 449"/>
              <a:gd name="T21" fmla="*/ 2147483647 h 486"/>
              <a:gd name="T22" fmla="*/ 2147483647 w 449"/>
              <a:gd name="T23" fmla="*/ 2147483647 h 486"/>
              <a:gd name="T24" fmla="*/ 2147483647 w 449"/>
              <a:gd name="T25" fmla="*/ 2147483647 h 486"/>
              <a:gd name="T26" fmla="*/ 2147483647 w 449"/>
              <a:gd name="T27" fmla="*/ 2147483647 h 486"/>
              <a:gd name="T28" fmla="*/ 2147483647 w 449"/>
              <a:gd name="T29" fmla="*/ 2147483647 h 486"/>
              <a:gd name="T30" fmla="*/ 2147483647 w 449"/>
              <a:gd name="T31" fmla="*/ 2147483647 h 486"/>
              <a:gd name="T32" fmla="*/ 2147483647 w 449"/>
              <a:gd name="T33" fmla="*/ 2147483647 h 486"/>
              <a:gd name="T34" fmla="*/ 2147483647 w 449"/>
              <a:gd name="T35" fmla="*/ 2147483647 h 486"/>
              <a:gd name="T36" fmla="*/ 2147483647 w 449"/>
              <a:gd name="T37" fmla="*/ 2147483647 h 486"/>
              <a:gd name="T38" fmla="*/ 2147483647 w 449"/>
              <a:gd name="T39" fmla="*/ 2147483647 h 486"/>
              <a:gd name="T40" fmla="*/ 2147483647 w 449"/>
              <a:gd name="T41" fmla="*/ 2147483647 h 486"/>
              <a:gd name="T42" fmla="*/ 2147483647 w 449"/>
              <a:gd name="T43" fmla="*/ 2147483647 h 486"/>
              <a:gd name="T44" fmla="*/ 2147483647 w 449"/>
              <a:gd name="T45" fmla="*/ 2147483647 h 486"/>
              <a:gd name="T46" fmla="*/ 2147483647 w 449"/>
              <a:gd name="T47" fmla="*/ 2147483647 h 486"/>
              <a:gd name="T48" fmla="*/ 2147483647 w 449"/>
              <a:gd name="T49" fmla="*/ 2147483647 h 486"/>
              <a:gd name="T50" fmla="*/ 2147483647 w 449"/>
              <a:gd name="T51" fmla="*/ 2147483647 h 486"/>
              <a:gd name="T52" fmla="*/ 2147483647 w 449"/>
              <a:gd name="T53" fmla="*/ 2147483647 h 486"/>
              <a:gd name="T54" fmla="*/ 2147483647 w 449"/>
              <a:gd name="T55" fmla="*/ 2147483647 h 486"/>
              <a:gd name="T56" fmla="*/ 2147483647 w 449"/>
              <a:gd name="T57" fmla="*/ 2147483647 h 486"/>
              <a:gd name="T58" fmla="*/ 2147483647 w 449"/>
              <a:gd name="T59" fmla="*/ 2147483647 h 486"/>
              <a:gd name="T60" fmla="*/ 2147483647 w 449"/>
              <a:gd name="T61" fmla="*/ 2147483647 h 486"/>
              <a:gd name="T62" fmla="*/ 2147483647 w 449"/>
              <a:gd name="T63" fmla="*/ 2147483647 h 486"/>
              <a:gd name="T64" fmla="*/ 2147483647 w 449"/>
              <a:gd name="T65" fmla="*/ 2147483647 h 486"/>
              <a:gd name="T66" fmla="*/ 2147483647 w 449"/>
              <a:gd name="T67" fmla="*/ 2147483647 h 486"/>
              <a:gd name="T68" fmla="*/ 2147483647 w 449"/>
              <a:gd name="T69" fmla="*/ 2147483647 h 486"/>
              <a:gd name="T70" fmla="*/ 2147483647 w 449"/>
              <a:gd name="T71" fmla="*/ 2147483647 h 486"/>
              <a:gd name="T72" fmla="*/ 2147483647 w 449"/>
              <a:gd name="T73" fmla="*/ 2147483647 h 486"/>
              <a:gd name="T74" fmla="*/ 2147483647 w 449"/>
              <a:gd name="T75" fmla="*/ 2147483647 h 486"/>
              <a:gd name="T76" fmla="*/ 2147483647 w 449"/>
              <a:gd name="T77" fmla="*/ 2147483647 h 486"/>
              <a:gd name="T78" fmla="*/ 2147483647 w 449"/>
              <a:gd name="T79" fmla="*/ 2147483647 h 486"/>
              <a:gd name="T80" fmla="*/ 2147483647 w 449"/>
              <a:gd name="T81" fmla="*/ 2147483647 h 486"/>
              <a:gd name="T82" fmla="*/ 2147483647 w 449"/>
              <a:gd name="T83" fmla="*/ 2147483647 h 486"/>
              <a:gd name="T84" fmla="*/ 2147483647 w 449"/>
              <a:gd name="T85" fmla="*/ 2147483647 h 486"/>
              <a:gd name="T86" fmla="*/ 2147483647 w 449"/>
              <a:gd name="T87" fmla="*/ 2147483647 h 486"/>
              <a:gd name="T88" fmla="*/ 2147483647 w 449"/>
              <a:gd name="T89" fmla="*/ 2147483647 h 486"/>
              <a:gd name="T90" fmla="*/ 2147483647 w 449"/>
              <a:gd name="T91" fmla="*/ 2147483647 h 486"/>
              <a:gd name="T92" fmla="*/ 2147483647 w 449"/>
              <a:gd name="T93" fmla="*/ 2147483647 h 486"/>
              <a:gd name="T94" fmla="*/ 2147483647 w 449"/>
              <a:gd name="T95" fmla="*/ 2147483647 h 486"/>
              <a:gd name="T96" fmla="*/ 2147483647 w 449"/>
              <a:gd name="T97" fmla="*/ 2147483647 h 486"/>
              <a:gd name="T98" fmla="*/ 2147483647 w 449"/>
              <a:gd name="T99" fmla="*/ 2147483647 h 486"/>
              <a:gd name="T100" fmla="*/ 2147483647 w 449"/>
              <a:gd name="T101" fmla="*/ 2147483647 h 48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49"/>
              <a:gd name="T154" fmla="*/ 0 h 486"/>
              <a:gd name="T155" fmla="*/ 449 w 449"/>
              <a:gd name="T156" fmla="*/ 486 h 48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49" h="486">
                <a:moveTo>
                  <a:pt x="54" y="25"/>
                </a:moveTo>
                <a:lnTo>
                  <a:pt x="60" y="32"/>
                </a:lnTo>
                <a:lnTo>
                  <a:pt x="66" y="38"/>
                </a:lnTo>
                <a:lnTo>
                  <a:pt x="76" y="40"/>
                </a:lnTo>
                <a:lnTo>
                  <a:pt x="82" y="41"/>
                </a:lnTo>
                <a:lnTo>
                  <a:pt x="87" y="38"/>
                </a:lnTo>
                <a:lnTo>
                  <a:pt x="92" y="35"/>
                </a:lnTo>
                <a:lnTo>
                  <a:pt x="95" y="33"/>
                </a:lnTo>
                <a:lnTo>
                  <a:pt x="101" y="30"/>
                </a:lnTo>
                <a:lnTo>
                  <a:pt x="106" y="25"/>
                </a:lnTo>
                <a:lnTo>
                  <a:pt x="112" y="22"/>
                </a:lnTo>
                <a:lnTo>
                  <a:pt x="119" y="17"/>
                </a:lnTo>
                <a:lnTo>
                  <a:pt x="125" y="13"/>
                </a:lnTo>
                <a:lnTo>
                  <a:pt x="131" y="8"/>
                </a:lnTo>
                <a:lnTo>
                  <a:pt x="139" y="1"/>
                </a:lnTo>
                <a:lnTo>
                  <a:pt x="141" y="0"/>
                </a:lnTo>
                <a:lnTo>
                  <a:pt x="146" y="1"/>
                </a:lnTo>
                <a:lnTo>
                  <a:pt x="149" y="3"/>
                </a:lnTo>
                <a:lnTo>
                  <a:pt x="150" y="9"/>
                </a:lnTo>
                <a:lnTo>
                  <a:pt x="152" y="14"/>
                </a:lnTo>
                <a:lnTo>
                  <a:pt x="150" y="20"/>
                </a:lnTo>
                <a:lnTo>
                  <a:pt x="150" y="28"/>
                </a:lnTo>
                <a:lnTo>
                  <a:pt x="152" y="33"/>
                </a:lnTo>
                <a:lnTo>
                  <a:pt x="157" y="35"/>
                </a:lnTo>
                <a:lnTo>
                  <a:pt x="190" y="36"/>
                </a:lnTo>
                <a:lnTo>
                  <a:pt x="200" y="43"/>
                </a:lnTo>
                <a:lnTo>
                  <a:pt x="201" y="49"/>
                </a:lnTo>
                <a:lnTo>
                  <a:pt x="206" y="55"/>
                </a:lnTo>
                <a:lnTo>
                  <a:pt x="211" y="60"/>
                </a:lnTo>
                <a:lnTo>
                  <a:pt x="219" y="62"/>
                </a:lnTo>
                <a:lnTo>
                  <a:pt x="231" y="67"/>
                </a:lnTo>
                <a:lnTo>
                  <a:pt x="239" y="70"/>
                </a:lnTo>
                <a:lnTo>
                  <a:pt x="251" y="71"/>
                </a:lnTo>
                <a:lnTo>
                  <a:pt x="270" y="76"/>
                </a:lnTo>
                <a:lnTo>
                  <a:pt x="287" y="79"/>
                </a:lnTo>
                <a:lnTo>
                  <a:pt x="298" y="82"/>
                </a:lnTo>
                <a:lnTo>
                  <a:pt x="313" y="82"/>
                </a:lnTo>
                <a:lnTo>
                  <a:pt x="322" y="86"/>
                </a:lnTo>
                <a:lnTo>
                  <a:pt x="336" y="86"/>
                </a:lnTo>
                <a:lnTo>
                  <a:pt x="347" y="87"/>
                </a:lnTo>
                <a:lnTo>
                  <a:pt x="357" y="92"/>
                </a:lnTo>
                <a:lnTo>
                  <a:pt x="363" y="100"/>
                </a:lnTo>
                <a:lnTo>
                  <a:pt x="367" y="106"/>
                </a:lnTo>
                <a:lnTo>
                  <a:pt x="373" y="111"/>
                </a:lnTo>
                <a:lnTo>
                  <a:pt x="382" y="116"/>
                </a:lnTo>
                <a:lnTo>
                  <a:pt x="387" y="122"/>
                </a:lnTo>
                <a:lnTo>
                  <a:pt x="389" y="130"/>
                </a:lnTo>
                <a:lnTo>
                  <a:pt x="390" y="135"/>
                </a:lnTo>
                <a:lnTo>
                  <a:pt x="389" y="141"/>
                </a:lnTo>
                <a:lnTo>
                  <a:pt x="387" y="144"/>
                </a:lnTo>
                <a:lnTo>
                  <a:pt x="387" y="149"/>
                </a:lnTo>
                <a:lnTo>
                  <a:pt x="392" y="151"/>
                </a:lnTo>
                <a:lnTo>
                  <a:pt x="397" y="154"/>
                </a:lnTo>
                <a:lnTo>
                  <a:pt x="400" y="154"/>
                </a:lnTo>
                <a:lnTo>
                  <a:pt x="398" y="159"/>
                </a:lnTo>
                <a:lnTo>
                  <a:pt x="397" y="163"/>
                </a:lnTo>
                <a:lnTo>
                  <a:pt x="398" y="171"/>
                </a:lnTo>
                <a:lnTo>
                  <a:pt x="402" y="175"/>
                </a:lnTo>
                <a:lnTo>
                  <a:pt x="406" y="178"/>
                </a:lnTo>
                <a:lnTo>
                  <a:pt x="409" y="181"/>
                </a:lnTo>
                <a:lnTo>
                  <a:pt x="411" y="186"/>
                </a:lnTo>
                <a:lnTo>
                  <a:pt x="406" y="192"/>
                </a:lnTo>
                <a:lnTo>
                  <a:pt x="405" y="198"/>
                </a:lnTo>
                <a:lnTo>
                  <a:pt x="400" y="206"/>
                </a:lnTo>
                <a:lnTo>
                  <a:pt x="395" y="210"/>
                </a:lnTo>
                <a:lnTo>
                  <a:pt x="392" y="214"/>
                </a:lnTo>
                <a:lnTo>
                  <a:pt x="392" y="219"/>
                </a:lnTo>
                <a:lnTo>
                  <a:pt x="389" y="224"/>
                </a:lnTo>
                <a:lnTo>
                  <a:pt x="387" y="229"/>
                </a:lnTo>
                <a:lnTo>
                  <a:pt x="386" y="237"/>
                </a:lnTo>
                <a:lnTo>
                  <a:pt x="384" y="243"/>
                </a:lnTo>
                <a:lnTo>
                  <a:pt x="387" y="246"/>
                </a:lnTo>
                <a:lnTo>
                  <a:pt x="392" y="241"/>
                </a:lnTo>
                <a:lnTo>
                  <a:pt x="397" y="237"/>
                </a:lnTo>
                <a:lnTo>
                  <a:pt x="402" y="232"/>
                </a:lnTo>
                <a:lnTo>
                  <a:pt x="406" y="227"/>
                </a:lnTo>
                <a:lnTo>
                  <a:pt x="409" y="222"/>
                </a:lnTo>
                <a:lnTo>
                  <a:pt x="416" y="219"/>
                </a:lnTo>
                <a:lnTo>
                  <a:pt x="421" y="216"/>
                </a:lnTo>
                <a:lnTo>
                  <a:pt x="424" y="214"/>
                </a:lnTo>
                <a:lnTo>
                  <a:pt x="427" y="210"/>
                </a:lnTo>
                <a:lnTo>
                  <a:pt x="429" y="205"/>
                </a:lnTo>
                <a:lnTo>
                  <a:pt x="429" y="198"/>
                </a:lnTo>
                <a:lnTo>
                  <a:pt x="429" y="192"/>
                </a:lnTo>
                <a:lnTo>
                  <a:pt x="429" y="186"/>
                </a:lnTo>
                <a:lnTo>
                  <a:pt x="433" y="181"/>
                </a:lnTo>
                <a:lnTo>
                  <a:pt x="436" y="176"/>
                </a:lnTo>
                <a:lnTo>
                  <a:pt x="440" y="173"/>
                </a:lnTo>
                <a:lnTo>
                  <a:pt x="444" y="168"/>
                </a:lnTo>
                <a:lnTo>
                  <a:pt x="446" y="165"/>
                </a:lnTo>
                <a:lnTo>
                  <a:pt x="448" y="168"/>
                </a:lnTo>
                <a:lnTo>
                  <a:pt x="449" y="171"/>
                </a:lnTo>
                <a:lnTo>
                  <a:pt x="449" y="179"/>
                </a:lnTo>
                <a:lnTo>
                  <a:pt x="446" y="183"/>
                </a:lnTo>
                <a:lnTo>
                  <a:pt x="444" y="189"/>
                </a:lnTo>
                <a:lnTo>
                  <a:pt x="441" y="195"/>
                </a:lnTo>
                <a:lnTo>
                  <a:pt x="440" y="200"/>
                </a:lnTo>
                <a:lnTo>
                  <a:pt x="436" y="205"/>
                </a:lnTo>
                <a:lnTo>
                  <a:pt x="436" y="213"/>
                </a:lnTo>
                <a:lnTo>
                  <a:pt x="432" y="219"/>
                </a:lnTo>
                <a:lnTo>
                  <a:pt x="429" y="229"/>
                </a:lnTo>
                <a:lnTo>
                  <a:pt x="425" y="238"/>
                </a:lnTo>
                <a:lnTo>
                  <a:pt x="424" y="256"/>
                </a:lnTo>
                <a:lnTo>
                  <a:pt x="421" y="264"/>
                </a:lnTo>
                <a:lnTo>
                  <a:pt x="419" y="278"/>
                </a:lnTo>
                <a:lnTo>
                  <a:pt x="417" y="289"/>
                </a:lnTo>
                <a:lnTo>
                  <a:pt x="414" y="306"/>
                </a:lnTo>
                <a:lnTo>
                  <a:pt x="414" y="319"/>
                </a:lnTo>
                <a:lnTo>
                  <a:pt x="411" y="333"/>
                </a:lnTo>
                <a:lnTo>
                  <a:pt x="408" y="346"/>
                </a:lnTo>
                <a:lnTo>
                  <a:pt x="408" y="365"/>
                </a:lnTo>
                <a:lnTo>
                  <a:pt x="406" y="380"/>
                </a:lnTo>
                <a:lnTo>
                  <a:pt x="406" y="394"/>
                </a:lnTo>
                <a:lnTo>
                  <a:pt x="406" y="407"/>
                </a:lnTo>
                <a:lnTo>
                  <a:pt x="408" y="418"/>
                </a:lnTo>
                <a:lnTo>
                  <a:pt x="411" y="426"/>
                </a:lnTo>
                <a:lnTo>
                  <a:pt x="411" y="440"/>
                </a:lnTo>
                <a:lnTo>
                  <a:pt x="414" y="449"/>
                </a:lnTo>
                <a:lnTo>
                  <a:pt x="414" y="462"/>
                </a:lnTo>
                <a:lnTo>
                  <a:pt x="414" y="472"/>
                </a:lnTo>
                <a:lnTo>
                  <a:pt x="414" y="475"/>
                </a:lnTo>
                <a:lnTo>
                  <a:pt x="192" y="486"/>
                </a:lnTo>
                <a:lnTo>
                  <a:pt x="190" y="476"/>
                </a:lnTo>
                <a:lnTo>
                  <a:pt x="187" y="472"/>
                </a:lnTo>
                <a:lnTo>
                  <a:pt x="182" y="467"/>
                </a:lnTo>
                <a:lnTo>
                  <a:pt x="177" y="465"/>
                </a:lnTo>
                <a:lnTo>
                  <a:pt x="171" y="464"/>
                </a:lnTo>
                <a:lnTo>
                  <a:pt x="168" y="461"/>
                </a:lnTo>
                <a:lnTo>
                  <a:pt x="160" y="461"/>
                </a:lnTo>
                <a:lnTo>
                  <a:pt x="155" y="461"/>
                </a:lnTo>
                <a:lnTo>
                  <a:pt x="155" y="456"/>
                </a:lnTo>
                <a:lnTo>
                  <a:pt x="157" y="453"/>
                </a:lnTo>
                <a:lnTo>
                  <a:pt x="154" y="449"/>
                </a:lnTo>
                <a:lnTo>
                  <a:pt x="152" y="443"/>
                </a:lnTo>
                <a:lnTo>
                  <a:pt x="149" y="440"/>
                </a:lnTo>
                <a:lnTo>
                  <a:pt x="152" y="438"/>
                </a:lnTo>
                <a:lnTo>
                  <a:pt x="152" y="435"/>
                </a:lnTo>
                <a:lnTo>
                  <a:pt x="152" y="429"/>
                </a:lnTo>
                <a:lnTo>
                  <a:pt x="150" y="426"/>
                </a:lnTo>
                <a:lnTo>
                  <a:pt x="147" y="419"/>
                </a:lnTo>
                <a:lnTo>
                  <a:pt x="147" y="416"/>
                </a:lnTo>
                <a:lnTo>
                  <a:pt x="149" y="411"/>
                </a:lnTo>
                <a:lnTo>
                  <a:pt x="149" y="408"/>
                </a:lnTo>
                <a:lnTo>
                  <a:pt x="146" y="403"/>
                </a:lnTo>
                <a:lnTo>
                  <a:pt x="144" y="397"/>
                </a:lnTo>
                <a:lnTo>
                  <a:pt x="144" y="392"/>
                </a:lnTo>
                <a:lnTo>
                  <a:pt x="143" y="387"/>
                </a:lnTo>
                <a:lnTo>
                  <a:pt x="141" y="381"/>
                </a:lnTo>
                <a:lnTo>
                  <a:pt x="141" y="376"/>
                </a:lnTo>
                <a:lnTo>
                  <a:pt x="141" y="368"/>
                </a:lnTo>
                <a:lnTo>
                  <a:pt x="141" y="360"/>
                </a:lnTo>
                <a:lnTo>
                  <a:pt x="139" y="349"/>
                </a:lnTo>
                <a:lnTo>
                  <a:pt x="135" y="341"/>
                </a:lnTo>
                <a:lnTo>
                  <a:pt x="128" y="333"/>
                </a:lnTo>
                <a:lnTo>
                  <a:pt x="122" y="327"/>
                </a:lnTo>
                <a:lnTo>
                  <a:pt x="114" y="321"/>
                </a:lnTo>
                <a:lnTo>
                  <a:pt x="108" y="314"/>
                </a:lnTo>
                <a:lnTo>
                  <a:pt x="101" y="313"/>
                </a:lnTo>
                <a:lnTo>
                  <a:pt x="98" y="313"/>
                </a:lnTo>
                <a:lnTo>
                  <a:pt x="93" y="308"/>
                </a:lnTo>
                <a:lnTo>
                  <a:pt x="87" y="300"/>
                </a:lnTo>
                <a:lnTo>
                  <a:pt x="84" y="291"/>
                </a:lnTo>
                <a:lnTo>
                  <a:pt x="77" y="286"/>
                </a:lnTo>
                <a:lnTo>
                  <a:pt x="69" y="278"/>
                </a:lnTo>
                <a:lnTo>
                  <a:pt x="60" y="271"/>
                </a:lnTo>
                <a:lnTo>
                  <a:pt x="55" y="267"/>
                </a:lnTo>
                <a:lnTo>
                  <a:pt x="47" y="267"/>
                </a:lnTo>
                <a:lnTo>
                  <a:pt x="44" y="268"/>
                </a:lnTo>
                <a:lnTo>
                  <a:pt x="39" y="268"/>
                </a:lnTo>
                <a:lnTo>
                  <a:pt x="38" y="265"/>
                </a:lnTo>
                <a:lnTo>
                  <a:pt x="34" y="260"/>
                </a:lnTo>
                <a:lnTo>
                  <a:pt x="31" y="259"/>
                </a:lnTo>
                <a:lnTo>
                  <a:pt x="27" y="256"/>
                </a:lnTo>
                <a:lnTo>
                  <a:pt x="22" y="252"/>
                </a:lnTo>
                <a:lnTo>
                  <a:pt x="15" y="249"/>
                </a:lnTo>
                <a:lnTo>
                  <a:pt x="11" y="246"/>
                </a:lnTo>
                <a:lnTo>
                  <a:pt x="9" y="240"/>
                </a:lnTo>
                <a:lnTo>
                  <a:pt x="9" y="233"/>
                </a:lnTo>
                <a:lnTo>
                  <a:pt x="12" y="232"/>
                </a:lnTo>
                <a:lnTo>
                  <a:pt x="14" y="225"/>
                </a:lnTo>
                <a:lnTo>
                  <a:pt x="14" y="224"/>
                </a:lnTo>
                <a:lnTo>
                  <a:pt x="14" y="219"/>
                </a:lnTo>
                <a:lnTo>
                  <a:pt x="9" y="216"/>
                </a:lnTo>
                <a:lnTo>
                  <a:pt x="7" y="211"/>
                </a:lnTo>
                <a:lnTo>
                  <a:pt x="11" y="208"/>
                </a:lnTo>
                <a:lnTo>
                  <a:pt x="14" y="205"/>
                </a:lnTo>
                <a:lnTo>
                  <a:pt x="14" y="203"/>
                </a:lnTo>
                <a:lnTo>
                  <a:pt x="14" y="198"/>
                </a:lnTo>
                <a:lnTo>
                  <a:pt x="12" y="194"/>
                </a:lnTo>
                <a:lnTo>
                  <a:pt x="12" y="186"/>
                </a:lnTo>
                <a:lnTo>
                  <a:pt x="14" y="179"/>
                </a:lnTo>
                <a:lnTo>
                  <a:pt x="17" y="171"/>
                </a:lnTo>
                <a:lnTo>
                  <a:pt x="17" y="165"/>
                </a:lnTo>
                <a:lnTo>
                  <a:pt x="14" y="160"/>
                </a:lnTo>
                <a:lnTo>
                  <a:pt x="9" y="156"/>
                </a:lnTo>
                <a:lnTo>
                  <a:pt x="1" y="149"/>
                </a:lnTo>
                <a:lnTo>
                  <a:pt x="0" y="143"/>
                </a:lnTo>
                <a:lnTo>
                  <a:pt x="0" y="138"/>
                </a:lnTo>
                <a:lnTo>
                  <a:pt x="4" y="130"/>
                </a:lnTo>
                <a:lnTo>
                  <a:pt x="7" y="124"/>
                </a:lnTo>
                <a:lnTo>
                  <a:pt x="12" y="121"/>
                </a:lnTo>
                <a:lnTo>
                  <a:pt x="15" y="113"/>
                </a:lnTo>
                <a:lnTo>
                  <a:pt x="22" y="109"/>
                </a:lnTo>
                <a:lnTo>
                  <a:pt x="44" y="92"/>
                </a:lnTo>
                <a:lnTo>
                  <a:pt x="44" y="28"/>
                </a:lnTo>
                <a:lnTo>
                  <a:pt x="54" y="25"/>
                </a:lnTo>
                <a:close/>
              </a:path>
            </a:pathLst>
          </a:custGeom>
          <a:solidFill>
            <a:schemeClr val="bg1">
              <a:lumMod val="95000"/>
            </a:schemeClr>
          </a:solidFill>
          <a:ln w="0" algn="ctr">
            <a:solidFill>
              <a:srgbClr val="808080"/>
            </a:solidFill>
            <a:round/>
            <a:headEnd/>
            <a:tailEnd/>
          </a:ln>
        </p:spPr>
        <p:txBody>
          <a:bodyPr lIns="101798" tIns="50899" rIns="101798" bIns="50899"/>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endParaRPr>
          </a:p>
        </p:txBody>
      </p:sp>
      <p:sp>
        <p:nvSpPr>
          <p:cNvPr id="9" name="State: West Virginia"/>
          <p:cNvSpPr>
            <a:spLocks/>
          </p:cNvSpPr>
          <p:nvPr/>
        </p:nvSpPr>
        <p:spPr bwMode="auto">
          <a:xfrm>
            <a:off x="5814611" y="3517250"/>
            <a:ext cx="580762" cy="630663"/>
          </a:xfrm>
          <a:custGeom>
            <a:avLst/>
            <a:gdLst>
              <a:gd name="T0" fmla="*/ 38100 w 389"/>
              <a:gd name="T1" fmla="*/ 446088 h 410"/>
              <a:gd name="T2" fmla="*/ 47625 w 389"/>
              <a:gd name="T3" fmla="*/ 428625 h 410"/>
              <a:gd name="T4" fmla="*/ 52388 w 389"/>
              <a:gd name="T5" fmla="*/ 411163 h 410"/>
              <a:gd name="T6" fmla="*/ 46038 w 389"/>
              <a:gd name="T7" fmla="*/ 388938 h 410"/>
              <a:gd name="T8" fmla="*/ 50800 w 389"/>
              <a:gd name="T9" fmla="*/ 369888 h 410"/>
              <a:gd name="T10" fmla="*/ 60325 w 389"/>
              <a:gd name="T11" fmla="*/ 355600 h 410"/>
              <a:gd name="T12" fmla="*/ 71438 w 389"/>
              <a:gd name="T13" fmla="*/ 350838 h 410"/>
              <a:gd name="T14" fmla="*/ 88900 w 389"/>
              <a:gd name="T15" fmla="*/ 357188 h 410"/>
              <a:gd name="T16" fmla="*/ 93663 w 389"/>
              <a:gd name="T17" fmla="*/ 338138 h 410"/>
              <a:gd name="T18" fmla="*/ 93663 w 389"/>
              <a:gd name="T19" fmla="*/ 317500 h 410"/>
              <a:gd name="T20" fmla="*/ 101600 w 389"/>
              <a:gd name="T21" fmla="*/ 295275 h 410"/>
              <a:gd name="T22" fmla="*/ 119063 w 389"/>
              <a:gd name="T23" fmla="*/ 282575 h 410"/>
              <a:gd name="T24" fmla="*/ 136525 w 389"/>
              <a:gd name="T25" fmla="*/ 269875 h 410"/>
              <a:gd name="T26" fmla="*/ 174625 w 389"/>
              <a:gd name="T27" fmla="*/ 247650 h 410"/>
              <a:gd name="T28" fmla="*/ 201613 w 389"/>
              <a:gd name="T29" fmla="*/ 214313 h 410"/>
              <a:gd name="T30" fmla="*/ 209550 w 389"/>
              <a:gd name="T31" fmla="*/ 150813 h 410"/>
              <a:gd name="T32" fmla="*/ 214313 w 389"/>
              <a:gd name="T33" fmla="*/ 63500 h 410"/>
              <a:gd name="T34" fmla="*/ 222250 w 389"/>
              <a:gd name="T35" fmla="*/ 0 h 410"/>
              <a:gd name="T36" fmla="*/ 227013 w 389"/>
              <a:gd name="T37" fmla="*/ 52388 h 410"/>
              <a:gd name="T38" fmla="*/ 236538 w 389"/>
              <a:gd name="T39" fmla="*/ 141288 h 410"/>
              <a:gd name="T40" fmla="*/ 390525 w 389"/>
              <a:gd name="T41" fmla="*/ 257175 h 410"/>
              <a:gd name="T42" fmla="*/ 454025 w 389"/>
              <a:gd name="T43" fmla="*/ 201613 h 410"/>
              <a:gd name="T44" fmla="*/ 479425 w 389"/>
              <a:gd name="T45" fmla="*/ 166688 h 410"/>
              <a:gd name="T46" fmla="*/ 496888 w 389"/>
              <a:gd name="T47" fmla="*/ 179388 h 410"/>
              <a:gd name="T48" fmla="*/ 527050 w 389"/>
              <a:gd name="T49" fmla="*/ 158750 h 410"/>
              <a:gd name="T50" fmla="*/ 560388 w 389"/>
              <a:gd name="T51" fmla="*/ 141288 h 410"/>
              <a:gd name="T52" fmla="*/ 600075 w 389"/>
              <a:gd name="T53" fmla="*/ 155575 h 410"/>
              <a:gd name="T54" fmla="*/ 617538 w 389"/>
              <a:gd name="T55" fmla="*/ 188913 h 410"/>
              <a:gd name="T56" fmla="*/ 611188 w 389"/>
              <a:gd name="T57" fmla="*/ 219075 h 410"/>
              <a:gd name="T58" fmla="*/ 568325 w 389"/>
              <a:gd name="T59" fmla="*/ 201613 h 410"/>
              <a:gd name="T60" fmla="*/ 542925 w 389"/>
              <a:gd name="T61" fmla="*/ 184150 h 410"/>
              <a:gd name="T62" fmla="*/ 530225 w 389"/>
              <a:gd name="T63" fmla="*/ 249238 h 410"/>
              <a:gd name="T64" fmla="*/ 493713 w 389"/>
              <a:gd name="T65" fmla="*/ 295275 h 410"/>
              <a:gd name="T66" fmla="*/ 482600 w 389"/>
              <a:gd name="T67" fmla="*/ 309563 h 410"/>
              <a:gd name="T68" fmla="*/ 466725 w 389"/>
              <a:gd name="T69" fmla="*/ 314325 h 410"/>
              <a:gd name="T70" fmla="*/ 444500 w 389"/>
              <a:gd name="T71" fmla="*/ 385763 h 410"/>
              <a:gd name="T72" fmla="*/ 415925 w 389"/>
              <a:gd name="T73" fmla="*/ 381000 h 410"/>
              <a:gd name="T74" fmla="*/ 390525 w 389"/>
              <a:gd name="T75" fmla="*/ 369888 h 410"/>
              <a:gd name="T76" fmla="*/ 385763 w 389"/>
              <a:gd name="T77" fmla="*/ 406400 h 410"/>
              <a:gd name="T78" fmla="*/ 376238 w 389"/>
              <a:gd name="T79" fmla="*/ 433388 h 410"/>
              <a:gd name="T80" fmla="*/ 360363 w 389"/>
              <a:gd name="T81" fmla="*/ 471488 h 410"/>
              <a:gd name="T82" fmla="*/ 346075 w 389"/>
              <a:gd name="T83" fmla="*/ 517525 h 410"/>
              <a:gd name="T84" fmla="*/ 341313 w 389"/>
              <a:gd name="T85" fmla="*/ 560388 h 410"/>
              <a:gd name="T86" fmla="*/ 309563 w 389"/>
              <a:gd name="T87" fmla="*/ 582613 h 410"/>
              <a:gd name="T88" fmla="*/ 279400 w 389"/>
              <a:gd name="T89" fmla="*/ 600075 h 410"/>
              <a:gd name="T90" fmla="*/ 260350 w 389"/>
              <a:gd name="T91" fmla="*/ 612775 h 410"/>
              <a:gd name="T92" fmla="*/ 223838 w 389"/>
              <a:gd name="T93" fmla="*/ 635000 h 410"/>
              <a:gd name="T94" fmla="*/ 201613 w 389"/>
              <a:gd name="T95" fmla="*/ 627063 h 410"/>
              <a:gd name="T96" fmla="*/ 179388 w 389"/>
              <a:gd name="T97" fmla="*/ 639763 h 410"/>
              <a:gd name="T98" fmla="*/ 149225 w 389"/>
              <a:gd name="T99" fmla="*/ 650875 h 410"/>
              <a:gd name="T100" fmla="*/ 119063 w 389"/>
              <a:gd name="T101" fmla="*/ 625475 h 410"/>
              <a:gd name="T102" fmla="*/ 93663 w 389"/>
              <a:gd name="T103" fmla="*/ 603250 h 410"/>
              <a:gd name="T104" fmla="*/ 58738 w 389"/>
              <a:gd name="T105" fmla="*/ 574675 h 410"/>
              <a:gd name="T106" fmla="*/ 34925 w 389"/>
              <a:gd name="T107" fmla="*/ 549275 h 410"/>
              <a:gd name="T108" fmla="*/ 12700 w 389"/>
              <a:gd name="T109" fmla="*/ 514350 h 410"/>
              <a:gd name="T110" fmla="*/ 3175 w 389"/>
              <a:gd name="T111" fmla="*/ 488950 h 410"/>
              <a:gd name="T112" fmla="*/ 4763 w 389"/>
              <a:gd name="T113" fmla="*/ 458788 h 41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89"/>
              <a:gd name="T172" fmla="*/ 0 h 410"/>
              <a:gd name="T173" fmla="*/ 389 w 389"/>
              <a:gd name="T174" fmla="*/ 410 h 41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89" h="410">
                <a:moveTo>
                  <a:pt x="3" y="289"/>
                </a:moveTo>
                <a:lnTo>
                  <a:pt x="19" y="284"/>
                </a:lnTo>
                <a:lnTo>
                  <a:pt x="24" y="281"/>
                </a:lnTo>
                <a:lnTo>
                  <a:pt x="25" y="276"/>
                </a:lnTo>
                <a:lnTo>
                  <a:pt x="27" y="273"/>
                </a:lnTo>
                <a:lnTo>
                  <a:pt x="30" y="270"/>
                </a:lnTo>
                <a:lnTo>
                  <a:pt x="33" y="267"/>
                </a:lnTo>
                <a:lnTo>
                  <a:pt x="37" y="264"/>
                </a:lnTo>
                <a:lnTo>
                  <a:pt x="33" y="259"/>
                </a:lnTo>
                <a:lnTo>
                  <a:pt x="30" y="252"/>
                </a:lnTo>
                <a:lnTo>
                  <a:pt x="29" y="248"/>
                </a:lnTo>
                <a:lnTo>
                  <a:pt x="29" y="245"/>
                </a:lnTo>
                <a:lnTo>
                  <a:pt x="30" y="241"/>
                </a:lnTo>
                <a:lnTo>
                  <a:pt x="32" y="238"/>
                </a:lnTo>
                <a:lnTo>
                  <a:pt x="32" y="233"/>
                </a:lnTo>
                <a:lnTo>
                  <a:pt x="32" y="229"/>
                </a:lnTo>
                <a:lnTo>
                  <a:pt x="35" y="227"/>
                </a:lnTo>
                <a:lnTo>
                  <a:pt x="38" y="224"/>
                </a:lnTo>
                <a:lnTo>
                  <a:pt x="38" y="221"/>
                </a:lnTo>
                <a:lnTo>
                  <a:pt x="41" y="219"/>
                </a:lnTo>
                <a:lnTo>
                  <a:pt x="45" y="221"/>
                </a:lnTo>
                <a:lnTo>
                  <a:pt x="48" y="222"/>
                </a:lnTo>
                <a:lnTo>
                  <a:pt x="51" y="225"/>
                </a:lnTo>
                <a:lnTo>
                  <a:pt x="56" y="225"/>
                </a:lnTo>
                <a:lnTo>
                  <a:pt x="60" y="225"/>
                </a:lnTo>
                <a:lnTo>
                  <a:pt x="62" y="219"/>
                </a:lnTo>
                <a:lnTo>
                  <a:pt x="59" y="213"/>
                </a:lnTo>
                <a:lnTo>
                  <a:pt x="57" y="208"/>
                </a:lnTo>
                <a:lnTo>
                  <a:pt x="59" y="205"/>
                </a:lnTo>
                <a:lnTo>
                  <a:pt x="59" y="200"/>
                </a:lnTo>
                <a:lnTo>
                  <a:pt x="59" y="197"/>
                </a:lnTo>
                <a:lnTo>
                  <a:pt x="60" y="191"/>
                </a:lnTo>
                <a:lnTo>
                  <a:pt x="64" y="186"/>
                </a:lnTo>
                <a:lnTo>
                  <a:pt x="68" y="184"/>
                </a:lnTo>
                <a:lnTo>
                  <a:pt x="73" y="183"/>
                </a:lnTo>
                <a:lnTo>
                  <a:pt x="75" y="178"/>
                </a:lnTo>
                <a:lnTo>
                  <a:pt x="78" y="173"/>
                </a:lnTo>
                <a:lnTo>
                  <a:pt x="81" y="170"/>
                </a:lnTo>
                <a:lnTo>
                  <a:pt x="86" y="170"/>
                </a:lnTo>
                <a:lnTo>
                  <a:pt x="97" y="167"/>
                </a:lnTo>
                <a:lnTo>
                  <a:pt x="103" y="162"/>
                </a:lnTo>
                <a:lnTo>
                  <a:pt x="110" y="156"/>
                </a:lnTo>
                <a:lnTo>
                  <a:pt x="116" y="149"/>
                </a:lnTo>
                <a:lnTo>
                  <a:pt x="121" y="141"/>
                </a:lnTo>
                <a:lnTo>
                  <a:pt x="127" y="135"/>
                </a:lnTo>
                <a:lnTo>
                  <a:pt x="127" y="129"/>
                </a:lnTo>
                <a:lnTo>
                  <a:pt x="130" y="103"/>
                </a:lnTo>
                <a:lnTo>
                  <a:pt x="132" y="95"/>
                </a:lnTo>
                <a:lnTo>
                  <a:pt x="132" y="81"/>
                </a:lnTo>
                <a:lnTo>
                  <a:pt x="134" y="62"/>
                </a:lnTo>
                <a:lnTo>
                  <a:pt x="135" y="40"/>
                </a:lnTo>
                <a:lnTo>
                  <a:pt x="137" y="28"/>
                </a:lnTo>
                <a:lnTo>
                  <a:pt x="137" y="11"/>
                </a:lnTo>
                <a:lnTo>
                  <a:pt x="140" y="0"/>
                </a:lnTo>
                <a:lnTo>
                  <a:pt x="141" y="11"/>
                </a:lnTo>
                <a:lnTo>
                  <a:pt x="143" y="22"/>
                </a:lnTo>
                <a:lnTo>
                  <a:pt x="143" y="33"/>
                </a:lnTo>
                <a:lnTo>
                  <a:pt x="143" y="46"/>
                </a:lnTo>
                <a:lnTo>
                  <a:pt x="145" y="75"/>
                </a:lnTo>
                <a:lnTo>
                  <a:pt x="149" y="89"/>
                </a:lnTo>
                <a:lnTo>
                  <a:pt x="153" y="117"/>
                </a:lnTo>
                <a:lnTo>
                  <a:pt x="237" y="105"/>
                </a:lnTo>
                <a:lnTo>
                  <a:pt x="246" y="162"/>
                </a:lnTo>
                <a:lnTo>
                  <a:pt x="275" y="127"/>
                </a:lnTo>
                <a:lnTo>
                  <a:pt x="281" y="122"/>
                </a:lnTo>
                <a:lnTo>
                  <a:pt x="286" y="127"/>
                </a:lnTo>
                <a:lnTo>
                  <a:pt x="291" y="121"/>
                </a:lnTo>
                <a:lnTo>
                  <a:pt x="296" y="113"/>
                </a:lnTo>
                <a:lnTo>
                  <a:pt x="302" y="105"/>
                </a:lnTo>
                <a:lnTo>
                  <a:pt x="307" y="105"/>
                </a:lnTo>
                <a:lnTo>
                  <a:pt x="308" y="109"/>
                </a:lnTo>
                <a:lnTo>
                  <a:pt x="313" y="113"/>
                </a:lnTo>
                <a:lnTo>
                  <a:pt x="319" y="111"/>
                </a:lnTo>
                <a:lnTo>
                  <a:pt x="327" y="105"/>
                </a:lnTo>
                <a:lnTo>
                  <a:pt x="332" y="100"/>
                </a:lnTo>
                <a:lnTo>
                  <a:pt x="337" y="95"/>
                </a:lnTo>
                <a:lnTo>
                  <a:pt x="346" y="90"/>
                </a:lnTo>
                <a:lnTo>
                  <a:pt x="353" y="89"/>
                </a:lnTo>
                <a:lnTo>
                  <a:pt x="362" y="87"/>
                </a:lnTo>
                <a:lnTo>
                  <a:pt x="372" y="89"/>
                </a:lnTo>
                <a:lnTo>
                  <a:pt x="378" y="98"/>
                </a:lnTo>
                <a:lnTo>
                  <a:pt x="383" y="106"/>
                </a:lnTo>
                <a:lnTo>
                  <a:pt x="388" y="114"/>
                </a:lnTo>
                <a:lnTo>
                  <a:pt x="389" y="119"/>
                </a:lnTo>
                <a:lnTo>
                  <a:pt x="389" y="129"/>
                </a:lnTo>
                <a:lnTo>
                  <a:pt x="386" y="135"/>
                </a:lnTo>
                <a:lnTo>
                  <a:pt x="385" y="138"/>
                </a:lnTo>
                <a:lnTo>
                  <a:pt x="378" y="137"/>
                </a:lnTo>
                <a:lnTo>
                  <a:pt x="370" y="133"/>
                </a:lnTo>
                <a:lnTo>
                  <a:pt x="358" y="127"/>
                </a:lnTo>
                <a:lnTo>
                  <a:pt x="353" y="121"/>
                </a:lnTo>
                <a:lnTo>
                  <a:pt x="346" y="117"/>
                </a:lnTo>
                <a:lnTo>
                  <a:pt x="342" y="116"/>
                </a:lnTo>
                <a:lnTo>
                  <a:pt x="337" y="117"/>
                </a:lnTo>
                <a:lnTo>
                  <a:pt x="337" y="149"/>
                </a:lnTo>
                <a:lnTo>
                  <a:pt x="334" y="157"/>
                </a:lnTo>
                <a:lnTo>
                  <a:pt x="327" y="165"/>
                </a:lnTo>
                <a:lnTo>
                  <a:pt x="318" y="178"/>
                </a:lnTo>
                <a:lnTo>
                  <a:pt x="311" y="186"/>
                </a:lnTo>
                <a:lnTo>
                  <a:pt x="310" y="192"/>
                </a:lnTo>
                <a:lnTo>
                  <a:pt x="308" y="195"/>
                </a:lnTo>
                <a:lnTo>
                  <a:pt x="304" y="195"/>
                </a:lnTo>
                <a:lnTo>
                  <a:pt x="300" y="192"/>
                </a:lnTo>
                <a:lnTo>
                  <a:pt x="297" y="192"/>
                </a:lnTo>
                <a:lnTo>
                  <a:pt x="294" y="198"/>
                </a:lnTo>
                <a:lnTo>
                  <a:pt x="292" y="206"/>
                </a:lnTo>
                <a:lnTo>
                  <a:pt x="281" y="237"/>
                </a:lnTo>
                <a:lnTo>
                  <a:pt x="280" y="243"/>
                </a:lnTo>
                <a:lnTo>
                  <a:pt x="273" y="246"/>
                </a:lnTo>
                <a:lnTo>
                  <a:pt x="267" y="245"/>
                </a:lnTo>
                <a:lnTo>
                  <a:pt x="262" y="240"/>
                </a:lnTo>
                <a:lnTo>
                  <a:pt x="256" y="233"/>
                </a:lnTo>
                <a:lnTo>
                  <a:pt x="251" y="232"/>
                </a:lnTo>
                <a:lnTo>
                  <a:pt x="246" y="233"/>
                </a:lnTo>
                <a:lnTo>
                  <a:pt x="245" y="241"/>
                </a:lnTo>
                <a:lnTo>
                  <a:pt x="246" y="252"/>
                </a:lnTo>
                <a:lnTo>
                  <a:pt x="243" y="256"/>
                </a:lnTo>
                <a:lnTo>
                  <a:pt x="237" y="260"/>
                </a:lnTo>
                <a:lnTo>
                  <a:pt x="237" y="265"/>
                </a:lnTo>
                <a:lnTo>
                  <a:pt x="237" y="273"/>
                </a:lnTo>
                <a:lnTo>
                  <a:pt x="229" y="279"/>
                </a:lnTo>
                <a:lnTo>
                  <a:pt x="227" y="284"/>
                </a:lnTo>
                <a:lnTo>
                  <a:pt x="227" y="297"/>
                </a:lnTo>
                <a:lnTo>
                  <a:pt x="226" y="305"/>
                </a:lnTo>
                <a:lnTo>
                  <a:pt x="219" y="314"/>
                </a:lnTo>
                <a:lnTo>
                  <a:pt x="218" y="326"/>
                </a:lnTo>
                <a:lnTo>
                  <a:pt x="215" y="338"/>
                </a:lnTo>
                <a:lnTo>
                  <a:pt x="216" y="346"/>
                </a:lnTo>
                <a:lnTo>
                  <a:pt x="215" y="353"/>
                </a:lnTo>
                <a:lnTo>
                  <a:pt x="208" y="361"/>
                </a:lnTo>
                <a:lnTo>
                  <a:pt x="202" y="367"/>
                </a:lnTo>
                <a:lnTo>
                  <a:pt x="195" y="367"/>
                </a:lnTo>
                <a:lnTo>
                  <a:pt x="191" y="368"/>
                </a:lnTo>
                <a:lnTo>
                  <a:pt x="184" y="373"/>
                </a:lnTo>
                <a:lnTo>
                  <a:pt x="176" y="378"/>
                </a:lnTo>
                <a:lnTo>
                  <a:pt x="168" y="380"/>
                </a:lnTo>
                <a:lnTo>
                  <a:pt x="167" y="381"/>
                </a:lnTo>
                <a:lnTo>
                  <a:pt x="164" y="386"/>
                </a:lnTo>
                <a:lnTo>
                  <a:pt x="156" y="392"/>
                </a:lnTo>
                <a:lnTo>
                  <a:pt x="146" y="395"/>
                </a:lnTo>
                <a:lnTo>
                  <a:pt x="141" y="400"/>
                </a:lnTo>
                <a:lnTo>
                  <a:pt x="135" y="400"/>
                </a:lnTo>
                <a:lnTo>
                  <a:pt x="132" y="399"/>
                </a:lnTo>
                <a:lnTo>
                  <a:pt x="127" y="395"/>
                </a:lnTo>
                <a:lnTo>
                  <a:pt x="122" y="394"/>
                </a:lnTo>
                <a:lnTo>
                  <a:pt x="121" y="397"/>
                </a:lnTo>
                <a:lnTo>
                  <a:pt x="113" y="403"/>
                </a:lnTo>
                <a:lnTo>
                  <a:pt x="108" y="408"/>
                </a:lnTo>
                <a:lnTo>
                  <a:pt x="103" y="410"/>
                </a:lnTo>
                <a:lnTo>
                  <a:pt x="94" y="410"/>
                </a:lnTo>
                <a:lnTo>
                  <a:pt x="86" y="405"/>
                </a:lnTo>
                <a:lnTo>
                  <a:pt x="78" y="399"/>
                </a:lnTo>
                <a:lnTo>
                  <a:pt x="75" y="394"/>
                </a:lnTo>
                <a:lnTo>
                  <a:pt x="70" y="383"/>
                </a:lnTo>
                <a:lnTo>
                  <a:pt x="65" y="381"/>
                </a:lnTo>
                <a:lnTo>
                  <a:pt x="59" y="380"/>
                </a:lnTo>
                <a:lnTo>
                  <a:pt x="48" y="373"/>
                </a:lnTo>
                <a:lnTo>
                  <a:pt x="43" y="368"/>
                </a:lnTo>
                <a:lnTo>
                  <a:pt x="37" y="362"/>
                </a:lnTo>
                <a:lnTo>
                  <a:pt x="33" y="354"/>
                </a:lnTo>
                <a:lnTo>
                  <a:pt x="27" y="349"/>
                </a:lnTo>
                <a:lnTo>
                  <a:pt x="22" y="346"/>
                </a:lnTo>
                <a:lnTo>
                  <a:pt x="16" y="337"/>
                </a:lnTo>
                <a:lnTo>
                  <a:pt x="13" y="330"/>
                </a:lnTo>
                <a:lnTo>
                  <a:pt x="8" y="324"/>
                </a:lnTo>
                <a:lnTo>
                  <a:pt x="3" y="321"/>
                </a:lnTo>
                <a:lnTo>
                  <a:pt x="0" y="314"/>
                </a:lnTo>
                <a:lnTo>
                  <a:pt x="2" y="308"/>
                </a:lnTo>
                <a:lnTo>
                  <a:pt x="2" y="299"/>
                </a:lnTo>
                <a:lnTo>
                  <a:pt x="0" y="291"/>
                </a:lnTo>
                <a:lnTo>
                  <a:pt x="3" y="289"/>
                </a:lnTo>
                <a:close/>
              </a:path>
            </a:pathLst>
          </a:custGeom>
          <a:solidFill>
            <a:schemeClr val="bg1">
              <a:lumMod val="95000"/>
            </a:schemeClr>
          </a:solidFill>
          <a:ln w="0" algn="ctr">
            <a:solidFill>
              <a:srgbClr val="808080"/>
            </a:solidFill>
            <a:round/>
            <a:headEnd/>
            <a:tailEnd/>
          </a:ln>
        </p:spPr>
        <p:txBody>
          <a:bodyPr lIns="101798" tIns="50899" rIns="101798" bIns="50899"/>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endParaRPr>
          </a:p>
        </p:txBody>
      </p:sp>
      <p:sp>
        <p:nvSpPr>
          <p:cNvPr id="10" name="State: Washington"/>
          <p:cNvSpPr>
            <a:spLocks/>
          </p:cNvSpPr>
          <p:nvPr/>
        </p:nvSpPr>
        <p:spPr bwMode="auto">
          <a:xfrm>
            <a:off x="1044605" y="1757541"/>
            <a:ext cx="852480" cy="689114"/>
          </a:xfrm>
          <a:custGeom>
            <a:avLst/>
            <a:gdLst>
              <a:gd name="T0" fmla="*/ 2147483647 w 571"/>
              <a:gd name="T1" fmla="*/ 2147483647 h 448"/>
              <a:gd name="T2" fmla="*/ 2147483647 w 571"/>
              <a:gd name="T3" fmla="*/ 2147483647 h 448"/>
              <a:gd name="T4" fmla="*/ 2147483647 w 571"/>
              <a:gd name="T5" fmla="*/ 2147483647 h 448"/>
              <a:gd name="T6" fmla="*/ 2147483647 w 571"/>
              <a:gd name="T7" fmla="*/ 2147483647 h 448"/>
              <a:gd name="T8" fmla="*/ 2147483647 w 571"/>
              <a:gd name="T9" fmla="*/ 2147483647 h 448"/>
              <a:gd name="T10" fmla="*/ 2147483647 w 571"/>
              <a:gd name="T11" fmla="*/ 2147483647 h 448"/>
              <a:gd name="T12" fmla="*/ 2147483647 w 571"/>
              <a:gd name="T13" fmla="*/ 2147483647 h 448"/>
              <a:gd name="T14" fmla="*/ 2147483647 w 571"/>
              <a:gd name="T15" fmla="*/ 2147483647 h 448"/>
              <a:gd name="T16" fmla="*/ 2147483647 w 571"/>
              <a:gd name="T17" fmla="*/ 2147483647 h 448"/>
              <a:gd name="T18" fmla="*/ 2147483647 w 571"/>
              <a:gd name="T19" fmla="*/ 2147483647 h 448"/>
              <a:gd name="T20" fmla="*/ 2147483647 w 571"/>
              <a:gd name="T21" fmla="*/ 2147483647 h 448"/>
              <a:gd name="T22" fmla="*/ 2147483647 w 571"/>
              <a:gd name="T23" fmla="*/ 2147483647 h 448"/>
              <a:gd name="T24" fmla="*/ 2147483647 w 571"/>
              <a:gd name="T25" fmla="*/ 2147483647 h 448"/>
              <a:gd name="T26" fmla="*/ 2147483647 w 571"/>
              <a:gd name="T27" fmla="*/ 2147483647 h 448"/>
              <a:gd name="T28" fmla="*/ 2147483647 w 571"/>
              <a:gd name="T29" fmla="*/ 2147483647 h 448"/>
              <a:gd name="T30" fmla="*/ 2147483647 w 571"/>
              <a:gd name="T31" fmla="*/ 2147483647 h 448"/>
              <a:gd name="T32" fmla="*/ 2147483647 w 571"/>
              <a:gd name="T33" fmla="*/ 2147483647 h 448"/>
              <a:gd name="T34" fmla="*/ 2147483647 w 571"/>
              <a:gd name="T35" fmla="*/ 2147483647 h 448"/>
              <a:gd name="T36" fmla="*/ 2147483647 w 571"/>
              <a:gd name="T37" fmla="*/ 2147483647 h 448"/>
              <a:gd name="T38" fmla="*/ 2147483647 w 571"/>
              <a:gd name="T39" fmla="*/ 2147483647 h 448"/>
              <a:gd name="T40" fmla="*/ 2147483647 w 571"/>
              <a:gd name="T41" fmla="*/ 2147483647 h 448"/>
              <a:gd name="T42" fmla="*/ 2147483647 w 571"/>
              <a:gd name="T43" fmla="*/ 2147483647 h 448"/>
              <a:gd name="T44" fmla="*/ 2147483647 w 571"/>
              <a:gd name="T45" fmla="*/ 2147483647 h 448"/>
              <a:gd name="T46" fmla="*/ 2147483647 w 571"/>
              <a:gd name="T47" fmla="*/ 2147483647 h 448"/>
              <a:gd name="T48" fmla="*/ 2147483647 w 571"/>
              <a:gd name="T49" fmla="*/ 2147483647 h 448"/>
              <a:gd name="T50" fmla="*/ 2147483647 w 571"/>
              <a:gd name="T51" fmla="*/ 2147483647 h 448"/>
              <a:gd name="T52" fmla="*/ 2147483647 w 571"/>
              <a:gd name="T53" fmla="*/ 2147483647 h 448"/>
              <a:gd name="T54" fmla="*/ 2147483647 w 571"/>
              <a:gd name="T55" fmla="*/ 2147483647 h 448"/>
              <a:gd name="T56" fmla="*/ 2147483647 w 571"/>
              <a:gd name="T57" fmla="*/ 2147483647 h 448"/>
              <a:gd name="T58" fmla="*/ 2147483647 w 571"/>
              <a:gd name="T59" fmla="*/ 2147483647 h 448"/>
              <a:gd name="T60" fmla="*/ 2147483647 w 571"/>
              <a:gd name="T61" fmla="*/ 2147483647 h 448"/>
              <a:gd name="T62" fmla="*/ 2147483647 w 571"/>
              <a:gd name="T63" fmla="*/ 2147483647 h 448"/>
              <a:gd name="T64" fmla="*/ 2147483647 w 571"/>
              <a:gd name="T65" fmla="*/ 2147483647 h 448"/>
              <a:gd name="T66" fmla="*/ 2147483647 w 571"/>
              <a:gd name="T67" fmla="*/ 2147483647 h 448"/>
              <a:gd name="T68" fmla="*/ 2147483647 w 571"/>
              <a:gd name="T69" fmla="*/ 2147483647 h 448"/>
              <a:gd name="T70" fmla="*/ 2147483647 w 571"/>
              <a:gd name="T71" fmla="*/ 2147483647 h 448"/>
              <a:gd name="T72" fmla="*/ 2147483647 w 571"/>
              <a:gd name="T73" fmla="*/ 2147483647 h 448"/>
              <a:gd name="T74" fmla="*/ 2147483647 w 571"/>
              <a:gd name="T75" fmla="*/ 2147483647 h 448"/>
              <a:gd name="T76" fmla="*/ 2147483647 w 571"/>
              <a:gd name="T77" fmla="*/ 2147483647 h 448"/>
              <a:gd name="T78" fmla="*/ 2147483647 w 571"/>
              <a:gd name="T79" fmla="*/ 2147483647 h 448"/>
              <a:gd name="T80" fmla="*/ 2147483647 w 571"/>
              <a:gd name="T81" fmla="*/ 2147483647 h 448"/>
              <a:gd name="T82" fmla="*/ 2147483647 w 571"/>
              <a:gd name="T83" fmla="*/ 2147483647 h 448"/>
              <a:gd name="T84" fmla="*/ 2147483647 w 571"/>
              <a:gd name="T85" fmla="*/ 2147483647 h 448"/>
              <a:gd name="T86" fmla="*/ 2147483647 w 571"/>
              <a:gd name="T87" fmla="*/ 2147483647 h 448"/>
              <a:gd name="T88" fmla="*/ 2147483647 w 571"/>
              <a:gd name="T89" fmla="*/ 2147483647 h 448"/>
              <a:gd name="T90" fmla="*/ 2147483647 w 571"/>
              <a:gd name="T91" fmla="*/ 2147483647 h 448"/>
              <a:gd name="T92" fmla="*/ 2147483647 w 571"/>
              <a:gd name="T93" fmla="*/ 2147483647 h 448"/>
              <a:gd name="T94" fmla="*/ 2147483647 w 571"/>
              <a:gd name="T95" fmla="*/ 2147483647 h 448"/>
              <a:gd name="T96" fmla="*/ 2147483647 w 571"/>
              <a:gd name="T97" fmla="*/ 2147483647 h 448"/>
              <a:gd name="T98" fmla="*/ 2147483647 w 571"/>
              <a:gd name="T99" fmla="*/ 2147483647 h 448"/>
              <a:gd name="T100" fmla="*/ 2147483647 w 571"/>
              <a:gd name="T101" fmla="*/ 2147483647 h 448"/>
              <a:gd name="T102" fmla="*/ 2147483647 w 571"/>
              <a:gd name="T103" fmla="*/ 0 h 44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71"/>
              <a:gd name="T157" fmla="*/ 0 h 448"/>
              <a:gd name="T158" fmla="*/ 571 w 571"/>
              <a:gd name="T159" fmla="*/ 448 h 44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71" h="448">
                <a:moveTo>
                  <a:pt x="185" y="0"/>
                </a:moveTo>
                <a:lnTo>
                  <a:pt x="181" y="12"/>
                </a:lnTo>
                <a:lnTo>
                  <a:pt x="183" y="17"/>
                </a:lnTo>
                <a:lnTo>
                  <a:pt x="189" y="23"/>
                </a:lnTo>
                <a:lnTo>
                  <a:pt x="196" y="31"/>
                </a:lnTo>
                <a:lnTo>
                  <a:pt x="199" y="38"/>
                </a:lnTo>
                <a:lnTo>
                  <a:pt x="197" y="39"/>
                </a:lnTo>
                <a:lnTo>
                  <a:pt x="193" y="44"/>
                </a:lnTo>
                <a:lnTo>
                  <a:pt x="188" y="50"/>
                </a:lnTo>
                <a:lnTo>
                  <a:pt x="185" y="52"/>
                </a:lnTo>
                <a:lnTo>
                  <a:pt x="178" y="57"/>
                </a:lnTo>
                <a:lnTo>
                  <a:pt x="177" y="62"/>
                </a:lnTo>
                <a:lnTo>
                  <a:pt x="178" y="65"/>
                </a:lnTo>
                <a:lnTo>
                  <a:pt x="185" y="71"/>
                </a:lnTo>
                <a:lnTo>
                  <a:pt x="185" y="76"/>
                </a:lnTo>
                <a:lnTo>
                  <a:pt x="185" y="84"/>
                </a:lnTo>
                <a:lnTo>
                  <a:pt x="185" y="92"/>
                </a:lnTo>
                <a:lnTo>
                  <a:pt x="185" y="104"/>
                </a:lnTo>
                <a:lnTo>
                  <a:pt x="183" y="111"/>
                </a:lnTo>
                <a:lnTo>
                  <a:pt x="178" y="120"/>
                </a:lnTo>
                <a:lnTo>
                  <a:pt x="175" y="127"/>
                </a:lnTo>
                <a:lnTo>
                  <a:pt x="172" y="131"/>
                </a:lnTo>
                <a:lnTo>
                  <a:pt x="170" y="136"/>
                </a:lnTo>
                <a:lnTo>
                  <a:pt x="166" y="133"/>
                </a:lnTo>
                <a:lnTo>
                  <a:pt x="166" y="127"/>
                </a:lnTo>
                <a:lnTo>
                  <a:pt x="159" y="125"/>
                </a:lnTo>
                <a:lnTo>
                  <a:pt x="154" y="128"/>
                </a:lnTo>
                <a:lnTo>
                  <a:pt x="148" y="131"/>
                </a:lnTo>
                <a:lnTo>
                  <a:pt x="143" y="139"/>
                </a:lnTo>
                <a:lnTo>
                  <a:pt x="142" y="147"/>
                </a:lnTo>
                <a:lnTo>
                  <a:pt x="139" y="154"/>
                </a:lnTo>
                <a:lnTo>
                  <a:pt x="134" y="158"/>
                </a:lnTo>
                <a:lnTo>
                  <a:pt x="126" y="160"/>
                </a:lnTo>
                <a:lnTo>
                  <a:pt x="121" y="163"/>
                </a:lnTo>
                <a:lnTo>
                  <a:pt x="113" y="166"/>
                </a:lnTo>
                <a:lnTo>
                  <a:pt x="107" y="162"/>
                </a:lnTo>
                <a:lnTo>
                  <a:pt x="105" y="158"/>
                </a:lnTo>
                <a:lnTo>
                  <a:pt x="107" y="152"/>
                </a:lnTo>
                <a:lnTo>
                  <a:pt x="110" y="146"/>
                </a:lnTo>
                <a:lnTo>
                  <a:pt x="115" y="139"/>
                </a:lnTo>
                <a:lnTo>
                  <a:pt x="121" y="136"/>
                </a:lnTo>
                <a:lnTo>
                  <a:pt x="124" y="130"/>
                </a:lnTo>
                <a:lnTo>
                  <a:pt x="127" y="125"/>
                </a:lnTo>
                <a:lnTo>
                  <a:pt x="135" y="122"/>
                </a:lnTo>
                <a:lnTo>
                  <a:pt x="142" y="117"/>
                </a:lnTo>
                <a:lnTo>
                  <a:pt x="147" y="114"/>
                </a:lnTo>
                <a:lnTo>
                  <a:pt x="151" y="112"/>
                </a:lnTo>
                <a:lnTo>
                  <a:pt x="154" y="108"/>
                </a:lnTo>
                <a:lnTo>
                  <a:pt x="156" y="103"/>
                </a:lnTo>
                <a:lnTo>
                  <a:pt x="156" y="98"/>
                </a:lnTo>
                <a:lnTo>
                  <a:pt x="156" y="93"/>
                </a:lnTo>
                <a:lnTo>
                  <a:pt x="151" y="90"/>
                </a:lnTo>
                <a:lnTo>
                  <a:pt x="145" y="90"/>
                </a:lnTo>
                <a:lnTo>
                  <a:pt x="129" y="77"/>
                </a:lnTo>
                <a:lnTo>
                  <a:pt x="120" y="71"/>
                </a:lnTo>
                <a:lnTo>
                  <a:pt x="110" y="66"/>
                </a:lnTo>
                <a:lnTo>
                  <a:pt x="96" y="62"/>
                </a:lnTo>
                <a:lnTo>
                  <a:pt x="85" y="55"/>
                </a:lnTo>
                <a:lnTo>
                  <a:pt x="42" y="19"/>
                </a:lnTo>
                <a:lnTo>
                  <a:pt x="37" y="17"/>
                </a:lnTo>
                <a:lnTo>
                  <a:pt x="31" y="22"/>
                </a:lnTo>
                <a:lnTo>
                  <a:pt x="26" y="30"/>
                </a:lnTo>
                <a:lnTo>
                  <a:pt x="21" y="39"/>
                </a:lnTo>
                <a:lnTo>
                  <a:pt x="19" y="46"/>
                </a:lnTo>
                <a:lnTo>
                  <a:pt x="18" y="50"/>
                </a:lnTo>
                <a:lnTo>
                  <a:pt x="18" y="57"/>
                </a:lnTo>
                <a:lnTo>
                  <a:pt x="18" y="62"/>
                </a:lnTo>
                <a:lnTo>
                  <a:pt x="23" y="68"/>
                </a:lnTo>
                <a:lnTo>
                  <a:pt x="27" y="76"/>
                </a:lnTo>
                <a:lnTo>
                  <a:pt x="24" y="89"/>
                </a:lnTo>
                <a:lnTo>
                  <a:pt x="24" y="100"/>
                </a:lnTo>
                <a:lnTo>
                  <a:pt x="23" y="111"/>
                </a:lnTo>
                <a:lnTo>
                  <a:pt x="21" y="125"/>
                </a:lnTo>
                <a:lnTo>
                  <a:pt x="21" y="133"/>
                </a:lnTo>
                <a:lnTo>
                  <a:pt x="21" y="143"/>
                </a:lnTo>
                <a:lnTo>
                  <a:pt x="18" y="149"/>
                </a:lnTo>
                <a:lnTo>
                  <a:pt x="16" y="160"/>
                </a:lnTo>
                <a:lnTo>
                  <a:pt x="16" y="165"/>
                </a:lnTo>
                <a:lnTo>
                  <a:pt x="18" y="170"/>
                </a:lnTo>
                <a:lnTo>
                  <a:pt x="24" y="174"/>
                </a:lnTo>
                <a:lnTo>
                  <a:pt x="29" y="176"/>
                </a:lnTo>
                <a:lnTo>
                  <a:pt x="27" y="181"/>
                </a:lnTo>
                <a:lnTo>
                  <a:pt x="21" y="187"/>
                </a:lnTo>
                <a:lnTo>
                  <a:pt x="16" y="190"/>
                </a:lnTo>
                <a:lnTo>
                  <a:pt x="11" y="197"/>
                </a:lnTo>
                <a:lnTo>
                  <a:pt x="13" y="201"/>
                </a:lnTo>
                <a:lnTo>
                  <a:pt x="18" y="205"/>
                </a:lnTo>
                <a:lnTo>
                  <a:pt x="26" y="208"/>
                </a:lnTo>
                <a:lnTo>
                  <a:pt x="23" y="214"/>
                </a:lnTo>
                <a:lnTo>
                  <a:pt x="19" y="222"/>
                </a:lnTo>
                <a:lnTo>
                  <a:pt x="15" y="225"/>
                </a:lnTo>
                <a:lnTo>
                  <a:pt x="11" y="220"/>
                </a:lnTo>
                <a:lnTo>
                  <a:pt x="8" y="217"/>
                </a:lnTo>
                <a:lnTo>
                  <a:pt x="7" y="224"/>
                </a:lnTo>
                <a:lnTo>
                  <a:pt x="8" y="230"/>
                </a:lnTo>
                <a:lnTo>
                  <a:pt x="5" y="235"/>
                </a:lnTo>
                <a:lnTo>
                  <a:pt x="0" y="241"/>
                </a:lnTo>
                <a:lnTo>
                  <a:pt x="2" y="249"/>
                </a:lnTo>
                <a:lnTo>
                  <a:pt x="7" y="254"/>
                </a:lnTo>
                <a:lnTo>
                  <a:pt x="16" y="259"/>
                </a:lnTo>
                <a:lnTo>
                  <a:pt x="27" y="263"/>
                </a:lnTo>
                <a:lnTo>
                  <a:pt x="34" y="266"/>
                </a:lnTo>
                <a:lnTo>
                  <a:pt x="38" y="271"/>
                </a:lnTo>
                <a:lnTo>
                  <a:pt x="43" y="278"/>
                </a:lnTo>
                <a:lnTo>
                  <a:pt x="50" y="287"/>
                </a:lnTo>
                <a:lnTo>
                  <a:pt x="53" y="294"/>
                </a:lnTo>
                <a:lnTo>
                  <a:pt x="59" y="306"/>
                </a:lnTo>
                <a:lnTo>
                  <a:pt x="59" y="319"/>
                </a:lnTo>
                <a:lnTo>
                  <a:pt x="58" y="332"/>
                </a:lnTo>
                <a:lnTo>
                  <a:pt x="58" y="349"/>
                </a:lnTo>
                <a:lnTo>
                  <a:pt x="65" y="363"/>
                </a:lnTo>
                <a:lnTo>
                  <a:pt x="73" y="367"/>
                </a:lnTo>
                <a:lnTo>
                  <a:pt x="81" y="371"/>
                </a:lnTo>
                <a:lnTo>
                  <a:pt x="89" y="376"/>
                </a:lnTo>
                <a:lnTo>
                  <a:pt x="96" y="376"/>
                </a:lnTo>
                <a:lnTo>
                  <a:pt x="115" y="373"/>
                </a:lnTo>
                <a:lnTo>
                  <a:pt x="126" y="373"/>
                </a:lnTo>
                <a:lnTo>
                  <a:pt x="135" y="371"/>
                </a:lnTo>
                <a:lnTo>
                  <a:pt x="145" y="375"/>
                </a:lnTo>
                <a:lnTo>
                  <a:pt x="156" y="379"/>
                </a:lnTo>
                <a:lnTo>
                  <a:pt x="172" y="394"/>
                </a:lnTo>
                <a:lnTo>
                  <a:pt x="183" y="394"/>
                </a:lnTo>
                <a:lnTo>
                  <a:pt x="213" y="392"/>
                </a:lnTo>
                <a:lnTo>
                  <a:pt x="215" y="398"/>
                </a:lnTo>
                <a:lnTo>
                  <a:pt x="226" y="405"/>
                </a:lnTo>
                <a:lnTo>
                  <a:pt x="239" y="406"/>
                </a:lnTo>
                <a:lnTo>
                  <a:pt x="256" y="402"/>
                </a:lnTo>
                <a:lnTo>
                  <a:pt x="263" y="400"/>
                </a:lnTo>
                <a:lnTo>
                  <a:pt x="285" y="406"/>
                </a:lnTo>
                <a:lnTo>
                  <a:pt x="293" y="402"/>
                </a:lnTo>
                <a:lnTo>
                  <a:pt x="299" y="402"/>
                </a:lnTo>
                <a:lnTo>
                  <a:pt x="310" y="403"/>
                </a:lnTo>
                <a:lnTo>
                  <a:pt x="324" y="408"/>
                </a:lnTo>
                <a:lnTo>
                  <a:pt x="336" y="409"/>
                </a:lnTo>
                <a:lnTo>
                  <a:pt x="342" y="408"/>
                </a:lnTo>
                <a:lnTo>
                  <a:pt x="491" y="448"/>
                </a:lnTo>
                <a:lnTo>
                  <a:pt x="491" y="436"/>
                </a:lnTo>
                <a:lnTo>
                  <a:pt x="493" y="427"/>
                </a:lnTo>
                <a:lnTo>
                  <a:pt x="494" y="417"/>
                </a:lnTo>
                <a:lnTo>
                  <a:pt x="494" y="406"/>
                </a:lnTo>
                <a:lnTo>
                  <a:pt x="494" y="397"/>
                </a:lnTo>
                <a:lnTo>
                  <a:pt x="496" y="381"/>
                </a:lnTo>
                <a:lnTo>
                  <a:pt x="502" y="362"/>
                </a:lnTo>
                <a:lnTo>
                  <a:pt x="509" y="344"/>
                </a:lnTo>
                <a:lnTo>
                  <a:pt x="515" y="325"/>
                </a:lnTo>
                <a:lnTo>
                  <a:pt x="518" y="301"/>
                </a:lnTo>
                <a:lnTo>
                  <a:pt x="525" y="282"/>
                </a:lnTo>
                <a:lnTo>
                  <a:pt x="529" y="266"/>
                </a:lnTo>
                <a:lnTo>
                  <a:pt x="534" y="246"/>
                </a:lnTo>
                <a:lnTo>
                  <a:pt x="541" y="228"/>
                </a:lnTo>
                <a:lnTo>
                  <a:pt x="547" y="209"/>
                </a:lnTo>
                <a:lnTo>
                  <a:pt x="553" y="179"/>
                </a:lnTo>
                <a:lnTo>
                  <a:pt x="560" y="158"/>
                </a:lnTo>
                <a:lnTo>
                  <a:pt x="566" y="135"/>
                </a:lnTo>
                <a:lnTo>
                  <a:pt x="571" y="122"/>
                </a:lnTo>
                <a:lnTo>
                  <a:pt x="185" y="0"/>
                </a:lnTo>
                <a:close/>
              </a:path>
            </a:pathLst>
          </a:custGeom>
          <a:solidFill>
            <a:schemeClr val="accent4">
              <a:lumMod val="60000"/>
              <a:lumOff val="40000"/>
            </a:schemeClr>
          </a:solidFill>
          <a:ln w="0" algn="ctr">
            <a:solidFill>
              <a:srgbClr val="808080"/>
            </a:solidFill>
            <a:round/>
            <a:headEnd/>
            <a:tailEnd/>
          </a:ln>
        </p:spPr>
        <p:txBody>
          <a:bodyPr lIns="101798" tIns="50899" rIns="101798" bIns="50899"/>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endParaRPr>
          </a:p>
        </p:txBody>
      </p:sp>
      <p:sp>
        <p:nvSpPr>
          <p:cNvPr id="11" name="State: Virginia"/>
          <p:cNvSpPr>
            <a:spLocks/>
          </p:cNvSpPr>
          <p:nvPr/>
        </p:nvSpPr>
        <p:spPr bwMode="auto">
          <a:xfrm>
            <a:off x="5763852" y="3694138"/>
            <a:ext cx="943550" cy="567596"/>
          </a:xfrm>
          <a:custGeom>
            <a:avLst/>
            <a:gdLst>
              <a:gd name="T0" fmla="*/ 12700 w 632"/>
              <a:gd name="T1" fmla="*/ 555625 h 369"/>
              <a:gd name="T2" fmla="*/ 30163 w 632"/>
              <a:gd name="T3" fmla="*/ 546100 h 369"/>
              <a:gd name="T4" fmla="*/ 42863 w 632"/>
              <a:gd name="T5" fmla="*/ 530225 h 369"/>
              <a:gd name="T6" fmla="*/ 60325 w 632"/>
              <a:gd name="T7" fmla="*/ 515937 h 369"/>
              <a:gd name="T8" fmla="*/ 65088 w 632"/>
              <a:gd name="T9" fmla="*/ 492125 h 369"/>
              <a:gd name="T10" fmla="*/ 95250 w 632"/>
              <a:gd name="T11" fmla="*/ 466725 h 369"/>
              <a:gd name="T12" fmla="*/ 130175 w 632"/>
              <a:gd name="T13" fmla="*/ 436562 h 369"/>
              <a:gd name="T14" fmla="*/ 150813 w 632"/>
              <a:gd name="T15" fmla="*/ 422275 h 369"/>
              <a:gd name="T16" fmla="*/ 168275 w 632"/>
              <a:gd name="T17" fmla="*/ 449262 h 369"/>
              <a:gd name="T18" fmla="*/ 203200 w 632"/>
              <a:gd name="T19" fmla="*/ 465137 h 369"/>
              <a:gd name="T20" fmla="*/ 228600 w 632"/>
              <a:gd name="T21" fmla="*/ 449262 h 369"/>
              <a:gd name="T22" fmla="*/ 249238 w 632"/>
              <a:gd name="T23" fmla="*/ 441325 h 369"/>
              <a:gd name="T24" fmla="*/ 279400 w 632"/>
              <a:gd name="T25" fmla="*/ 439737 h 369"/>
              <a:gd name="T26" fmla="*/ 306388 w 632"/>
              <a:gd name="T27" fmla="*/ 417512 h 369"/>
              <a:gd name="T28" fmla="*/ 331788 w 632"/>
              <a:gd name="T29" fmla="*/ 404812 h 369"/>
              <a:gd name="T30" fmla="*/ 369888 w 632"/>
              <a:gd name="T31" fmla="*/ 388937 h 369"/>
              <a:gd name="T32" fmla="*/ 381000 w 632"/>
              <a:gd name="T33" fmla="*/ 350837 h 369"/>
              <a:gd name="T34" fmla="*/ 390525 w 632"/>
              <a:gd name="T35" fmla="*/ 315912 h 369"/>
              <a:gd name="T36" fmla="*/ 404813 w 632"/>
              <a:gd name="T37" fmla="*/ 265112 h 369"/>
              <a:gd name="T38" fmla="*/ 415925 w 632"/>
              <a:gd name="T39" fmla="*/ 238125 h 369"/>
              <a:gd name="T40" fmla="*/ 425450 w 632"/>
              <a:gd name="T41" fmla="*/ 207962 h 369"/>
              <a:gd name="T42" fmla="*/ 441325 w 632"/>
              <a:gd name="T43" fmla="*/ 182562 h 369"/>
              <a:gd name="T44" fmla="*/ 466725 w 632"/>
              <a:gd name="T45" fmla="*/ 196850 h 369"/>
              <a:gd name="T46" fmla="*/ 488950 w 632"/>
              <a:gd name="T47" fmla="*/ 184150 h 369"/>
              <a:gd name="T48" fmla="*/ 503238 w 632"/>
              <a:gd name="T49" fmla="*/ 136525 h 369"/>
              <a:gd name="T50" fmla="*/ 522288 w 632"/>
              <a:gd name="T51" fmla="*/ 123825 h 369"/>
              <a:gd name="T52" fmla="*/ 533400 w 632"/>
              <a:gd name="T53" fmla="*/ 114300 h 369"/>
              <a:gd name="T54" fmla="*/ 566738 w 632"/>
              <a:gd name="T55" fmla="*/ 71437 h 369"/>
              <a:gd name="T56" fmla="*/ 588963 w 632"/>
              <a:gd name="T57" fmla="*/ 0 h 369"/>
              <a:gd name="T58" fmla="*/ 619125 w 632"/>
              <a:gd name="T59" fmla="*/ 23812 h 369"/>
              <a:gd name="T60" fmla="*/ 652463 w 632"/>
              <a:gd name="T61" fmla="*/ 36512 h 369"/>
              <a:gd name="T62" fmla="*/ 669925 w 632"/>
              <a:gd name="T63" fmla="*/ 7937 h 369"/>
              <a:gd name="T64" fmla="*/ 698500 w 632"/>
              <a:gd name="T65" fmla="*/ 19050 h 369"/>
              <a:gd name="T66" fmla="*/ 720725 w 632"/>
              <a:gd name="T67" fmla="*/ 41275 h 369"/>
              <a:gd name="T68" fmla="*/ 763588 w 632"/>
              <a:gd name="T69" fmla="*/ 63500 h 369"/>
              <a:gd name="T70" fmla="*/ 763588 w 632"/>
              <a:gd name="T71" fmla="*/ 109537 h 369"/>
              <a:gd name="T72" fmla="*/ 760413 w 632"/>
              <a:gd name="T73" fmla="*/ 141287 h 369"/>
              <a:gd name="T74" fmla="*/ 811213 w 632"/>
              <a:gd name="T75" fmla="*/ 169862 h 369"/>
              <a:gd name="T76" fmla="*/ 871538 w 632"/>
              <a:gd name="T77" fmla="*/ 190500 h 369"/>
              <a:gd name="T78" fmla="*/ 909638 w 632"/>
              <a:gd name="T79" fmla="*/ 222250 h 369"/>
              <a:gd name="T80" fmla="*/ 900113 w 632"/>
              <a:gd name="T81" fmla="*/ 260350 h 369"/>
              <a:gd name="T82" fmla="*/ 920750 w 632"/>
              <a:gd name="T83" fmla="*/ 290512 h 369"/>
              <a:gd name="T84" fmla="*/ 920750 w 632"/>
              <a:gd name="T85" fmla="*/ 320675 h 369"/>
              <a:gd name="T86" fmla="*/ 939800 w 632"/>
              <a:gd name="T87" fmla="*/ 349250 h 369"/>
              <a:gd name="T88" fmla="*/ 968375 w 632"/>
              <a:gd name="T89" fmla="*/ 374650 h 369"/>
              <a:gd name="T90" fmla="*/ 1000125 w 632"/>
              <a:gd name="T91" fmla="*/ 388937 h 369"/>
              <a:gd name="T92" fmla="*/ 206375 w 632"/>
              <a:gd name="T93" fmla="*/ 565150 h 36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32"/>
              <a:gd name="T142" fmla="*/ 0 h 369"/>
              <a:gd name="T143" fmla="*/ 632 w 632"/>
              <a:gd name="T144" fmla="*/ 369 h 36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32" h="369">
                <a:moveTo>
                  <a:pt x="0" y="367"/>
                </a:moveTo>
                <a:lnTo>
                  <a:pt x="6" y="358"/>
                </a:lnTo>
                <a:lnTo>
                  <a:pt x="8" y="350"/>
                </a:lnTo>
                <a:lnTo>
                  <a:pt x="11" y="347"/>
                </a:lnTo>
                <a:lnTo>
                  <a:pt x="16" y="345"/>
                </a:lnTo>
                <a:lnTo>
                  <a:pt x="19" y="344"/>
                </a:lnTo>
                <a:lnTo>
                  <a:pt x="25" y="342"/>
                </a:lnTo>
                <a:lnTo>
                  <a:pt x="25" y="337"/>
                </a:lnTo>
                <a:lnTo>
                  <a:pt x="27" y="334"/>
                </a:lnTo>
                <a:lnTo>
                  <a:pt x="30" y="331"/>
                </a:lnTo>
                <a:lnTo>
                  <a:pt x="35" y="328"/>
                </a:lnTo>
                <a:lnTo>
                  <a:pt x="38" y="325"/>
                </a:lnTo>
                <a:lnTo>
                  <a:pt x="38" y="318"/>
                </a:lnTo>
                <a:lnTo>
                  <a:pt x="38" y="313"/>
                </a:lnTo>
                <a:lnTo>
                  <a:pt x="41" y="310"/>
                </a:lnTo>
                <a:lnTo>
                  <a:pt x="46" y="307"/>
                </a:lnTo>
                <a:lnTo>
                  <a:pt x="54" y="301"/>
                </a:lnTo>
                <a:lnTo>
                  <a:pt x="60" y="294"/>
                </a:lnTo>
                <a:lnTo>
                  <a:pt x="68" y="286"/>
                </a:lnTo>
                <a:lnTo>
                  <a:pt x="76" y="278"/>
                </a:lnTo>
                <a:lnTo>
                  <a:pt x="82" y="275"/>
                </a:lnTo>
                <a:lnTo>
                  <a:pt x="87" y="269"/>
                </a:lnTo>
                <a:lnTo>
                  <a:pt x="90" y="266"/>
                </a:lnTo>
                <a:lnTo>
                  <a:pt x="95" y="266"/>
                </a:lnTo>
                <a:lnTo>
                  <a:pt x="98" y="272"/>
                </a:lnTo>
                <a:lnTo>
                  <a:pt x="100" y="277"/>
                </a:lnTo>
                <a:lnTo>
                  <a:pt x="106" y="283"/>
                </a:lnTo>
                <a:lnTo>
                  <a:pt x="112" y="286"/>
                </a:lnTo>
                <a:lnTo>
                  <a:pt x="120" y="291"/>
                </a:lnTo>
                <a:lnTo>
                  <a:pt x="128" y="293"/>
                </a:lnTo>
                <a:lnTo>
                  <a:pt x="133" y="291"/>
                </a:lnTo>
                <a:lnTo>
                  <a:pt x="138" y="288"/>
                </a:lnTo>
                <a:lnTo>
                  <a:pt x="144" y="283"/>
                </a:lnTo>
                <a:lnTo>
                  <a:pt x="147" y="278"/>
                </a:lnTo>
                <a:lnTo>
                  <a:pt x="151" y="277"/>
                </a:lnTo>
                <a:lnTo>
                  <a:pt x="157" y="278"/>
                </a:lnTo>
                <a:lnTo>
                  <a:pt x="160" y="283"/>
                </a:lnTo>
                <a:lnTo>
                  <a:pt x="166" y="283"/>
                </a:lnTo>
                <a:lnTo>
                  <a:pt x="176" y="277"/>
                </a:lnTo>
                <a:lnTo>
                  <a:pt x="186" y="274"/>
                </a:lnTo>
                <a:lnTo>
                  <a:pt x="192" y="267"/>
                </a:lnTo>
                <a:lnTo>
                  <a:pt x="193" y="263"/>
                </a:lnTo>
                <a:lnTo>
                  <a:pt x="200" y="259"/>
                </a:lnTo>
                <a:lnTo>
                  <a:pt x="206" y="258"/>
                </a:lnTo>
                <a:lnTo>
                  <a:pt x="209" y="255"/>
                </a:lnTo>
                <a:lnTo>
                  <a:pt x="219" y="250"/>
                </a:lnTo>
                <a:lnTo>
                  <a:pt x="227" y="250"/>
                </a:lnTo>
                <a:lnTo>
                  <a:pt x="233" y="245"/>
                </a:lnTo>
                <a:lnTo>
                  <a:pt x="238" y="239"/>
                </a:lnTo>
                <a:lnTo>
                  <a:pt x="240" y="231"/>
                </a:lnTo>
                <a:lnTo>
                  <a:pt x="240" y="221"/>
                </a:lnTo>
                <a:lnTo>
                  <a:pt x="241" y="212"/>
                </a:lnTo>
                <a:lnTo>
                  <a:pt x="244" y="205"/>
                </a:lnTo>
                <a:lnTo>
                  <a:pt x="246" y="199"/>
                </a:lnTo>
                <a:lnTo>
                  <a:pt x="251" y="188"/>
                </a:lnTo>
                <a:lnTo>
                  <a:pt x="254" y="177"/>
                </a:lnTo>
                <a:lnTo>
                  <a:pt x="255" y="167"/>
                </a:lnTo>
                <a:lnTo>
                  <a:pt x="257" y="161"/>
                </a:lnTo>
                <a:lnTo>
                  <a:pt x="262" y="156"/>
                </a:lnTo>
                <a:lnTo>
                  <a:pt x="262" y="150"/>
                </a:lnTo>
                <a:lnTo>
                  <a:pt x="262" y="143"/>
                </a:lnTo>
                <a:lnTo>
                  <a:pt x="268" y="139"/>
                </a:lnTo>
                <a:lnTo>
                  <a:pt x="268" y="131"/>
                </a:lnTo>
                <a:lnTo>
                  <a:pt x="270" y="124"/>
                </a:lnTo>
                <a:lnTo>
                  <a:pt x="271" y="116"/>
                </a:lnTo>
                <a:lnTo>
                  <a:pt x="278" y="115"/>
                </a:lnTo>
                <a:lnTo>
                  <a:pt x="286" y="120"/>
                </a:lnTo>
                <a:lnTo>
                  <a:pt x="289" y="123"/>
                </a:lnTo>
                <a:lnTo>
                  <a:pt x="294" y="124"/>
                </a:lnTo>
                <a:lnTo>
                  <a:pt x="302" y="128"/>
                </a:lnTo>
                <a:lnTo>
                  <a:pt x="306" y="121"/>
                </a:lnTo>
                <a:lnTo>
                  <a:pt x="308" y="116"/>
                </a:lnTo>
                <a:lnTo>
                  <a:pt x="309" y="107"/>
                </a:lnTo>
                <a:lnTo>
                  <a:pt x="313" y="99"/>
                </a:lnTo>
                <a:lnTo>
                  <a:pt x="317" y="86"/>
                </a:lnTo>
                <a:lnTo>
                  <a:pt x="321" y="78"/>
                </a:lnTo>
                <a:lnTo>
                  <a:pt x="324" y="77"/>
                </a:lnTo>
                <a:lnTo>
                  <a:pt x="329" y="78"/>
                </a:lnTo>
                <a:lnTo>
                  <a:pt x="332" y="80"/>
                </a:lnTo>
                <a:lnTo>
                  <a:pt x="333" y="78"/>
                </a:lnTo>
                <a:lnTo>
                  <a:pt x="336" y="72"/>
                </a:lnTo>
                <a:lnTo>
                  <a:pt x="341" y="64"/>
                </a:lnTo>
                <a:lnTo>
                  <a:pt x="348" y="59"/>
                </a:lnTo>
                <a:lnTo>
                  <a:pt x="357" y="45"/>
                </a:lnTo>
                <a:lnTo>
                  <a:pt x="360" y="37"/>
                </a:lnTo>
                <a:lnTo>
                  <a:pt x="363" y="0"/>
                </a:lnTo>
                <a:lnTo>
                  <a:pt x="371" y="0"/>
                </a:lnTo>
                <a:lnTo>
                  <a:pt x="378" y="4"/>
                </a:lnTo>
                <a:lnTo>
                  <a:pt x="383" y="10"/>
                </a:lnTo>
                <a:lnTo>
                  <a:pt x="390" y="15"/>
                </a:lnTo>
                <a:lnTo>
                  <a:pt x="398" y="20"/>
                </a:lnTo>
                <a:lnTo>
                  <a:pt x="406" y="23"/>
                </a:lnTo>
                <a:lnTo>
                  <a:pt x="411" y="23"/>
                </a:lnTo>
                <a:lnTo>
                  <a:pt x="416" y="15"/>
                </a:lnTo>
                <a:lnTo>
                  <a:pt x="416" y="5"/>
                </a:lnTo>
                <a:lnTo>
                  <a:pt x="422" y="5"/>
                </a:lnTo>
                <a:lnTo>
                  <a:pt x="427" y="5"/>
                </a:lnTo>
                <a:lnTo>
                  <a:pt x="437" y="7"/>
                </a:lnTo>
                <a:lnTo>
                  <a:pt x="440" y="12"/>
                </a:lnTo>
                <a:lnTo>
                  <a:pt x="440" y="21"/>
                </a:lnTo>
                <a:lnTo>
                  <a:pt x="446" y="24"/>
                </a:lnTo>
                <a:lnTo>
                  <a:pt x="454" y="26"/>
                </a:lnTo>
                <a:lnTo>
                  <a:pt x="465" y="29"/>
                </a:lnTo>
                <a:lnTo>
                  <a:pt x="473" y="34"/>
                </a:lnTo>
                <a:lnTo>
                  <a:pt x="481" y="40"/>
                </a:lnTo>
                <a:lnTo>
                  <a:pt x="483" y="47"/>
                </a:lnTo>
                <a:lnTo>
                  <a:pt x="483" y="58"/>
                </a:lnTo>
                <a:lnTo>
                  <a:pt x="481" y="69"/>
                </a:lnTo>
                <a:lnTo>
                  <a:pt x="476" y="75"/>
                </a:lnTo>
                <a:lnTo>
                  <a:pt x="476" y="83"/>
                </a:lnTo>
                <a:lnTo>
                  <a:pt x="479" y="89"/>
                </a:lnTo>
                <a:lnTo>
                  <a:pt x="487" y="99"/>
                </a:lnTo>
                <a:lnTo>
                  <a:pt x="505" y="104"/>
                </a:lnTo>
                <a:lnTo>
                  <a:pt x="511" y="107"/>
                </a:lnTo>
                <a:lnTo>
                  <a:pt x="522" y="113"/>
                </a:lnTo>
                <a:lnTo>
                  <a:pt x="535" y="113"/>
                </a:lnTo>
                <a:lnTo>
                  <a:pt x="549" y="120"/>
                </a:lnTo>
                <a:lnTo>
                  <a:pt x="562" y="124"/>
                </a:lnTo>
                <a:lnTo>
                  <a:pt x="568" y="129"/>
                </a:lnTo>
                <a:lnTo>
                  <a:pt x="573" y="140"/>
                </a:lnTo>
                <a:lnTo>
                  <a:pt x="575" y="151"/>
                </a:lnTo>
                <a:lnTo>
                  <a:pt x="572" y="158"/>
                </a:lnTo>
                <a:lnTo>
                  <a:pt x="567" y="164"/>
                </a:lnTo>
                <a:lnTo>
                  <a:pt x="568" y="169"/>
                </a:lnTo>
                <a:lnTo>
                  <a:pt x="572" y="178"/>
                </a:lnTo>
                <a:lnTo>
                  <a:pt x="580" y="183"/>
                </a:lnTo>
                <a:lnTo>
                  <a:pt x="586" y="188"/>
                </a:lnTo>
                <a:lnTo>
                  <a:pt x="588" y="194"/>
                </a:lnTo>
                <a:lnTo>
                  <a:pt x="580" y="202"/>
                </a:lnTo>
                <a:lnTo>
                  <a:pt x="580" y="207"/>
                </a:lnTo>
                <a:lnTo>
                  <a:pt x="584" y="213"/>
                </a:lnTo>
                <a:lnTo>
                  <a:pt x="592" y="220"/>
                </a:lnTo>
                <a:lnTo>
                  <a:pt x="597" y="228"/>
                </a:lnTo>
                <a:lnTo>
                  <a:pt x="600" y="237"/>
                </a:lnTo>
                <a:lnTo>
                  <a:pt x="610" y="236"/>
                </a:lnTo>
                <a:lnTo>
                  <a:pt x="622" y="237"/>
                </a:lnTo>
                <a:lnTo>
                  <a:pt x="627" y="239"/>
                </a:lnTo>
                <a:lnTo>
                  <a:pt x="630" y="245"/>
                </a:lnTo>
                <a:lnTo>
                  <a:pt x="632" y="253"/>
                </a:lnTo>
                <a:lnTo>
                  <a:pt x="632" y="258"/>
                </a:lnTo>
                <a:lnTo>
                  <a:pt x="130" y="356"/>
                </a:lnTo>
                <a:lnTo>
                  <a:pt x="20" y="369"/>
                </a:lnTo>
                <a:lnTo>
                  <a:pt x="0" y="367"/>
                </a:lnTo>
                <a:close/>
              </a:path>
            </a:pathLst>
          </a:custGeom>
          <a:solidFill>
            <a:schemeClr val="bg1">
              <a:lumMod val="95000"/>
            </a:schemeClr>
          </a:solidFill>
          <a:ln w="0">
            <a:solidFill>
              <a:srgbClr val="808080"/>
            </a:solidFill>
            <a:round/>
            <a:headEnd/>
            <a:tailEnd/>
          </a:ln>
        </p:spPr>
        <p:txBody>
          <a:bodyPr lIns="101798" tIns="50899" rIns="101798" bIns="50899"/>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endParaRPr>
          </a:p>
        </p:txBody>
      </p:sp>
      <p:sp>
        <p:nvSpPr>
          <p:cNvPr id="12" name="State: Vermont"/>
          <p:cNvSpPr>
            <a:spLocks/>
          </p:cNvSpPr>
          <p:nvPr/>
        </p:nvSpPr>
        <p:spPr bwMode="auto">
          <a:xfrm>
            <a:off x="6692471" y="2565104"/>
            <a:ext cx="216480" cy="433773"/>
          </a:xfrm>
          <a:custGeom>
            <a:avLst/>
            <a:gdLst>
              <a:gd name="T0" fmla="*/ 2147483647 w 145"/>
              <a:gd name="T1" fmla="*/ 0 h 282"/>
              <a:gd name="T2" fmla="*/ 2147483647 w 145"/>
              <a:gd name="T3" fmla="*/ 2147483647 h 282"/>
              <a:gd name="T4" fmla="*/ 2147483647 w 145"/>
              <a:gd name="T5" fmla="*/ 2147483647 h 282"/>
              <a:gd name="T6" fmla="*/ 2147483647 w 145"/>
              <a:gd name="T7" fmla="*/ 2147483647 h 282"/>
              <a:gd name="T8" fmla="*/ 2147483647 w 145"/>
              <a:gd name="T9" fmla="*/ 2147483647 h 282"/>
              <a:gd name="T10" fmla="*/ 2147483647 w 145"/>
              <a:gd name="T11" fmla="*/ 2147483647 h 282"/>
              <a:gd name="T12" fmla="*/ 2147483647 w 145"/>
              <a:gd name="T13" fmla="*/ 2147483647 h 282"/>
              <a:gd name="T14" fmla="*/ 2147483647 w 145"/>
              <a:gd name="T15" fmla="*/ 2147483647 h 282"/>
              <a:gd name="T16" fmla="*/ 2147483647 w 145"/>
              <a:gd name="T17" fmla="*/ 2147483647 h 282"/>
              <a:gd name="T18" fmla="*/ 2147483647 w 145"/>
              <a:gd name="T19" fmla="*/ 2147483647 h 282"/>
              <a:gd name="T20" fmla="*/ 2147483647 w 145"/>
              <a:gd name="T21" fmla="*/ 2147483647 h 282"/>
              <a:gd name="T22" fmla="*/ 2147483647 w 145"/>
              <a:gd name="T23" fmla="*/ 2147483647 h 282"/>
              <a:gd name="T24" fmla="*/ 2147483647 w 145"/>
              <a:gd name="T25" fmla="*/ 2147483647 h 282"/>
              <a:gd name="T26" fmla="*/ 2147483647 w 145"/>
              <a:gd name="T27" fmla="*/ 2147483647 h 282"/>
              <a:gd name="T28" fmla="*/ 2147483647 w 145"/>
              <a:gd name="T29" fmla="*/ 2147483647 h 282"/>
              <a:gd name="T30" fmla="*/ 2147483647 w 145"/>
              <a:gd name="T31" fmla="*/ 2147483647 h 282"/>
              <a:gd name="T32" fmla="*/ 2147483647 w 145"/>
              <a:gd name="T33" fmla="*/ 2147483647 h 282"/>
              <a:gd name="T34" fmla="*/ 2147483647 w 145"/>
              <a:gd name="T35" fmla="*/ 2147483647 h 282"/>
              <a:gd name="T36" fmla="*/ 2147483647 w 145"/>
              <a:gd name="T37" fmla="*/ 2147483647 h 282"/>
              <a:gd name="T38" fmla="*/ 2147483647 w 145"/>
              <a:gd name="T39" fmla="*/ 2147483647 h 282"/>
              <a:gd name="T40" fmla="*/ 2147483647 w 145"/>
              <a:gd name="T41" fmla="*/ 2147483647 h 282"/>
              <a:gd name="T42" fmla="*/ 2147483647 w 145"/>
              <a:gd name="T43" fmla="*/ 2147483647 h 282"/>
              <a:gd name="T44" fmla="*/ 2147483647 w 145"/>
              <a:gd name="T45" fmla="*/ 2147483647 h 282"/>
              <a:gd name="T46" fmla="*/ 2147483647 w 145"/>
              <a:gd name="T47" fmla="*/ 2147483647 h 282"/>
              <a:gd name="T48" fmla="*/ 2147483647 w 145"/>
              <a:gd name="T49" fmla="*/ 2147483647 h 282"/>
              <a:gd name="T50" fmla="*/ 2147483647 w 145"/>
              <a:gd name="T51" fmla="*/ 2147483647 h 282"/>
              <a:gd name="T52" fmla="*/ 2147483647 w 145"/>
              <a:gd name="T53" fmla="*/ 2147483647 h 282"/>
              <a:gd name="T54" fmla="*/ 2147483647 w 145"/>
              <a:gd name="T55" fmla="*/ 2147483647 h 282"/>
              <a:gd name="T56" fmla="*/ 2147483647 w 145"/>
              <a:gd name="T57" fmla="*/ 2147483647 h 282"/>
              <a:gd name="T58" fmla="*/ 2147483647 w 145"/>
              <a:gd name="T59" fmla="*/ 2147483647 h 282"/>
              <a:gd name="T60" fmla="*/ 2147483647 w 145"/>
              <a:gd name="T61" fmla="*/ 2147483647 h 282"/>
              <a:gd name="T62" fmla="*/ 2147483647 w 145"/>
              <a:gd name="T63" fmla="*/ 2147483647 h 282"/>
              <a:gd name="T64" fmla="*/ 2147483647 w 145"/>
              <a:gd name="T65" fmla="*/ 2147483647 h 282"/>
              <a:gd name="T66" fmla="*/ 2147483647 w 145"/>
              <a:gd name="T67" fmla="*/ 2147483647 h 282"/>
              <a:gd name="T68" fmla="*/ 2147483647 w 145"/>
              <a:gd name="T69" fmla="*/ 2147483647 h 282"/>
              <a:gd name="T70" fmla="*/ 2147483647 w 145"/>
              <a:gd name="T71" fmla="*/ 2147483647 h 282"/>
              <a:gd name="T72" fmla="*/ 2147483647 w 145"/>
              <a:gd name="T73" fmla="*/ 2147483647 h 282"/>
              <a:gd name="T74" fmla="*/ 2147483647 w 145"/>
              <a:gd name="T75" fmla="*/ 2147483647 h 282"/>
              <a:gd name="T76" fmla="*/ 2147483647 w 145"/>
              <a:gd name="T77" fmla="*/ 2147483647 h 282"/>
              <a:gd name="T78" fmla="*/ 2147483647 w 145"/>
              <a:gd name="T79" fmla="*/ 2147483647 h 282"/>
              <a:gd name="T80" fmla="*/ 0 w 145"/>
              <a:gd name="T81" fmla="*/ 2147483647 h 28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5"/>
              <a:gd name="T124" fmla="*/ 0 h 282"/>
              <a:gd name="T125" fmla="*/ 145 w 145"/>
              <a:gd name="T126" fmla="*/ 282 h 28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5" h="282">
                <a:moveTo>
                  <a:pt x="0" y="42"/>
                </a:moveTo>
                <a:lnTo>
                  <a:pt x="134" y="0"/>
                </a:lnTo>
                <a:lnTo>
                  <a:pt x="139" y="4"/>
                </a:lnTo>
                <a:lnTo>
                  <a:pt x="139" y="8"/>
                </a:lnTo>
                <a:lnTo>
                  <a:pt x="139" y="16"/>
                </a:lnTo>
                <a:lnTo>
                  <a:pt x="136" y="21"/>
                </a:lnTo>
                <a:lnTo>
                  <a:pt x="134" y="27"/>
                </a:lnTo>
                <a:lnTo>
                  <a:pt x="137" y="32"/>
                </a:lnTo>
                <a:lnTo>
                  <a:pt x="142" y="37"/>
                </a:lnTo>
                <a:lnTo>
                  <a:pt x="145" y="42"/>
                </a:lnTo>
                <a:lnTo>
                  <a:pt x="145" y="48"/>
                </a:lnTo>
                <a:lnTo>
                  <a:pt x="142" y="58"/>
                </a:lnTo>
                <a:lnTo>
                  <a:pt x="139" y="66"/>
                </a:lnTo>
                <a:lnTo>
                  <a:pt x="134" y="70"/>
                </a:lnTo>
                <a:lnTo>
                  <a:pt x="129" y="77"/>
                </a:lnTo>
                <a:lnTo>
                  <a:pt x="126" y="81"/>
                </a:lnTo>
                <a:lnTo>
                  <a:pt x="121" y="85"/>
                </a:lnTo>
                <a:lnTo>
                  <a:pt x="118" y="89"/>
                </a:lnTo>
                <a:lnTo>
                  <a:pt x="120" y="97"/>
                </a:lnTo>
                <a:lnTo>
                  <a:pt x="123" y="101"/>
                </a:lnTo>
                <a:lnTo>
                  <a:pt x="124" y="107"/>
                </a:lnTo>
                <a:lnTo>
                  <a:pt x="123" y="116"/>
                </a:lnTo>
                <a:lnTo>
                  <a:pt x="123" y="126"/>
                </a:lnTo>
                <a:lnTo>
                  <a:pt x="123" y="131"/>
                </a:lnTo>
                <a:lnTo>
                  <a:pt x="120" y="142"/>
                </a:lnTo>
                <a:lnTo>
                  <a:pt x="118" y="150"/>
                </a:lnTo>
                <a:lnTo>
                  <a:pt x="118" y="159"/>
                </a:lnTo>
                <a:lnTo>
                  <a:pt x="115" y="163"/>
                </a:lnTo>
                <a:lnTo>
                  <a:pt x="115" y="169"/>
                </a:lnTo>
                <a:lnTo>
                  <a:pt x="113" y="177"/>
                </a:lnTo>
                <a:lnTo>
                  <a:pt x="116" y="185"/>
                </a:lnTo>
                <a:lnTo>
                  <a:pt x="116" y="196"/>
                </a:lnTo>
                <a:lnTo>
                  <a:pt x="118" y="204"/>
                </a:lnTo>
                <a:lnTo>
                  <a:pt x="120" y="210"/>
                </a:lnTo>
                <a:lnTo>
                  <a:pt x="121" y="218"/>
                </a:lnTo>
                <a:lnTo>
                  <a:pt x="123" y="224"/>
                </a:lnTo>
                <a:lnTo>
                  <a:pt x="123" y="232"/>
                </a:lnTo>
                <a:lnTo>
                  <a:pt x="124" y="236"/>
                </a:lnTo>
                <a:lnTo>
                  <a:pt x="123" y="240"/>
                </a:lnTo>
                <a:lnTo>
                  <a:pt x="120" y="244"/>
                </a:lnTo>
                <a:lnTo>
                  <a:pt x="121" y="248"/>
                </a:lnTo>
                <a:lnTo>
                  <a:pt x="123" y="253"/>
                </a:lnTo>
                <a:lnTo>
                  <a:pt x="124" y="256"/>
                </a:lnTo>
                <a:lnTo>
                  <a:pt x="126" y="259"/>
                </a:lnTo>
                <a:lnTo>
                  <a:pt x="128" y="264"/>
                </a:lnTo>
                <a:lnTo>
                  <a:pt x="69" y="282"/>
                </a:lnTo>
                <a:lnTo>
                  <a:pt x="62" y="272"/>
                </a:lnTo>
                <a:lnTo>
                  <a:pt x="61" y="267"/>
                </a:lnTo>
                <a:lnTo>
                  <a:pt x="62" y="264"/>
                </a:lnTo>
                <a:lnTo>
                  <a:pt x="62" y="259"/>
                </a:lnTo>
                <a:lnTo>
                  <a:pt x="61" y="256"/>
                </a:lnTo>
                <a:lnTo>
                  <a:pt x="59" y="250"/>
                </a:lnTo>
                <a:lnTo>
                  <a:pt x="56" y="244"/>
                </a:lnTo>
                <a:lnTo>
                  <a:pt x="56" y="234"/>
                </a:lnTo>
                <a:lnTo>
                  <a:pt x="56" y="229"/>
                </a:lnTo>
                <a:lnTo>
                  <a:pt x="54" y="223"/>
                </a:lnTo>
                <a:lnTo>
                  <a:pt x="54" y="217"/>
                </a:lnTo>
                <a:lnTo>
                  <a:pt x="54" y="210"/>
                </a:lnTo>
                <a:lnTo>
                  <a:pt x="51" y="201"/>
                </a:lnTo>
                <a:lnTo>
                  <a:pt x="50" y="196"/>
                </a:lnTo>
                <a:lnTo>
                  <a:pt x="45" y="191"/>
                </a:lnTo>
                <a:lnTo>
                  <a:pt x="40" y="190"/>
                </a:lnTo>
                <a:lnTo>
                  <a:pt x="35" y="190"/>
                </a:lnTo>
                <a:lnTo>
                  <a:pt x="31" y="186"/>
                </a:lnTo>
                <a:lnTo>
                  <a:pt x="32" y="182"/>
                </a:lnTo>
                <a:lnTo>
                  <a:pt x="34" y="177"/>
                </a:lnTo>
                <a:lnTo>
                  <a:pt x="31" y="169"/>
                </a:lnTo>
                <a:lnTo>
                  <a:pt x="27" y="159"/>
                </a:lnTo>
                <a:lnTo>
                  <a:pt x="24" y="153"/>
                </a:lnTo>
                <a:lnTo>
                  <a:pt x="20" y="150"/>
                </a:lnTo>
                <a:lnTo>
                  <a:pt x="18" y="142"/>
                </a:lnTo>
                <a:lnTo>
                  <a:pt x="18" y="132"/>
                </a:lnTo>
                <a:lnTo>
                  <a:pt x="18" y="123"/>
                </a:lnTo>
                <a:lnTo>
                  <a:pt x="18" y="112"/>
                </a:lnTo>
                <a:lnTo>
                  <a:pt x="20" y="104"/>
                </a:lnTo>
                <a:lnTo>
                  <a:pt x="18" y="99"/>
                </a:lnTo>
                <a:lnTo>
                  <a:pt x="15" y="91"/>
                </a:lnTo>
                <a:lnTo>
                  <a:pt x="12" y="86"/>
                </a:lnTo>
                <a:lnTo>
                  <a:pt x="8" y="80"/>
                </a:lnTo>
                <a:lnTo>
                  <a:pt x="10" y="62"/>
                </a:lnTo>
                <a:lnTo>
                  <a:pt x="2" y="58"/>
                </a:lnTo>
                <a:lnTo>
                  <a:pt x="0" y="42"/>
                </a:lnTo>
                <a:close/>
              </a:path>
            </a:pathLst>
          </a:custGeom>
          <a:solidFill>
            <a:schemeClr val="bg1">
              <a:lumMod val="95000"/>
            </a:schemeClr>
          </a:solidFill>
          <a:ln w="0" algn="ctr">
            <a:solidFill>
              <a:srgbClr val="808080"/>
            </a:solidFill>
            <a:round/>
            <a:headEnd/>
            <a:tailEnd/>
          </a:ln>
        </p:spPr>
        <p:txBody>
          <a:bodyPr lIns="101798" tIns="50899" rIns="101798" bIns="50899"/>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endParaRPr>
          </a:p>
        </p:txBody>
      </p:sp>
      <p:sp>
        <p:nvSpPr>
          <p:cNvPr id="13" name="State: Utah"/>
          <p:cNvSpPr>
            <a:spLocks/>
          </p:cNvSpPr>
          <p:nvPr/>
        </p:nvSpPr>
        <p:spPr bwMode="auto">
          <a:xfrm>
            <a:off x="1774670" y="3194228"/>
            <a:ext cx="733043" cy="964453"/>
          </a:xfrm>
          <a:custGeom>
            <a:avLst/>
            <a:gdLst>
              <a:gd name="T0" fmla="*/ 2147483647 w 491"/>
              <a:gd name="T1" fmla="*/ 0 h 627"/>
              <a:gd name="T2" fmla="*/ 2147483647 w 491"/>
              <a:gd name="T3" fmla="*/ 2147483647 h 627"/>
              <a:gd name="T4" fmla="*/ 2147483647 w 491"/>
              <a:gd name="T5" fmla="*/ 2147483647 h 627"/>
              <a:gd name="T6" fmla="*/ 2147483647 w 491"/>
              <a:gd name="T7" fmla="*/ 2147483647 h 627"/>
              <a:gd name="T8" fmla="*/ 2147483647 w 491"/>
              <a:gd name="T9" fmla="*/ 2147483647 h 627"/>
              <a:gd name="T10" fmla="*/ 2147483647 w 491"/>
              <a:gd name="T11" fmla="*/ 2147483647 h 627"/>
              <a:gd name="T12" fmla="*/ 2147483647 w 491"/>
              <a:gd name="T13" fmla="*/ 2147483647 h 627"/>
              <a:gd name="T14" fmla="*/ 2147483647 w 491"/>
              <a:gd name="T15" fmla="*/ 2147483647 h 627"/>
              <a:gd name="T16" fmla="*/ 2147483647 w 491"/>
              <a:gd name="T17" fmla="*/ 2147483647 h 627"/>
              <a:gd name="T18" fmla="*/ 2147483647 w 491"/>
              <a:gd name="T19" fmla="*/ 2147483647 h 627"/>
              <a:gd name="T20" fmla="*/ 2147483647 w 491"/>
              <a:gd name="T21" fmla="*/ 2147483647 h 627"/>
              <a:gd name="T22" fmla="*/ 2147483647 w 491"/>
              <a:gd name="T23" fmla="*/ 2147483647 h 627"/>
              <a:gd name="T24" fmla="*/ 0 w 491"/>
              <a:gd name="T25" fmla="*/ 2147483647 h 627"/>
              <a:gd name="T26" fmla="*/ 2147483647 w 491"/>
              <a:gd name="T27" fmla="*/ 0 h 6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91"/>
              <a:gd name="T43" fmla="*/ 0 h 627"/>
              <a:gd name="T44" fmla="*/ 491 w 491"/>
              <a:gd name="T45" fmla="*/ 627 h 62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91" h="627">
                <a:moveTo>
                  <a:pt x="116" y="0"/>
                </a:moveTo>
                <a:lnTo>
                  <a:pt x="345" y="49"/>
                </a:lnTo>
                <a:lnTo>
                  <a:pt x="333" y="156"/>
                </a:lnTo>
                <a:lnTo>
                  <a:pt x="491" y="191"/>
                </a:lnTo>
                <a:lnTo>
                  <a:pt x="422" y="627"/>
                </a:lnTo>
                <a:lnTo>
                  <a:pt x="244" y="594"/>
                </a:lnTo>
                <a:lnTo>
                  <a:pt x="238" y="597"/>
                </a:lnTo>
                <a:lnTo>
                  <a:pt x="232" y="599"/>
                </a:lnTo>
                <a:lnTo>
                  <a:pt x="224" y="597"/>
                </a:lnTo>
                <a:lnTo>
                  <a:pt x="216" y="594"/>
                </a:lnTo>
                <a:lnTo>
                  <a:pt x="211" y="589"/>
                </a:lnTo>
                <a:lnTo>
                  <a:pt x="208" y="586"/>
                </a:lnTo>
                <a:lnTo>
                  <a:pt x="0" y="545"/>
                </a:lnTo>
                <a:lnTo>
                  <a:pt x="116" y="0"/>
                </a:lnTo>
                <a:close/>
              </a:path>
            </a:pathLst>
          </a:custGeom>
          <a:solidFill>
            <a:schemeClr val="bg1">
              <a:lumMod val="95000"/>
            </a:schemeClr>
          </a:solidFill>
          <a:ln w="0" algn="ctr">
            <a:solidFill>
              <a:schemeClr val="bg1">
                <a:lumMod val="50000"/>
              </a:schemeClr>
            </a:solidFill>
            <a:round/>
            <a:headEnd/>
            <a:tailEnd/>
          </a:ln>
        </p:spPr>
        <p:txBody>
          <a:bodyPr lIns="101798" tIns="50899" rIns="101798" bIns="50899"/>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endParaRPr>
          </a:p>
        </p:txBody>
      </p:sp>
      <p:sp>
        <p:nvSpPr>
          <p:cNvPr id="14" name="State: Texas"/>
          <p:cNvSpPr>
            <a:spLocks/>
          </p:cNvSpPr>
          <p:nvPr/>
        </p:nvSpPr>
        <p:spPr bwMode="auto">
          <a:xfrm>
            <a:off x="2619684" y="4354025"/>
            <a:ext cx="1815439" cy="1855071"/>
          </a:xfrm>
          <a:custGeom>
            <a:avLst/>
            <a:gdLst>
              <a:gd name="T0" fmla="*/ 2147483647 w 1216"/>
              <a:gd name="T1" fmla="*/ 2147483647 h 1206"/>
              <a:gd name="T2" fmla="*/ 2147483647 w 1216"/>
              <a:gd name="T3" fmla="*/ 2147483647 h 1206"/>
              <a:gd name="T4" fmla="*/ 2147483647 w 1216"/>
              <a:gd name="T5" fmla="*/ 2147483647 h 1206"/>
              <a:gd name="T6" fmla="*/ 2147483647 w 1216"/>
              <a:gd name="T7" fmla="*/ 2147483647 h 1206"/>
              <a:gd name="T8" fmla="*/ 2147483647 w 1216"/>
              <a:gd name="T9" fmla="*/ 2147483647 h 1206"/>
              <a:gd name="T10" fmla="*/ 2147483647 w 1216"/>
              <a:gd name="T11" fmla="*/ 2147483647 h 1206"/>
              <a:gd name="T12" fmla="*/ 2147483647 w 1216"/>
              <a:gd name="T13" fmla="*/ 2147483647 h 1206"/>
              <a:gd name="T14" fmla="*/ 2147483647 w 1216"/>
              <a:gd name="T15" fmla="*/ 2147483647 h 1206"/>
              <a:gd name="T16" fmla="*/ 2147483647 w 1216"/>
              <a:gd name="T17" fmla="*/ 2147483647 h 1206"/>
              <a:gd name="T18" fmla="*/ 2147483647 w 1216"/>
              <a:gd name="T19" fmla="*/ 2147483647 h 1206"/>
              <a:gd name="T20" fmla="*/ 2147483647 w 1216"/>
              <a:gd name="T21" fmla="*/ 2147483647 h 1206"/>
              <a:gd name="T22" fmla="*/ 2147483647 w 1216"/>
              <a:gd name="T23" fmla="*/ 2147483647 h 1206"/>
              <a:gd name="T24" fmla="*/ 2147483647 w 1216"/>
              <a:gd name="T25" fmla="*/ 2147483647 h 1206"/>
              <a:gd name="T26" fmla="*/ 2147483647 w 1216"/>
              <a:gd name="T27" fmla="*/ 2147483647 h 1206"/>
              <a:gd name="T28" fmla="*/ 2147483647 w 1216"/>
              <a:gd name="T29" fmla="*/ 2147483647 h 1206"/>
              <a:gd name="T30" fmla="*/ 2147483647 w 1216"/>
              <a:gd name="T31" fmla="*/ 2147483647 h 1206"/>
              <a:gd name="T32" fmla="*/ 2147483647 w 1216"/>
              <a:gd name="T33" fmla="*/ 2147483647 h 1206"/>
              <a:gd name="T34" fmla="*/ 2147483647 w 1216"/>
              <a:gd name="T35" fmla="*/ 2147483647 h 1206"/>
              <a:gd name="T36" fmla="*/ 2147483647 w 1216"/>
              <a:gd name="T37" fmla="*/ 2147483647 h 1206"/>
              <a:gd name="T38" fmla="*/ 2147483647 w 1216"/>
              <a:gd name="T39" fmla="*/ 2147483647 h 1206"/>
              <a:gd name="T40" fmla="*/ 2147483647 w 1216"/>
              <a:gd name="T41" fmla="*/ 2147483647 h 1206"/>
              <a:gd name="T42" fmla="*/ 2147483647 w 1216"/>
              <a:gd name="T43" fmla="*/ 2147483647 h 1206"/>
              <a:gd name="T44" fmla="*/ 2147483647 w 1216"/>
              <a:gd name="T45" fmla="*/ 2147483647 h 1206"/>
              <a:gd name="T46" fmla="*/ 2147483647 w 1216"/>
              <a:gd name="T47" fmla="*/ 2147483647 h 1206"/>
              <a:gd name="T48" fmla="*/ 2147483647 w 1216"/>
              <a:gd name="T49" fmla="*/ 2147483647 h 1206"/>
              <a:gd name="T50" fmla="*/ 2147483647 w 1216"/>
              <a:gd name="T51" fmla="*/ 2147483647 h 1206"/>
              <a:gd name="T52" fmla="*/ 2147483647 w 1216"/>
              <a:gd name="T53" fmla="*/ 2147483647 h 1206"/>
              <a:gd name="T54" fmla="*/ 2147483647 w 1216"/>
              <a:gd name="T55" fmla="*/ 2147483647 h 1206"/>
              <a:gd name="T56" fmla="*/ 2147483647 w 1216"/>
              <a:gd name="T57" fmla="*/ 2147483647 h 1206"/>
              <a:gd name="T58" fmla="*/ 2147483647 w 1216"/>
              <a:gd name="T59" fmla="*/ 2147483647 h 1206"/>
              <a:gd name="T60" fmla="*/ 2147483647 w 1216"/>
              <a:gd name="T61" fmla="*/ 2147483647 h 1206"/>
              <a:gd name="T62" fmla="*/ 2147483647 w 1216"/>
              <a:gd name="T63" fmla="*/ 2147483647 h 1206"/>
              <a:gd name="T64" fmla="*/ 2147483647 w 1216"/>
              <a:gd name="T65" fmla="*/ 2147483647 h 1206"/>
              <a:gd name="T66" fmla="*/ 2147483647 w 1216"/>
              <a:gd name="T67" fmla="*/ 2147483647 h 1206"/>
              <a:gd name="T68" fmla="*/ 2147483647 w 1216"/>
              <a:gd name="T69" fmla="*/ 2147483647 h 1206"/>
              <a:gd name="T70" fmla="*/ 2147483647 w 1216"/>
              <a:gd name="T71" fmla="*/ 2147483647 h 1206"/>
              <a:gd name="T72" fmla="*/ 2147483647 w 1216"/>
              <a:gd name="T73" fmla="*/ 2147483647 h 1206"/>
              <a:gd name="T74" fmla="*/ 2147483647 w 1216"/>
              <a:gd name="T75" fmla="*/ 2147483647 h 1206"/>
              <a:gd name="T76" fmla="*/ 2147483647 w 1216"/>
              <a:gd name="T77" fmla="*/ 2147483647 h 1206"/>
              <a:gd name="T78" fmla="*/ 2147483647 w 1216"/>
              <a:gd name="T79" fmla="*/ 2147483647 h 1206"/>
              <a:gd name="T80" fmla="*/ 2147483647 w 1216"/>
              <a:gd name="T81" fmla="*/ 2147483647 h 1206"/>
              <a:gd name="T82" fmla="*/ 2147483647 w 1216"/>
              <a:gd name="T83" fmla="*/ 2147483647 h 1206"/>
              <a:gd name="T84" fmla="*/ 2147483647 w 1216"/>
              <a:gd name="T85" fmla="*/ 2147483647 h 1206"/>
              <a:gd name="T86" fmla="*/ 2147483647 w 1216"/>
              <a:gd name="T87" fmla="*/ 2147483647 h 1206"/>
              <a:gd name="T88" fmla="*/ 2147483647 w 1216"/>
              <a:gd name="T89" fmla="*/ 2147483647 h 1206"/>
              <a:gd name="T90" fmla="*/ 2147483647 w 1216"/>
              <a:gd name="T91" fmla="*/ 2147483647 h 1206"/>
              <a:gd name="T92" fmla="*/ 2147483647 w 1216"/>
              <a:gd name="T93" fmla="*/ 2147483647 h 1206"/>
              <a:gd name="T94" fmla="*/ 2147483647 w 1216"/>
              <a:gd name="T95" fmla="*/ 2147483647 h 1206"/>
              <a:gd name="T96" fmla="*/ 2147483647 w 1216"/>
              <a:gd name="T97" fmla="*/ 2147483647 h 1206"/>
              <a:gd name="T98" fmla="*/ 2147483647 w 1216"/>
              <a:gd name="T99" fmla="*/ 2147483647 h 1206"/>
              <a:gd name="T100" fmla="*/ 2147483647 w 1216"/>
              <a:gd name="T101" fmla="*/ 2147483647 h 1206"/>
              <a:gd name="T102" fmla="*/ 2147483647 w 1216"/>
              <a:gd name="T103" fmla="*/ 2147483647 h 1206"/>
              <a:gd name="T104" fmla="*/ 2147483647 w 1216"/>
              <a:gd name="T105" fmla="*/ 2147483647 h 1206"/>
              <a:gd name="T106" fmla="*/ 2147483647 w 1216"/>
              <a:gd name="T107" fmla="*/ 2147483647 h 1206"/>
              <a:gd name="T108" fmla="*/ 2147483647 w 1216"/>
              <a:gd name="T109" fmla="*/ 2147483647 h 1206"/>
              <a:gd name="T110" fmla="*/ 2147483647 w 1216"/>
              <a:gd name="T111" fmla="*/ 2147483647 h 1206"/>
              <a:gd name="T112" fmla="*/ 2147483647 w 1216"/>
              <a:gd name="T113" fmla="*/ 2147483647 h 120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16"/>
              <a:gd name="T172" fmla="*/ 0 h 1206"/>
              <a:gd name="T173" fmla="*/ 1216 w 1216"/>
              <a:gd name="T174" fmla="*/ 1206 h 120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16" h="1206">
                <a:moveTo>
                  <a:pt x="372" y="0"/>
                </a:moveTo>
                <a:lnTo>
                  <a:pt x="638" y="19"/>
                </a:lnTo>
                <a:lnTo>
                  <a:pt x="630" y="231"/>
                </a:lnTo>
                <a:lnTo>
                  <a:pt x="636" y="232"/>
                </a:lnTo>
                <a:lnTo>
                  <a:pt x="642" y="236"/>
                </a:lnTo>
                <a:lnTo>
                  <a:pt x="647" y="240"/>
                </a:lnTo>
                <a:lnTo>
                  <a:pt x="653" y="247"/>
                </a:lnTo>
                <a:lnTo>
                  <a:pt x="660" y="251"/>
                </a:lnTo>
                <a:lnTo>
                  <a:pt x="668" y="253"/>
                </a:lnTo>
                <a:lnTo>
                  <a:pt x="669" y="251"/>
                </a:lnTo>
                <a:lnTo>
                  <a:pt x="676" y="251"/>
                </a:lnTo>
                <a:lnTo>
                  <a:pt x="680" y="255"/>
                </a:lnTo>
                <a:lnTo>
                  <a:pt x="682" y="255"/>
                </a:lnTo>
                <a:lnTo>
                  <a:pt x="682" y="251"/>
                </a:lnTo>
                <a:lnTo>
                  <a:pt x="687" y="247"/>
                </a:lnTo>
                <a:lnTo>
                  <a:pt x="690" y="248"/>
                </a:lnTo>
                <a:lnTo>
                  <a:pt x="692" y="253"/>
                </a:lnTo>
                <a:lnTo>
                  <a:pt x="696" y="258"/>
                </a:lnTo>
                <a:lnTo>
                  <a:pt x="699" y="264"/>
                </a:lnTo>
                <a:lnTo>
                  <a:pt x="701" y="269"/>
                </a:lnTo>
                <a:lnTo>
                  <a:pt x="699" y="272"/>
                </a:lnTo>
                <a:lnTo>
                  <a:pt x="704" y="274"/>
                </a:lnTo>
                <a:lnTo>
                  <a:pt x="711" y="274"/>
                </a:lnTo>
                <a:lnTo>
                  <a:pt x="715" y="270"/>
                </a:lnTo>
                <a:lnTo>
                  <a:pt x="720" y="269"/>
                </a:lnTo>
                <a:lnTo>
                  <a:pt x="722" y="272"/>
                </a:lnTo>
                <a:lnTo>
                  <a:pt x="726" y="278"/>
                </a:lnTo>
                <a:lnTo>
                  <a:pt x="733" y="278"/>
                </a:lnTo>
                <a:lnTo>
                  <a:pt x="741" y="282"/>
                </a:lnTo>
                <a:lnTo>
                  <a:pt x="747" y="282"/>
                </a:lnTo>
                <a:lnTo>
                  <a:pt x="757" y="280"/>
                </a:lnTo>
                <a:lnTo>
                  <a:pt x="760" y="288"/>
                </a:lnTo>
                <a:lnTo>
                  <a:pt x="763" y="290"/>
                </a:lnTo>
                <a:lnTo>
                  <a:pt x="766" y="291"/>
                </a:lnTo>
                <a:lnTo>
                  <a:pt x="771" y="288"/>
                </a:lnTo>
                <a:lnTo>
                  <a:pt x="774" y="285"/>
                </a:lnTo>
                <a:lnTo>
                  <a:pt x="781" y="282"/>
                </a:lnTo>
                <a:lnTo>
                  <a:pt x="785" y="280"/>
                </a:lnTo>
                <a:lnTo>
                  <a:pt x="790" y="282"/>
                </a:lnTo>
                <a:lnTo>
                  <a:pt x="795" y="285"/>
                </a:lnTo>
                <a:lnTo>
                  <a:pt x="798" y="290"/>
                </a:lnTo>
                <a:lnTo>
                  <a:pt x="796" y="294"/>
                </a:lnTo>
                <a:lnTo>
                  <a:pt x="798" y="297"/>
                </a:lnTo>
                <a:lnTo>
                  <a:pt x="804" y="302"/>
                </a:lnTo>
                <a:lnTo>
                  <a:pt x="809" y="301"/>
                </a:lnTo>
                <a:lnTo>
                  <a:pt x="809" y="307"/>
                </a:lnTo>
                <a:lnTo>
                  <a:pt x="809" y="310"/>
                </a:lnTo>
                <a:lnTo>
                  <a:pt x="812" y="315"/>
                </a:lnTo>
                <a:lnTo>
                  <a:pt x="815" y="318"/>
                </a:lnTo>
                <a:lnTo>
                  <a:pt x="820" y="317"/>
                </a:lnTo>
                <a:lnTo>
                  <a:pt x="827" y="313"/>
                </a:lnTo>
                <a:lnTo>
                  <a:pt x="831" y="310"/>
                </a:lnTo>
                <a:lnTo>
                  <a:pt x="833" y="307"/>
                </a:lnTo>
                <a:lnTo>
                  <a:pt x="836" y="304"/>
                </a:lnTo>
                <a:lnTo>
                  <a:pt x="844" y="305"/>
                </a:lnTo>
                <a:lnTo>
                  <a:pt x="846" y="307"/>
                </a:lnTo>
                <a:lnTo>
                  <a:pt x="844" y="313"/>
                </a:lnTo>
                <a:lnTo>
                  <a:pt x="849" y="315"/>
                </a:lnTo>
                <a:lnTo>
                  <a:pt x="852" y="313"/>
                </a:lnTo>
                <a:lnTo>
                  <a:pt x="857" y="318"/>
                </a:lnTo>
                <a:lnTo>
                  <a:pt x="858" y="321"/>
                </a:lnTo>
                <a:lnTo>
                  <a:pt x="863" y="323"/>
                </a:lnTo>
                <a:lnTo>
                  <a:pt x="868" y="320"/>
                </a:lnTo>
                <a:lnTo>
                  <a:pt x="876" y="318"/>
                </a:lnTo>
                <a:lnTo>
                  <a:pt x="877" y="320"/>
                </a:lnTo>
                <a:lnTo>
                  <a:pt x="877" y="326"/>
                </a:lnTo>
                <a:lnTo>
                  <a:pt x="881" y="329"/>
                </a:lnTo>
                <a:lnTo>
                  <a:pt x="887" y="329"/>
                </a:lnTo>
                <a:lnTo>
                  <a:pt x="890" y="321"/>
                </a:lnTo>
                <a:lnTo>
                  <a:pt x="895" y="318"/>
                </a:lnTo>
                <a:lnTo>
                  <a:pt x="898" y="320"/>
                </a:lnTo>
                <a:lnTo>
                  <a:pt x="903" y="318"/>
                </a:lnTo>
                <a:lnTo>
                  <a:pt x="911" y="313"/>
                </a:lnTo>
                <a:lnTo>
                  <a:pt x="917" y="313"/>
                </a:lnTo>
                <a:lnTo>
                  <a:pt x="920" y="318"/>
                </a:lnTo>
                <a:lnTo>
                  <a:pt x="927" y="323"/>
                </a:lnTo>
                <a:lnTo>
                  <a:pt x="936" y="324"/>
                </a:lnTo>
                <a:lnTo>
                  <a:pt x="944" y="329"/>
                </a:lnTo>
                <a:lnTo>
                  <a:pt x="951" y="337"/>
                </a:lnTo>
                <a:lnTo>
                  <a:pt x="958" y="339"/>
                </a:lnTo>
                <a:lnTo>
                  <a:pt x="963" y="332"/>
                </a:lnTo>
                <a:lnTo>
                  <a:pt x="966" y="332"/>
                </a:lnTo>
                <a:lnTo>
                  <a:pt x="971" y="326"/>
                </a:lnTo>
                <a:lnTo>
                  <a:pt x="979" y="323"/>
                </a:lnTo>
                <a:lnTo>
                  <a:pt x="984" y="320"/>
                </a:lnTo>
                <a:lnTo>
                  <a:pt x="993" y="317"/>
                </a:lnTo>
                <a:lnTo>
                  <a:pt x="1000" y="320"/>
                </a:lnTo>
                <a:lnTo>
                  <a:pt x="1006" y="323"/>
                </a:lnTo>
                <a:lnTo>
                  <a:pt x="1009" y="318"/>
                </a:lnTo>
                <a:lnTo>
                  <a:pt x="1014" y="313"/>
                </a:lnTo>
                <a:lnTo>
                  <a:pt x="1017" y="312"/>
                </a:lnTo>
                <a:lnTo>
                  <a:pt x="1024" y="313"/>
                </a:lnTo>
                <a:lnTo>
                  <a:pt x="1028" y="317"/>
                </a:lnTo>
                <a:lnTo>
                  <a:pt x="1032" y="320"/>
                </a:lnTo>
                <a:lnTo>
                  <a:pt x="1038" y="324"/>
                </a:lnTo>
                <a:lnTo>
                  <a:pt x="1043" y="323"/>
                </a:lnTo>
                <a:lnTo>
                  <a:pt x="1044" y="323"/>
                </a:lnTo>
                <a:lnTo>
                  <a:pt x="1049" y="317"/>
                </a:lnTo>
                <a:lnTo>
                  <a:pt x="1055" y="310"/>
                </a:lnTo>
                <a:lnTo>
                  <a:pt x="1057" y="309"/>
                </a:lnTo>
                <a:lnTo>
                  <a:pt x="1065" y="310"/>
                </a:lnTo>
                <a:lnTo>
                  <a:pt x="1068" y="317"/>
                </a:lnTo>
                <a:lnTo>
                  <a:pt x="1079" y="323"/>
                </a:lnTo>
                <a:lnTo>
                  <a:pt x="1086" y="326"/>
                </a:lnTo>
                <a:lnTo>
                  <a:pt x="1089" y="331"/>
                </a:lnTo>
                <a:lnTo>
                  <a:pt x="1098" y="336"/>
                </a:lnTo>
                <a:lnTo>
                  <a:pt x="1106" y="340"/>
                </a:lnTo>
                <a:lnTo>
                  <a:pt x="1117" y="342"/>
                </a:lnTo>
                <a:lnTo>
                  <a:pt x="1124" y="345"/>
                </a:lnTo>
                <a:lnTo>
                  <a:pt x="1128" y="352"/>
                </a:lnTo>
                <a:lnTo>
                  <a:pt x="1133" y="356"/>
                </a:lnTo>
                <a:lnTo>
                  <a:pt x="1141" y="353"/>
                </a:lnTo>
                <a:lnTo>
                  <a:pt x="1148" y="352"/>
                </a:lnTo>
                <a:lnTo>
                  <a:pt x="1155" y="350"/>
                </a:lnTo>
                <a:lnTo>
                  <a:pt x="1162" y="355"/>
                </a:lnTo>
                <a:lnTo>
                  <a:pt x="1163" y="358"/>
                </a:lnTo>
                <a:lnTo>
                  <a:pt x="1163" y="526"/>
                </a:lnTo>
                <a:lnTo>
                  <a:pt x="1186" y="553"/>
                </a:lnTo>
                <a:lnTo>
                  <a:pt x="1186" y="574"/>
                </a:lnTo>
                <a:lnTo>
                  <a:pt x="1192" y="576"/>
                </a:lnTo>
                <a:lnTo>
                  <a:pt x="1195" y="583"/>
                </a:lnTo>
                <a:lnTo>
                  <a:pt x="1198" y="590"/>
                </a:lnTo>
                <a:lnTo>
                  <a:pt x="1202" y="596"/>
                </a:lnTo>
                <a:lnTo>
                  <a:pt x="1203" y="601"/>
                </a:lnTo>
                <a:lnTo>
                  <a:pt x="1203" y="609"/>
                </a:lnTo>
                <a:lnTo>
                  <a:pt x="1208" y="612"/>
                </a:lnTo>
                <a:lnTo>
                  <a:pt x="1210" y="620"/>
                </a:lnTo>
                <a:lnTo>
                  <a:pt x="1214" y="622"/>
                </a:lnTo>
                <a:lnTo>
                  <a:pt x="1216" y="628"/>
                </a:lnTo>
                <a:lnTo>
                  <a:pt x="1213" y="634"/>
                </a:lnTo>
                <a:lnTo>
                  <a:pt x="1213" y="641"/>
                </a:lnTo>
                <a:lnTo>
                  <a:pt x="1211" y="647"/>
                </a:lnTo>
                <a:lnTo>
                  <a:pt x="1210" y="652"/>
                </a:lnTo>
                <a:lnTo>
                  <a:pt x="1211" y="658"/>
                </a:lnTo>
                <a:lnTo>
                  <a:pt x="1208" y="661"/>
                </a:lnTo>
                <a:lnTo>
                  <a:pt x="1206" y="668"/>
                </a:lnTo>
                <a:lnTo>
                  <a:pt x="1203" y="672"/>
                </a:lnTo>
                <a:lnTo>
                  <a:pt x="1202" y="679"/>
                </a:lnTo>
                <a:lnTo>
                  <a:pt x="1198" y="682"/>
                </a:lnTo>
                <a:lnTo>
                  <a:pt x="1197" y="688"/>
                </a:lnTo>
                <a:lnTo>
                  <a:pt x="1197" y="698"/>
                </a:lnTo>
                <a:lnTo>
                  <a:pt x="1200" y="699"/>
                </a:lnTo>
                <a:lnTo>
                  <a:pt x="1198" y="704"/>
                </a:lnTo>
                <a:lnTo>
                  <a:pt x="1197" y="707"/>
                </a:lnTo>
                <a:lnTo>
                  <a:pt x="1197" y="714"/>
                </a:lnTo>
                <a:lnTo>
                  <a:pt x="1200" y="718"/>
                </a:lnTo>
                <a:lnTo>
                  <a:pt x="1202" y="725"/>
                </a:lnTo>
                <a:lnTo>
                  <a:pt x="1202" y="731"/>
                </a:lnTo>
                <a:lnTo>
                  <a:pt x="1200" y="736"/>
                </a:lnTo>
                <a:lnTo>
                  <a:pt x="1197" y="744"/>
                </a:lnTo>
                <a:lnTo>
                  <a:pt x="1190" y="750"/>
                </a:lnTo>
                <a:lnTo>
                  <a:pt x="1187" y="758"/>
                </a:lnTo>
                <a:lnTo>
                  <a:pt x="1184" y="763"/>
                </a:lnTo>
                <a:lnTo>
                  <a:pt x="1179" y="766"/>
                </a:lnTo>
                <a:lnTo>
                  <a:pt x="1175" y="769"/>
                </a:lnTo>
                <a:lnTo>
                  <a:pt x="1176" y="771"/>
                </a:lnTo>
                <a:lnTo>
                  <a:pt x="1179" y="773"/>
                </a:lnTo>
                <a:lnTo>
                  <a:pt x="1181" y="777"/>
                </a:lnTo>
                <a:lnTo>
                  <a:pt x="1182" y="780"/>
                </a:lnTo>
                <a:lnTo>
                  <a:pt x="1176" y="782"/>
                </a:lnTo>
                <a:lnTo>
                  <a:pt x="1163" y="782"/>
                </a:lnTo>
                <a:lnTo>
                  <a:pt x="1154" y="780"/>
                </a:lnTo>
                <a:lnTo>
                  <a:pt x="1146" y="785"/>
                </a:lnTo>
                <a:lnTo>
                  <a:pt x="1138" y="790"/>
                </a:lnTo>
                <a:lnTo>
                  <a:pt x="1128" y="793"/>
                </a:lnTo>
                <a:lnTo>
                  <a:pt x="1122" y="798"/>
                </a:lnTo>
                <a:lnTo>
                  <a:pt x="1117" y="803"/>
                </a:lnTo>
                <a:lnTo>
                  <a:pt x="1111" y="804"/>
                </a:lnTo>
                <a:lnTo>
                  <a:pt x="1103" y="796"/>
                </a:lnTo>
                <a:lnTo>
                  <a:pt x="1098" y="790"/>
                </a:lnTo>
                <a:lnTo>
                  <a:pt x="1098" y="782"/>
                </a:lnTo>
                <a:lnTo>
                  <a:pt x="1097" y="776"/>
                </a:lnTo>
                <a:lnTo>
                  <a:pt x="1095" y="771"/>
                </a:lnTo>
                <a:lnTo>
                  <a:pt x="1092" y="771"/>
                </a:lnTo>
                <a:lnTo>
                  <a:pt x="1090" y="776"/>
                </a:lnTo>
                <a:lnTo>
                  <a:pt x="1086" y="779"/>
                </a:lnTo>
                <a:lnTo>
                  <a:pt x="1082" y="782"/>
                </a:lnTo>
                <a:lnTo>
                  <a:pt x="1082" y="834"/>
                </a:lnTo>
                <a:lnTo>
                  <a:pt x="1078" y="842"/>
                </a:lnTo>
                <a:lnTo>
                  <a:pt x="1076" y="847"/>
                </a:lnTo>
                <a:lnTo>
                  <a:pt x="1076" y="854"/>
                </a:lnTo>
                <a:lnTo>
                  <a:pt x="1073" y="858"/>
                </a:lnTo>
                <a:lnTo>
                  <a:pt x="1070" y="868"/>
                </a:lnTo>
                <a:lnTo>
                  <a:pt x="1067" y="873"/>
                </a:lnTo>
                <a:lnTo>
                  <a:pt x="1057" y="879"/>
                </a:lnTo>
                <a:lnTo>
                  <a:pt x="1047" y="884"/>
                </a:lnTo>
                <a:lnTo>
                  <a:pt x="1038" y="887"/>
                </a:lnTo>
                <a:lnTo>
                  <a:pt x="1027" y="896"/>
                </a:lnTo>
                <a:lnTo>
                  <a:pt x="1014" y="903"/>
                </a:lnTo>
                <a:lnTo>
                  <a:pt x="1003" y="909"/>
                </a:lnTo>
                <a:lnTo>
                  <a:pt x="989" y="917"/>
                </a:lnTo>
                <a:lnTo>
                  <a:pt x="973" y="923"/>
                </a:lnTo>
                <a:lnTo>
                  <a:pt x="973" y="919"/>
                </a:lnTo>
                <a:lnTo>
                  <a:pt x="978" y="915"/>
                </a:lnTo>
                <a:lnTo>
                  <a:pt x="984" y="912"/>
                </a:lnTo>
                <a:lnTo>
                  <a:pt x="987" y="906"/>
                </a:lnTo>
                <a:lnTo>
                  <a:pt x="984" y="901"/>
                </a:lnTo>
                <a:lnTo>
                  <a:pt x="981" y="898"/>
                </a:lnTo>
                <a:lnTo>
                  <a:pt x="978" y="892"/>
                </a:lnTo>
                <a:lnTo>
                  <a:pt x="976" y="893"/>
                </a:lnTo>
                <a:lnTo>
                  <a:pt x="976" y="896"/>
                </a:lnTo>
                <a:lnTo>
                  <a:pt x="974" y="903"/>
                </a:lnTo>
                <a:lnTo>
                  <a:pt x="971" y="906"/>
                </a:lnTo>
                <a:lnTo>
                  <a:pt x="966" y="904"/>
                </a:lnTo>
                <a:lnTo>
                  <a:pt x="963" y="901"/>
                </a:lnTo>
                <a:lnTo>
                  <a:pt x="962" y="896"/>
                </a:lnTo>
                <a:lnTo>
                  <a:pt x="960" y="895"/>
                </a:lnTo>
                <a:lnTo>
                  <a:pt x="957" y="893"/>
                </a:lnTo>
                <a:lnTo>
                  <a:pt x="955" y="898"/>
                </a:lnTo>
                <a:lnTo>
                  <a:pt x="955" y="901"/>
                </a:lnTo>
                <a:lnTo>
                  <a:pt x="957" y="904"/>
                </a:lnTo>
                <a:lnTo>
                  <a:pt x="954" y="906"/>
                </a:lnTo>
                <a:lnTo>
                  <a:pt x="952" y="904"/>
                </a:lnTo>
                <a:lnTo>
                  <a:pt x="947" y="898"/>
                </a:lnTo>
                <a:lnTo>
                  <a:pt x="946" y="896"/>
                </a:lnTo>
                <a:lnTo>
                  <a:pt x="944" y="893"/>
                </a:lnTo>
                <a:lnTo>
                  <a:pt x="939" y="893"/>
                </a:lnTo>
                <a:lnTo>
                  <a:pt x="938" y="896"/>
                </a:lnTo>
                <a:lnTo>
                  <a:pt x="938" y="900"/>
                </a:lnTo>
                <a:lnTo>
                  <a:pt x="936" y="903"/>
                </a:lnTo>
                <a:lnTo>
                  <a:pt x="938" y="908"/>
                </a:lnTo>
                <a:lnTo>
                  <a:pt x="941" y="911"/>
                </a:lnTo>
                <a:lnTo>
                  <a:pt x="944" y="914"/>
                </a:lnTo>
                <a:lnTo>
                  <a:pt x="947" y="917"/>
                </a:lnTo>
                <a:lnTo>
                  <a:pt x="949" y="919"/>
                </a:lnTo>
                <a:lnTo>
                  <a:pt x="947" y="922"/>
                </a:lnTo>
                <a:lnTo>
                  <a:pt x="946" y="925"/>
                </a:lnTo>
                <a:lnTo>
                  <a:pt x="944" y="927"/>
                </a:lnTo>
                <a:lnTo>
                  <a:pt x="924" y="928"/>
                </a:lnTo>
                <a:lnTo>
                  <a:pt x="920" y="933"/>
                </a:lnTo>
                <a:lnTo>
                  <a:pt x="917" y="938"/>
                </a:lnTo>
                <a:lnTo>
                  <a:pt x="917" y="943"/>
                </a:lnTo>
                <a:lnTo>
                  <a:pt x="912" y="946"/>
                </a:lnTo>
                <a:lnTo>
                  <a:pt x="911" y="949"/>
                </a:lnTo>
                <a:lnTo>
                  <a:pt x="908" y="952"/>
                </a:lnTo>
                <a:lnTo>
                  <a:pt x="903" y="952"/>
                </a:lnTo>
                <a:lnTo>
                  <a:pt x="898" y="952"/>
                </a:lnTo>
                <a:lnTo>
                  <a:pt x="893" y="955"/>
                </a:lnTo>
                <a:lnTo>
                  <a:pt x="889" y="958"/>
                </a:lnTo>
                <a:lnTo>
                  <a:pt x="887" y="960"/>
                </a:lnTo>
                <a:lnTo>
                  <a:pt x="885" y="963"/>
                </a:lnTo>
                <a:lnTo>
                  <a:pt x="882" y="966"/>
                </a:lnTo>
                <a:lnTo>
                  <a:pt x="887" y="970"/>
                </a:lnTo>
                <a:lnTo>
                  <a:pt x="893" y="970"/>
                </a:lnTo>
                <a:lnTo>
                  <a:pt x="893" y="973"/>
                </a:lnTo>
                <a:lnTo>
                  <a:pt x="892" y="979"/>
                </a:lnTo>
                <a:lnTo>
                  <a:pt x="889" y="982"/>
                </a:lnTo>
                <a:lnTo>
                  <a:pt x="887" y="985"/>
                </a:lnTo>
                <a:lnTo>
                  <a:pt x="881" y="989"/>
                </a:lnTo>
                <a:lnTo>
                  <a:pt x="874" y="990"/>
                </a:lnTo>
                <a:lnTo>
                  <a:pt x="868" y="990"/>
                </a:lnTo>
                <a:lnTo>
                  <a:pt x="865" y="990"/>
                </a:lnTo>
                <a:lnTo>
                  <a:pt x="862" y="992"/>
                </a:lnTo>
                <a:lnTo>
                  <a:pt x="858" y="995"/>
                </a:lnTo>
                <a:lnTo>
                  <a:pt x="862" y="1000"/>
                </a:lnTo>
                <a:lnTo>
                  <a:pt x="863" y="1004"/>
                </a:lnTo>
                <a:lnTo>
                  <a:pt x="866" y="1006"/>
                </a:lnTo>
                <a:lnTo>
                  <a:pt x="868" y="1008"/>
                </a:lnTo>
                <a:lnTo>
                  <a:pt x="868" y="1016"/>
                </a:lnTo>
                <a:lnTo>
                  <a:pt x="868" y="1020"/>
                </a:lnTo>
                <a:lnTo>
                  <a:pt x="866" y="1024"/>
                </a:lnTo>
                <a:lnTo>
                  <a:pt x="866" y="1028"/>
                </a:lnTo>
                <a:lnTo>
                  <a:pt x="866" y="1036"/>
                </a:lnTo>
                <a:lnTo>
                  <a:pt x="866" y="1041"/>
                </a:lnTo>
                <a:lnTo>
                  <a:pt x="866" y="1046"/>
                </a:lnTo>
                <a:lnTo>
                  <a:pt x="862" y="1049"/>
                </a:lnTo>
                <a:lnTo>
                  <a:pt x="857" y="1052"/>
                </a:lnTo>
                <a:lnTo>
                  <a:pt x="852" y="1051"/>
                </a:lnTo>
                <a:lnTo>
                  <a:pt x="850" y="1047"/>
                </a:lnTo>
                <a:lnTo>
                  <a:pt x="846" y="1046"/>
                </a:lnTo>
                <a:lnTo>
                  <a:pt x="841" y="1044"/>
                </a:lnTo>
                <a:lnTo>
                  <a:pt x="836" y="1047"/>
                </a:lnTo>
                <a:lnTo>
                  <a:pt x="835" y="1051"/>
                </a:lnTo>
                <a:lnTo>
                  <a:pt x="835" y="1054"/>
                </a:lnTo>
                <a:lnTo>
                  <a:pt x="838" y="1058"/>
                </a:lnTo>
                <a:lnTo>
                  <a:pt x="842" y="1062"/>
                </a:lnTo>
                <a:lnTo>
                  <a:pt x="847" y="1060"/>
                </a:lnTo>
                <a:lnTo>
                  <a:pt x="850" y="1060"/>
                </a:lnTo>
                <a:lnTo>
                  <a:pt x="854" y="1063"/>
                </a:lnTo>
                <a:lnTo>
                  <a:pt x="855" y="1068"/>
                </a:lnTo>
                <a:lnTo>
                  <a:pt x="857" y="1070"/>
                </a:lnTo>
                <a:lnTo>
                  <a:pt x="855" y="1073"/>
                </a:lnTo>
                <a:lnTo>
                  <a:pt x="854" y="1079"/>
                </a:lnTo>
                <a:lnTo>
                  <a:pt x="854" y="1084"/>
                </a:lnTo>
                <a:lnTo>
                  <a:pt x="852" y="1087"/>
                </a:lnTo>
                <a:lnTo>
                  <a:pt x="849" y="1090"/>
                </a:lnTo>
                <a:lnTo>
                  <a:pt x="844" y="1093"/>
                </a:lnTo>
                <a:lnTo>
                  <a:pt x="844" y="1097"/>
                </a:lnTo>
                <a:lnTo>
                  <a:pt x="847" y="1103"/>
                </a:lnTo>
                <a:lnTo>
                  <a:pt x="847" y="1108"/>
                </a:lnTo>
                <a:lnTo>
                  <a:pt x="849" y="1116"/>
                </a:lnTo>
                <a:lnTo>
                  <a:pt x="850" y="1122"/>
                </a:lnTo>
                <a:lnTo>
                  <a:pt x="850" y="1130"/>
                </a:lnTo>
                <a:lnTo>
                  <a:pt x="854" y="1136"/>
                </a:lnTo>
                <a:lnTo>
                  <a:pt x="855" y="1146"/>
                </a:lnTo>
                <a:lnTo>
                  <a:pt x="857" y="1160"/>
                </a:lnTo>
                <a:lnTo>
                  <a:pt x="860" y="1173"/>
                </a:lnTo>
                <a:lnTo>
                  <a:pt x="865" y="1184"/>
                </a:lnTo>
                <a:lnTo>
                  <a:pt x="869" y="1194"/>
                </a:lnTo>
                <a:lnTo>
                  <a:pt x="874" y="1201"/>
                </a:lnTo>
                <a:lnTo>
                  <a:pt x="874" y="1206"/>
                </a:lnTo>
                <a:lnTo>
                  <a:pt x="866" y="1200"/>
                </a:lnTo>
                <a:lnTo>
                  <a:pt x="850" y="1198"/>
                </a:lnTo>
                <a:lnTo>
                  <a:pt x="841" y="1198"/>
                </a:lnTo>
                <a:lnTo>
                  <a:pt x="830" y="1192"/>
                </a:lnTo>
                <a:lnTo>
                  <a:pt x="815" y="1186"/>
                </a:lnTo>
                <a:lnTo>
                  <a:pt x="795" y="1181"/>
                </a:lnTo>
                <a:lnTo>
                  <a:pt x="769" y="1179"/>
                </a:lnTo>
                <a:lnTo>
                  <a:pt x="760" y="1179"/>
                </a:lnTo>
                <a:lnTo>
                  <a:pt x="744" y="1170"/>
                </a:lnTo>
                <a:lnTo>
                  <a:pt x="734" y="1162"/>
                </a:lnTo>
                <a:lnTo>
                  <a:pt x="722" y="1159"/>
                </a:lnTo>
                <a:lnTo>
                  <a:pt x="707" y="1157"/>
                </a:lnTo>
                <a:lnTo>
                  <a:pt x="693" y="1147"/>
                </a:lnTo>
                <a:lnTo>
                  <a:pt x="682" y="1140"/>
                </a:lnTo>
                <a:lnTo>
                  <a:pt x="672" y="1122"/>
                </a:lnTo>
                <a:lnTo>
                  <a:pt x="661" y="1108"/>
                </a:lnTo>
                <a:lnTo>
                  <a:pt x="652" y="1085"/>
                </a:lnTo>
                <a:lnTo>
                  <a:pt x="645" y="1074"/>
                </a:lnTo>
                <a:lnTo>
                  <a:pt x="642" y="1062"/>
                </a:lnTo>
                <a:lnTo>
                  <a:pt x="641" y="1049"/>
                </a:lnTo>
                <a:lnTo>
                  <a:pt x="636" y="1030"/>
                </a:lnTo>
                <a:lnTo>
                  <a:pt x="631" y="1020"/>
                </a:lnTo>
                <a:lnTo>
                  <a:pt x="630" y="1009"/>
                </a:lnTo>
                <a:lnTo>
                  <a:pt x="625" y="1000"/>
                </a:lnTo>
                <a:lnTo>
                  <a:pt x="612" y="990"/>
                </a:lnTo>
                <a:lnTo>
                  <a:pt x="604" y="982"/>
                </a:lnTo>
                <a:lnTo>
                  <a:pt x="599" y="977"/>
                </a:lnTo>
                <a:lnTo>
                  <a:pt x="593" y="963"/>
                </a:lnTo>
                <a:lnTo>
                  <a:pt x="585" y="950"/>
                </a:lnTo>
                <a:lnTo>
                  <a:pt x="574" y="936"/>
                </a:lnTo>
                <a:lnTo>
                  <a:pt x="564" y="923"/>
                </a:lnTo>
                <a:lnTo>
                  <a:pt x="553" y="901"/>
                </a:lnTo>
                <a:lnTo>
                  <a:pt x="544" y="877"/>
                </a:lnTo>
                <a:lnTo>
                  <a:pt x="537" y="855"/>
                </a:lnTo>
                <a:lnTo>
                  <a:pt x="533" y="844"/>
                </a:lnTo>
                <a:lnTo>
                  <a:pt x="529" y="834"/>
                </a:lnTo>
                <a:lnTo>
                  <a:pt x="522" y="817"/>
                </a:lnTo>
                <a:lnTo>
                  <a:pt x="512" y="807"/>
                </a:lnTo>
                <a:lnTo>
                  <a:pt x="501" y="795"/>
                </a:lnTo>
                <a:lnTo>
                  <a:pt x="485" y="777"/>
                </a:lnTo>
                <a:lnTo>
                  <a:pt x="477" y="765"/>
                </a:lnTo>
                <a:lnTo>
                  <a:pt x="471" y="753"/>
                </a:lnTo>
                <a:lnTo>
                  <a:pt x="466" y="747"/>
                </a:lnTo>
                <a:lnTo>
                  <a:pt x="448" y="744"/>
                </a:lnTo>
                <a:lnTo>
                  <a:pt x="421" y="744"/>
                </a:lnTo>
                <a:lnTo>
                  <a:pt x="407" y="746"/>
                </a:lnTo>
                <a:lnTo>
                  <a:pt x="382" y="744"/>
                </a:lnTo>
                <a:lnTo>
                  <a:pt x="371" y="739"/>
                </a:lnTo>
                <a:lnTo>
                  <a:pt x="363" y="736"/>
                </a:lnTo>
                <a:lnTo>
                  <a:pt x="350" y="739"/>
                </a:lnTo>
                <a:lnTo>
                  <a:pt x="347" y="747"/>
                </a:lnTo>
                <a:lnTo>
                  <a:pt x="336" y="760"/>
                </a:lnTo>
                <a:lnTo>
                  <a:pt x="326" y="773"/>
                </a:lnTo>
                <a:lnTo>
                  <a:pt x="313" y="793"/>
                </a:lnTo>
                <a:lnTo>
                  <a:pt x="304" y="804"/>
                </a:lnTo>
                <a:lnTo>
                  <a:pt x="297" y="815"/>
                </a:lnTo>
                <a:lnTo>
                  <a:pt x="293" y="825"/>
                </a:lnTo>
                <a:lnTo>
                  <a:pt x="291" y="828"/>
                </a:lnTo>
                <a:lnTo>
                  <a:pt x="288" y="828"/>
                </a:lnTo>
                <a:lnTo>
                  <a:pt x="283" y="825"/>
                </a:lnTo>
                <a:lnTo>
                  <a:pt x="274" y="820"/>
                </a:lnTo>
                <a:lnTo>
                  <a:pt x="264" y="819"/>
                </a:lnTo>
                <a:lnTo>
                  <a:pt x="255" y="815"/>
                </a:lnTo>
                <a:lnTo>
                  <a:pt x="247" y="809"/>
                </a:lnTo>
                <a:lnTo>
                  <a:pt x="232" y="798"/>
                </a:lnTo>
                <a:lnTo>
                  <a:pt x="223" y="787"/>
                </a:lnTo>
                <a:lnTo>
                  <a:pt x="213" y="779"/>
                </a:lnTo>
                <a:lnTo>
                  <a:pt x="201" y="769"/>
                </a:lnTo>
                <a:lnTo>
                  <a:pt x="188" y="758"/>
                </a:lnTo>
                <a:lnTo>
                  <a:pt x="175" y="744"/>
                </a:lnTo>
                <a:lnTo>
                  <a:pt x="169" y="733"/>
                </a:lnTo>
                <a:lnTo>
                  <a:pt x="161" y="722"/>
                </a:lnTo>
                <a:lnTo>
                  <a:pt x="158" y="711"/>
                </a:lnTo>
                <a:lnTo>
                  <a:pt x="154" y="695"/>
                </a:lnTo>
                <a:lnTo>
                  <a:pt x="154" y="680"/>
                </a:lnTo>
                <a:lnTo>
                  <a:pt x="153" y="672"/>
                </a:lnTo>
                <a:lnTo>
                  <a:pt x="151" y="661"/>
                </a:lnTo>
                <a:lnTo>
                  <a:pt x="151" y="652"/>
                </a:lnTo>
                <a:lnTo>
                  <a:pt x="147" y="639"/>
                </a:lnTo>
                <a:lnTo>
                  <a:pt x="143" y="630"/>
                </a:lnTo>
                <a:lnTo>
                  <a:pt x="139" y="622"/>
                </a:lnTo>
                <a:lnTo>
                  <a:pt x="129" y="614"/>
                </a:lnTo>
                <a:lnTo>
                  <a:pt x="120" y="604"/>
                </a:lnTo>
                <a:lnTo>
                  <a:pt x="110" y="593"/>
                </a:lnTo>
                <a:lnTo>
                  <a:pt x="94" y="579"/>
                </a:lnTo>
                <a:lnTo>
                  <a:pt x="83" y="569"/>
                </a:lnTo>
                <a:lnTo>
                  <a:pt x="73" y="561"/>
                </a:lnTo>
                <a:lnTo>
                  <a:pt x="66" y="549"/>
                </a:lnTo>
                <a:lnTo>
                  <a:pt x="61" y="542"/>
                </a:lnTo>
                <a:lnTo>
                  <a:pt x="58" y="534"/>
                </a:lnTo>
                <a:lnTo>
                  <a:pt x="54" y="529"/>
                </a:lnTo>
                <a:lnTo>
                  <a:pt x="42" y="521"/>
                </a:lnTo>
                <a:lnTo>
                  <a:pt x="35" y="515"/>
                </a:lnTo>
                <a:lnTo>
                  <a:pt x="32" y="504"/>
                </a:lnTo>
                <a:lnTo>
                  <a:pt x="27" y="498"/>
                </a:lnTo>
                <a:lnTo>
                  <a:pt x="23" y="491"/>
                </a:lnTo>
                <a:lnTo>
                  <a:pt x="13" y="485"/>
                </a:lnTo>
                <a:lnTo>
                  <a:pt x="8" y="480"/>
                </a:lnTo>
                <a:lnTo>
                  <a:pt x="0" y="475"/>
                </a:lnTo>
                <a:lnTo>
                  <a:pt x="4" y="464"/>
                </a:lnTo>
                <a:lnTo>
                  <a:pt x="7" y="458"/>
                </a:lnTo>
                <a:lnTo>
                  <a:pt x="329" y="494"/>
                </a:lnTo>
                <a:lnTo>
                  <a:pt x="372" y="0"/>
                </a:lnTo>
                <a:close/>
              </a:path>
            </a:pathLst>
          </a:custGeom>
          <a:solidFill>
            <a:schemeClr val="bg1">
              <a:lumMod val="95000"/>
            </a:schemeClr>
          </a:solidFill>
          <a:ln w="0" algn="ctr">
            <a:solidFill>
              <a:srgbClr val="808080"/>
            </a:solidFill>
            <a:round/>
            <a:headEnd/>
            <a:tailEnd/>
          </a:ln>
        </p:spPr>
        <p:txBody>
          <a:bodyPr lIns="101798" tIns="50899" rIns="101798" bIns="50899"/>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itchFamily="34" charset="0"/>
            </a:endParaRPr>
          </a:p>
        </p:txBody>
      </p:sp>
      <p:sp>
        <p:nvSpPr>
          <p:cNvPr id="15" name="State: Tennessee"/>
          <p:cNvSpPr>
            <a:spLocks/>
          </p:cNvSpPr>
          <p:nvPr/>
        </p:nvSpPr>
        <p:spPr bwMode="auto">
          <a:xfrm>
            <a:off x="4856139" y="4246350"/>
            <a:ext cx="1094341" cy="389165"/>
          </a:xfrm>
          <a:custGeom>
            <a:avLst/>
            <a:gdLst>
              <a:gd name="T0" fmla="*/ 288925 w 733"/>
              <a:gd name="T1" fmla="*/ 123825 h 253"/>
              <a:gd name="T2" fmla="*/ 485775 w 733"/>
              <a:gd name="T3" fmla="*/ 84138 h 253"/>
              <a:gd name="T4" fmla="*/ 731838 w 733"/>
              <a:gd name="T5" fmla="*/ 50800 h 253"/>
              <a:gd name="T6" fmla="*/ 915988 w 733"/>
              <a:gd name="T7" fmla="*/ 25400 h 253"/>
              <a:gd name="T8" fmla="*/ 1100138 w 733"/>
              <a:gd name="T9" fmla="*/ 4763 h 253"/>
              <a:gd name="T10" fmla="*/ 1163638 w 733"/>
              <a:gd name="T11" fmla="*/ 46038 h 253"/>
              <a:gd name="T12" fmla="*/ 1141413 w 733"/>
              <a:gd name="T13" fmla="*/ 68263 h 253"/>
              <a:gd name="T14" fmla="*/ 1125538 w 733"/>
              <a:gd name="T15" fmla="*/ 93663 h 253"/>
              <a:gd name="T16" fmla="*/ 1111250 w 733"/>
              <a:gd name="T17" fmla="*/ 96838 h 253"/>
              <a:gd name="T18" fmla="*/ 1092200 w 733"/>
              <a:gd name="T19" fmla="*/ 101600 h 253"/>
              <a:gd name="T20" fmla="*/ 1068388 w 733"/>
              <a:gd name="T21" fmla="*/ 128588 h 253"/>
              <a:gd name="T22" fmla="*/ 1057275 w 733"/>
              <a:gd name="T23" fmla="*/ 131763 h 253"/>
              <a:gd name="T24" fmla="*/ 1049338 w 733"/>
              <a:gd name="T25" fmla="*/ 122238 h 253"/>
              <a:gd name="T26" fmla="*/ 1035050 w 733"/>
              <a:gd name="T27" fmla="*/ 131763 h 253"/>
              <a:gd name="T28" fmla="*/ 1025525 w 733"/>
              <a:gd name="T29" fmla="*/ 146050 h 253"/>
              <a:gd name="T30" fmla="*/ 1014413 w 733"/>
              <a:gd name="T31" fmla="*/ 152400 h 253"/>
              <a:gd name="T32" fmla="*/ 1001713 w 733"/>
              <a:gd name="T33" fmla="*/ 171450 h 253"/>
              <a:gd name="T34" fmla="*/ 992188 w 733"/>
              <a:gd name="T35" fmla="*/ 177800 h 253"/>
              <a:gd name="T36" fmla="*/ 976313 w 733"/>
              <a:gd name="T37" fmla="*/ 187325 h 253"/>
              <a:gd name="T38" fmla="*/ 957263 w 733"/>
              <a:gd name="T39" fmla="*/ 204788 h 253"/>
              <a:gd name="T40" fmla="*/ 941388 w 733"/>
              <a:gd name="T41" fmla="*/ 222250 h 253"/>
              <a:gd name="T42" fmla="*/ 908050 w 733"/>
              <a:gd name="T43" fmla="*/ 225425 h 253"/>
              <a:gd name="T44" fmla="*/ 890588 w 733"/>
              <a:gd name="T45" fmla="*/ 234950 h 253"/>
              <a:gd name="T46" fmla="*/ 865188 w 733"/>
              <a:gd name="T47" fmla="*/ 263525 h 253"/>
              <a:gd name="T48" fmla="*/ 865188 w 733"/>
              <a:gd name="T49" fmla="*/ 293688 h 253"/>
              <a:gd name="T50" fmla="*/ 833438 w 733"/>
              <a:gd name="T51" fmla="*/ 295275 h 253"/>
              <a:gd name="T52" fmla="*/ 817563 w 733"/>
              <a:gd name="T53" fmla="*/ 311150 h 253"/>
              <a:gd name="T54" fmla="*/ 800100 w 733"/>
              <a:gd name="T55" fmla="*/ 328613 h 253"/>
              <a:gd name="T56" fmla="*/ 280988 w 733"/>
              <a:gd name="T57" fmla="*/ 388938 h 253"/>
              <a:gd name="T58" fmla="*/ 15875 w 733"/>
              <a:gd name="T59" fmla="*/ 385763 h 253"/>
              <a:gd name="T60" fmla="*/ 20638 w 733"/>
              <a:gd name="T61" fmla="*/ 368300 h 253"/>
              <a:gd name="T62" fmla="*/ 11113 w 733"/>
              <a:gd name="T63" fmla="*/ 354013 h 253"/>
              <a:gd name="T64" fmla="*/ 12700 w 733"/>
              <a:gd name="T65" fmla="*/ 341313 h 253"/>
              <a:gd name="T66" fmla="*/ 25400 w 733"/>
              <a:gd name="T67" fmla="*/ 315913 h 253"/>
              <a:gd name="T68" fmla="*/ 38100 w 733"/>
              <a:gd name="T69" fmla="*/ 303213 h 253"/>
              <a:gd name="T70" fmla="*/ 36513 w 733"/>
              <a:gd name="T71" fmla="*/ 287338 h 253"/>
              <a:gd name="T72" fmla="*/ 42863 w 733"/>
              <a:gd name="T73" fmla="*/ 273050 h 253"/>
              <a:gd name="T74" fmla="*/ 55563 w 733"/>
              <a:gd name="T75" fmla="*/ 260350 h 253"/>
              <a:gd name="T76" fmla="*/ 66675 w 733"/>
              <a:gd name="T77" fmla="*/ 239713 h 253"/>
              <a:gd name="T78" fmla="*/ 68263 w 733"/>
              <a:gd name="T79" fmla="*/ 217488 h 253"/>
              <a:gd name="T80" fmla="*/ 76200 w 733"/>
              <a:gd name="T81" fmla="*/ 200025 h 253"/>
              <a:gd name="T82" fmla="*/ 80963 w 733"/>
              <a:gd name="T83" fmla="*/ 177800 h 253"/>
              <a:gd name="T84" fmla="*/ 85725 w 733"/>
              <a:gd name="T85" fmla="*/ 153988 h 25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733"/>
              <a:gd name="T130" fmla="*/ 0 h 253"/>
              <a:gd name="T131" fmla="*/ 733 w 733"/>
              <a:gd name="T132" fmla="*/ 253 h 25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733" h="253">
                <a:moveTo>
                  <a:pt x="59" y="89"/>
                </a:moveTo>
                <a:lnTo>
                  <a:pt x="182" y="78"/>
                </a:lnTo>
                <a:lnTo>
                  <a:pt x="182" y="61"/>
                </a:lnTo>
                <a:lnTo>
                  <a:pt x="306" y="53"/>
                </a:lnTo>
                <a:lnTo>
                  <a:pt x="379" y="42"/>
                </a:lnTo>
                <a:lnTo>
                  <a:pt x="461" y="32"/>
                </a:lnTo>
                <a:lnTo>
                  <a:pt x="517" y="24"/>
                </a:lnTo>
                <a:lnTo>
                  <a:pt x="577" y="16"/>
                </a:lnTo>
                <a:lnTo>
                  <a:pt x="628" y="15"/>
                </a:lnTo>
                <a:lnTo>
                  <a:pt x="693" y="3"/>
                </a:lnTo>
                <a:lnTo>
                  <a:pt x="731" y="0"/>
                </a:lnTo>
                <a:lnTo>
                  <a:pt x="733" y="29"/>
                </a:lnTo>
                <a:lnTo>
                  <a:pt x="725" y="35"/>
                </a:lnTo>
                <a:lnTo>
                  <a:pt x="719" y="43"/>
                </a:lnTo>
                <a:lnTo>
                  <a:pt x="712" y="53"/>
                </a:lnTo>
                <a:lnTo>
                  <a:pt x="709" y="59"/>
                </a:lnTo>
                <a:lnTo>
                  <a:pt x="704" y="64"/>
                </a:lnTo>
                <a:lnTo>
                  <a:pt x="700" y="61"/>
                </a:lnTo>
                <a:lnTo>
                  <a:pt x="695" y="59"/>
                </a:lnTo>
                <a:lnTo>
                  <a:pt x="688" y="64"/>
                </a:lnTo>
                <a:lnTo>
                  <a:pt x="680" y="73"/>
                </a:lnTo>
                <a:lnTo>
                  <a:pt x="673" y="81"/>
                </a:lnTo>
                <a:lnTo>
                  <a:pt x="671" y="85"/>
                </a:lnTo>
                <a:lnTo>
                  <a:pt x="666" y="83"/>
                </a:lnTo>
                <a:lnTo>
                  <a:pt x="665" y="80"/>
                </a:lnTo>
                <a:lnTo>
                  <a:pt x="661" y="77"/>
                </a:lnTo>
                <a:lnTo>
                  <a:pt x="655" y="80"/>
                </a:lnTo>
                <a:lnTo>
                  <a:pt x="652" y="83"/>
                </a:lnTo>
                <a:lnTo>
                  <a:pt x="647" y="89"/>
                </a:lnTo>
                <a:lnTo>
                  <a:pt x="646" y="92"/>
                </a:lnTo>
                <a:lnTo>
                  <a:pt x="641" y="92"/>
                </a:lnTo>
                <a:lnTo>
                  <a:pt x="639" y="96"/>
                </a:lnTo>
                <a:lnTo>
                  <a:pt x="636" y="102"/>
                </a:lnTo>
                <a:lnTo>
                  <a:pt x="631" y="108"/>
                </a:lnTo>
                <a:lnTo>
                  <a:pt x="630" y="112"/>
                </a:lnTo>
                <a:lnTo>
                  <a:pt x="625" y="112"/>
                </a:lnTo>
                <a:lnTo>
                  <a:pt x="622" y="116"/>
                </a:lnTo>
                <a:lnTo>
                  <a:pt x="615" y="118"/>
                </a:lnTo>
                <a:lnTo>
                  <a:pt x="609" y="124"/>
                </a:lnTo>
                <a:lnTo>
                  <a:pt x="603" y="129"/>
                </a:lnTo>
                <a:lnTo>
                  <a:pt x="598" y="134"/>
                </a:lnTo>
                <a:lnTo>
                  <a:pt x="593" y="140"/>
                </a:lnTo>
                <a:lnTo>
                  <a:pt x="587" y="143"/>
                </a:lnTo>
                <a:lnTo>
                  <a:pt x="572" y="142"/>
                </a:lnTo>
                <a:lnTo>
                  <a:pt x="566" y="145"/>
                </a:lnTo>
                <a:lnTo>
                  <a:pt x="561" y="148"/>
                </a:lnTo>
                <a:lnTo>
                  <a:pt x="549" y="162"/>
                </a:lnTo>
                <a:lnTo>
                  <a:pt x="545" y="166"/>
                </a:lnTo>
                <a:lnTo>
                  <a:pt x="545" y="178"/>
                </a:lnTo>
                <a:lnTo>
                  <a:pt x="545" y="185"/>
                </a:lnTo>
                <a:lnTo>
                  <a:pt x="528" y="181"/>
                </a:lnTo>
                <a:lnTo>
                  <a:pt x="525" y="186"/>
                </a:lnTo>
                <a:lnTo>
                  <a:pt x="520" y="189"/>
                </a:lnTo>
                <a:lnTo>
                  <a:pt x="515" y="196"/>
                </a:lnTo>
                <a:lnTo>
                  <a:pt x="509" y="202"/>
                </a:lnTo>
                <a:lnTo>
                  <a:pt x="504" y="207"/>
                </a:lnTo>
                <a:lnTo>
                  <a:pt x="503" y="213"/>
                </a:lnTo>
                <a:lnTo>
                  <a:pt x="177" y="245"/>
                </a:lnTo>
                <a:lnTo>
                  <a:pt x="0" y="253"/>
                </a:lnTo>
                <a:lnTo>
                  <a:pt x="10" y="243"/>
                </a:lnTo>
                <a:lnTo>
                  <a:pt x="13" y="239"/>
                </a:lnTo>
                <a:lnTo>
                  <a:pt x="13" y="232"/>
                </a:lnTo>
                <a:lnTo>
                  <a:pt x="10" y="228"/>
                </a:lnTo>
                <a:lnTo>
                  <a:pt x="7" y="223"/>
                </a:lnTo>
                <a:lnTo>
                  <a:pt x="7" y="220"/>
                </a:lnTo>
                <a:lnTo>
                  <a:pt x="8" y="215"/>
                </a:lnTo>
                <a:lnTo>
                  <a:pt x="13" y="204"/>
                </a:lnTo>
                <a:lnTo>
                  <a:pt x="16" y="199"/>
                </a:lnTo>
                <a:lnTo>
                  <a:pt x="23" y="196"/>
                </a:lnTo>
                <a:lnTo>
                  <a:pt x="24" y="191"/>
                </a:lnTo>
                <a:lnTo>
                  <a:pt x="24" y="186"/>
                </a:lnTo>
                <a:lnTo>
                  <a:pt x="23" y="181"/>
                </a:lnTo>
                <a:lnTo>
                  <a:pt x="24" y="175"/>
                </a:lnTo>
                <a:lnTo>
                  <a:pt x="27" y="172"/>
                </a:lnTo>
                <a:lnTo>
                  <a:pt x="31" y="169"/>
                </a:lnTo>
                <a:lnTo>
                  <a:pt x="35" y="164"/>
                </a:lnTo>
                <a:lnTo>
                  <a:pt x="42" y="156"/>
                </a:lnTo>
                <a:lnTo>
                  <a:pt x="42" y="151"/>
                </a:lnTo>
                <a:lnTo>
                  <a:pt x="43" y="143"/>
                </a:lnTo>
                <a:lnTo>
                  <a:pt x="43" y="137"/>
                </a:lnTo>
                <a:lnTo>
                  <a:pt x="47" y="132"/>
                </a:lnTo>
                <a:lnTo>
                  <a:pt x="48" y="126"/>
                </a:lnTo>
                <a:lnTo>
                  <a:pt x="48" y="119"/>
                </a:lnTo>
                <a:lnTo>
                  <a:pt x="51" y="112"/>
                </a:lnTo>
                <a:lnTo>
                  <a:pt x="51" y="105"/>
                </a:lnTo>
                <a:lnTo>
                  <a:pt x="54" y="97"/>
                </a:lnTo>
                <a:lnTo>
                  <a:pt x="59" y="89"/>
                </a:lnTo>
                <a:close/>
              </a:path>
            </a:pathLst>
          </a:custGeom>
          <a:solidFill>
            <a:schemeClr val="bg1">
              <a:lumMod val="95000"/>
            </a:schemeClr>
          </a:solidFill>
          <a:ln w="0" algn="ctr">
            <a:solidFill>
              <a:srgbClr val="808080"/>
            </a:solidFill>
            <a:round/>
            <a:headEnd/>
            <a:tailEnd/>
          </a:ln>
        </p:spPr>
        <p:txBody>
          <a:bodyPr lIns="101798" tIns="50899" rIns="101798" bIns="50899"/>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endParaRPr>
          </a:p>
        </p:txBody>
      </p:sp>
      <p:sp>
        <p:nvSpPr>
          <p:cNvPr id="16" name="State: South Dakota"/>
          <p:cNvSpPr>
            <a:spLocks/>
          </p:cNvSpPr>
          <p:nvPr/>
        </p:nvSpPr>
        <p:spPr bwMode="auto">
          <a:xfrm>
            <a:off x="3145199" y="2737375"/>
            <a:ext cx="907720" cy="632201"/>
          </a:xfrm>
          <a:custGeom>
            <a:avLst/>
            <a:gdLst>
              <a:gd name="T0" fmla="*/ 2147483647 w 608"/>
              <a:gd name="T1" fmla="*/ 2147483647 h 411"/>
              <a:gd name="T2" fmla="*/ 2147483647 w 608"/>
              <a:gd name="T3" fmla="*/ 2147483647 h 411"/>
              <a:gd name="T4" fmla="*/ 2147483647 w 608"/>
              <a:gd name="T5" fmla="*/ 2147483647 h 411"/>
              <a:gd name="T6" fmla="*/ 2147483647 w 608"/>
              <a:gd name="T7" fmla="*/ 2147483647 h 411"/>
              <a:gd name="T8" fmla="*/ 2147483647 w 608"/>
              <a:gd name="T9" fmla="*/ 2147483647 h 411"/>
              <a:gd name="T10" fmla="*/ 2147483647 w 608"/>
              <a:gd name="T11" fmla="*/ 2147483647 h 411"/>
              <a:gd name="T12" fmla="*/ 2147483647 w 608"/>
              <a:gd name="T13" fmla="*/ 2147483647 h 411"/>
              <a:gd name="T14" fmla="*/ 2147483647 w 608"/>
              <a:gd name="T15" fmla="*/ 2147483647 h 411"/>
              <a:gd name="T16" fmla="*/ 2147483647 w 608"/>
              <a:gd name="T17" fmla="*/ 2147483647 h 411"/>
              <a:gd name="T18" fmla="*/ 2147483647 w 608"/>
              <a:gd name="T19" fmla="*/ 2147483647 h 411"/>
              <a:gd name="T20" fmla="*/ 2147483647 w 608"/>
              <a:gd name="T21" fmla="*/ 2147483647 h 411"/>
              <a:gd name="T22" fmla="*/ 2147483647 w 608"/>
              <a:gd name="T23" fmla="*/ 2147483647 h 411"/>
              <a:gd name="T24" fmla="*/ 2147483647 w 608"/>
              <a:gd name="T25" fmla="*/ 2147483647 h 411"/>
              <a:gd name="T26" fmla="*/ 2147483647 w 608"/>
              <a:gd name="T27" fmla="*/ 2147483647 h 411"/>
              <a:gd name="T28" fmla="*/ 2147483647 w 608"/>
              <a:gd name="T29" fmla="*/ 2147483647 h 411"/>
              <a:gd name="T30" fmla="*/ 2147483647 w 608"/>
              <a:gd name="T31" fmla="*/ 2147483647 h 411"/>
              <a:gd name="T32" fmla="*/ 2147483647 w 608"/>
              <a:gd name="T33" fmla="*/ 2147483647 h 411"/>
              <a:gd name="T34" fmla="*/ 2147483647 w 608"/>
              <a:gd name="T35" fmla="*/ 2147483647 h 411"/>
              <a:gd name="T36" fmla="*/ 2147483647 w 608"/>
              <a:gd name="T37" fmla="*/ 2147483647 h 411"/>
              <a:gd name="T38" fmla="*/ 2147483647 w 608"/>
              <a:gd name="T39" fmla="*/ 2147483647 h 411"/>
              <a:gd name="T40" fmla="*/ 2147483647 w 608"/>
              <a:gd name="T41" fmla="*/ 2147483647 h 411"/>
              <a:gd name="T42" fmla="*/ 2147483647 w 608"/>
              <a:gd name="T43" fmla="*/ 2147483647 h 411"/>
              <a:gd name="T44" fmla="*/ 2147483647 w 608"/>
              <a:gd name="T45" fmla="*/ 2147483647 h 411"/>
              <a:gd name="T46" fmla="*/ 2147483647 w 608"/>
              <a:gd name="T47" fmla="*/ 2147483647 h 411"/>
              <a:gd name="T48" fmla="*/ 2147483647 w 608"/>
              <a:gd name="T49" fmla="*/ 2147483647 h 411"/>
              <a:gd name="T50" fmla="*/ 2147483647 w 608"/>
              <a:gd name="T51" fmla="*/ 2147483647 h 411"/>
              <a:gd name="T52" fmla="*/ 2147483647 w 608"/>
              <a:gd name="T53" fmla="*/ 2147483647 h 411"/>
              <a:gd name="T54" fmla="*/ 2147483647 w 608"/>
              <a:gd name="T55" fmla="*/ 2147483647 h 411"/>
              <a:gd name="T56" fmla="*/ 2147483647 w 608"/>
              <a:gd name="T57" fmla="*/ 2147483647 h 411"/>
              <a:gd name="T58" fmla="*/ 2147483647 w 608"/>
              <a:gd name="T59" fmla="*/ 2147483647 h 411"/>
              <a:gd name="T60" fmla="*/ 2147483647 w 608"/>
              <a:gd name="T61" fmla="*/ 2147483647 h 411"/>
              <a:gd name="T62" fmla="*/ 2147483647 w 608"/>
              <a:gd name="T63" fmla="*/ 2147483647 h 411"/>
              <a:gd name="T64" fmla="*/ 2147483647 w 608"/>
              <a:gd name="T65" fmla="*/ 2147483647 h 411"/>
              <a:gd name="T66" fmla="*/ 2147483647 w 608"/>
              <a:gd name="T67" fmla="*/ 2147483647 h 411"/>
              <a:gd name="T68" fmla="*/ 2147483647 w 608"/>
              <a:gd name="T69" fmla="*/ 2147483647 h 411"/>
              <a:gd name="T70" fmla="*/ 2147483647 w 608"/>
              <a:gd name="T71" fmla="*/ 2147483647 h 411"/>
              <a:gd name="T72" fmla="*/ 2147483647 w 608"/>
              <a:gd name="T73" fmla="*/ 0 h 41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08"/>
              <a:gd name="T112" fmla="*/ 0 h 411"/>
              <a:gd name="T113" fmla="*/ 608 w 608"/>
              <a:gd name="T114" fmla="*/ 411 h 41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08" h="411">
                <a:moveTo>
                  <a:pt x="33" y="0"/>
                </a:moveTo>
                <a:lnTo>
                  <a:pt x="600" y="33"/>
                </a:lnTo>
                <a:lnTo>
                  <a:pt x="600" y="41"/>
                </a:lnTo>
                <a:lnTo>
                  <a:pt x="599" y="44"/>
                </a:lnTo>
                <a:lnTo>
                  <a:pt x="597" y="51"/>
                </a:lnTo>
                <a:lnTo>
                  <a:pt x="591" y="55"/>
                </a:lnTo>
                <a:lnTo>
                  <a:pt x="585" y="60"/>
                </a:lnTo>
                <a:lnTo>
                  <a:pt x="580" y="65"/>
                </a:lnTo>
                <a:lnTo>
                  <a:pt x="578" y="68"/>
                </a:lnTo>
                <a:lnTo>
                  <a:pt x="578" y="73"/>
                </a:lnTo>
                <a:lnTo>
                  <a:pt x="578" y="76"/>
                </a:lnTo>
                <a:lnTo>
                  <a:pt x="581" y="82"/>
                </a:lnTo>
                <a:lnTo>
                  <a:pt x="591" y="89"/>
                </a:lnTo>
                <a:lnTo>
                  <a:pt x="597" y="95"/>
                </a:lnTo>
                <a:lnTo>
                  <a:pt x="605" y="100"/>
                </a:lnTo>
                <a:lnTo>
                  <a:pt x="608" y="106"/>
                </a:lnTo>
                <a:lnTo>
                  <a:pt x="604" y="303"/>
                </a:lnTo>
                <a:lnTo>
                  <a:pt x="599" y="305"/>
                </a:lnTo>
                <a:lnTo>
                  <a:pt x="594" y="303"/>
                </a:lnTo>
                <a:lnTo>
                  <a:pt x="591" y="306"/>
                </a:lnTo>
                <a:lnTo>
                  <a:pt x="591" y="309"/>
                </a:lnTo>
                <a:lnTo>
                  <a:pt x="591" y="314"/>
                </a:lnTo>
                <a:lnTo>
                  <a:pt x="596" y="316"/>
                </a:lnTo>
                <a:lnTo>
                  <a:pt x="599" y="317"/>
                </a:lnTo>
                <a:lnTo>
                  <a:pt x="600" y="321"/>
                </a:lnTo>
                <a:lnTo>
                  <a:pt x="597" y="324"/>
                </a:lnTo>
                <a:lnTo>
                  <a:pt x="594" y="329"/>
                </a:lnTo>
                <a:lnTo>
                  <a:pt x="596" y="333"/>
                </a:lnTo>
                <a:lnTo>
                  <a:pt x="597" y="335"/>
                </a:lnTo>
                <a:lnTo>
                  <a:pt x="600" y="338"/>
                </a:lnTo>
                <a:lnTo>
                  <a:pt x="605" y="340"/>
                </a:lnTo>
                <a:lnTo>
                  <a:pt x="605" y="346"/>
                </a:lnTo>
                <a:lnTo>
                  <a:pt x="600" y="352"/>
                </a:lnTo>
                <a:lnTo>
                  <a:pt x="599" y="363"/>
                </a:lnTo>
                <a:lnTo>
                  <a:pt x="597" y="367"/>
                </a:lnTo>
                <a:lnTo>
                  <a:pt x="596" y="373"/>
                </a:lnTo>
                <a:lnTo>
                  <a:pt x="594" y="375"/>
                </a:lnTo>
                <a:lnTo>
                  <a:pt x="593" y="379"/>
                </a:lnTo>
                <a:lnTo>
                  <a:pt x="589" y="383"/>
                </a:lnTo>
                <a:lnTo>
                  <a:pt x="591" y="386"/>
                </a:lnTo>
                <a:lnTo>
                  <a:pt x="596" y="397"/>
                </a:lnTo>
                <a:lnTo>
                  <a:pt x="597" y="403"/>
                </a:lnTo>
                <a:lnTo>
                  <a:pt x="597" y="408"/>
                </a:lnTo>
                <a:lnTo>
                  <a:pt x="596" y="411"/>
                </a:lnTo>
                <a:lnTo>
                  <a:pt x="589" y="411"/>
                </a:lnTo>
                <a:lnTo>
                  <a:pt x="588" y="402"/>
                </a:lnTo>
                <a:lnTo>
                  <a:pt x="581" y="397"/>
                </a:lnTo>
                <a:lnTo>
                  <a:pt x="575" y="392"/>
                </a:lnTo>
                <a:lnTo>
                  <a:pt x="564" y="389"/>
                </a:lnTo>
                <a:lnTo>
                  <a:pt x="558" y="387"/>
                </a:lnTo>
                <a:lnTo>
                  <a:pt x="551" y="384"/>
                </a:lnTo>
                <a:lnTo>
                  <a:pt x="545" y="376"/>
                </a:lnTo>
                <a:lnTo>
                  <a:pt x="537" y="375"/>
                </a:lnTo>
                <a:lnTo>
                  <a:pt x="529" y="371"/>
                </a:lnTo>
                <a:lnTo>
                  <a:pt x="516" y="373"/>
                </a:lnTo>
                <a:lnTo>
                  <a:pt x="504" y="373"/>
                </a:lnTo>
                <a:lnTo>
                  <a:pt x="491" y="371"/>
                </a:lnTo>
                <a:lnTo>
                  <a:pt x="486" y="378"/>
                </a:lnTo>
                <a:lnTo>
                  <a:pt x="472" y="378"/>
                </a:lnTo>
                <a:lnTo>
                  <a:pt x="461" y="371"/>
                </a:lnTo>
                <a:lnTo>
                  <a:pt x="448" y="363"/>
                </a:lnTo>
                <a:lnTo>
                  <a:pt x="442" y="356"/>
                </a:lnTo>
                <a:lnTo>
                  <a:pt x="430" y="354"/>
                </a:lnTo>
                <a:lnTo>
                  <a:pt x="397" y="352"/>
                </a:lnTo>
                <a:lnTo>
                  <a:pt x="368" y="349"/>
                </a:lnTo>
                <a:lnTo>
                  <a:pt x="321" y="349"/>
                </a:lnTo>
                <a:lnTo>
                  <a:pt x="280" y="344"/>
                </a:lnTo>
                <a:lnTo>
                  <a:pt x="227" y="340"/>
                </a:lnTo>
                <a:lnTo>
                  <a:pt x="181" y="336"/>
                </a:lnTo>
                <a:lnTo>
                  <a:pt x="125" y="333"/>
                </a:lnTo>
                <a:lnTo>
                  <a:pt x="82" y="329"/>
                </a:lnTo>
                <a:lnTo>
                  <a:pt x="46" y="325"/>
                </a:lnTo>
                <a:lnTo>
                  <a:pt x="0" y="327"/>
                </a:lnTo>
                <a:lnTo>
                  <a:pt x="33" y="0"/>
                </a:lnTo>
                <a:close/>
              </a:path>
            </a:pathLst>
          </a:custGeom>
          <a:solidFill>
            <a:schemeClr val="bg1">
              <a:lumMod val="95000"/>
            </a:schemeClr>
          </a:solidFill>
          <a:ln w="0" algn="ctr">
            <a:solidFill>
              <a:srgbClr val="808080"/>
            </a:solidFill>
            <a:round/>
            <a:headEnd/>
            <a:tailEnd/>
          </a:ln>
        </p:spPr>
        <p:txBody>
          <a:bodyPr lIns="101798" tIns="50899" rIns="101798" bIns="50899"/>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endParaRPr>
          </a:p>
        </p:txBody>
      </p:sp>
      <p:sp>
        <p:nvSpPr>
          <p:cNvPr id="17" name="State: South Carolina"/>
          <p:cNvSpPr>
            <a:spLocks/>
          </p:cNvSpPr>
          <p:nvPr/>
        </p:nvSpPr>
        <p:spPr bwMode="auto">
          <a:xfrm>
            <a:off x="5784753" y="4484771"/>
            <a:ext cx="653917" cy="519912"/>
          </a:xfrm>
          <a:custGeom>
            <a:avLst/>
            <a:gdLst>
              <a:gd name="T0" fmla="*/ 2147483647 w 438"/>
              <a:gd name="T1" fmla="*/ 2147483647 h 338"/>
              <a:gd name="T2" fmla="*/ 2147483647 w 438"/>
              <a:gd name="T3" fmla="*/ 2147483647 h 338"/>
              <a:gd name="T4" fmla="*/ 2147483647 w 438"/>
              <a:gd name="T5" fmla="*/ 2147483647 h 338"/>
              <a:gd name="T6" fmla="*/ 2147483647 w 438"/>
              <a:gd name="T7" fmla="*/ 2147483647 h 338"/>
              <a:gd name="T8" fmla="*/ 2147483647 w 438"/>
              <a:gd name="T9" fmla="*/ 0 h 338"/>
              <a:gd name="T10" fmla="*/ 2147483647 w 438"/>
              <a:gd name="T11" fmla="*/ 2147483647 h 338"/>
              <a:gd name="T12" fmla="*/ 2147483647 w 438"/>
              <a:gd name="T13" fmla="*/ 2147483647 h 338"/>
              <a:gd name="T14" fmla="*/ 2147483647 w 438"/>
              <a:gd name="T15" fmla="*/ 2147483647 h 338"/>
              <a:gd name="T16" fmla="*/ 2147483647 w 438"/>
              <a:gd name="T17" fmla="*/ 2147483647 h 338"/>
              <a:gd name="T18" fmla="*/ 2147483647 w 438"/>
              <a:gd name="T19" fmla="*/ 2147483647 h 338"/>
              <a:gd name="T20" fmla="*/ 2147483647 w 438"/>
              <a:gd name="T21" fmla="*/ 2147483647 h 338"/>
              <a:gd name="T22" fmla="*/ 2147483647 w 438"/>
              <a:gd name="T23" fmla="*/ 2147483647 h 338"/>
              <a:gd name="T24" fmla="*/ 2147483647 w 438"/>
              <a:gd name="T25" fmla="*/ 2147483647 h 338"/>
              <a:gd name="T26" fmla="*/ 2147483647 w 438"/>
              <a:gd name="T27" fmla="*/ 2147483647 h 338"/>
              <a:gd name="T28" fmla="*/ 2147483647 w 438"/>
              <a:gd name="T29" fmla="*/ 2147483647 h 338"/>
              <a:gd name="T30" fmla="*/ 2147483647 w 438"/>
              <a:gd name="T31" fmla="*/ 2147483647 h 338"/>
              <a:gd name="T32" fmla="*/ 2147483647 w 438"/>
              <a:gd name="T33" fmla="*/ 2147483647 h 338"/>
              <a:gd name="T34" fmla="*/ 2147483647 w 438"/>
              <a:gd name="T35" fmla="*/ 2147483647 h 338"/>
              <a:gd name="T36" fmla="*/ 2147483647 w 438"/>
              <a:gd name="T37" fmla="*/ 2147483647 h 338"/>
              <a:gd name="T38" fmla="*/ 2147483647 w 438"/>
              <a:gd name="T39" fmla="*/ 2147483647 h 338"/>
              <a:gd name="T40" fmla="*/ 2147483647 w 438"/>
              <a:gd name="T41" fmla="*/ 2147483647 h 338"/>
              <a:gd name="T42" fmla="*/ 2147483647 w 438"/>
              <a:gd name="T43" fmla="*/ 2147483647 h 338"/>
              <a:gd name="T44" fmla="*/ 2147483647 w 438"/>
              <a:gd name="T45" fmla="*/ 2147483647 h 338"/>
              <a:gd name="T46" fmla="*/ 2147483647 w 438"/>
              <a:gd name="T47" fmla="*/ 2147483647 h 338"/>
              <a:gd name="T48" fmla="*/ 2147483647 w 438"/>
              <a:gd name="T49" fmla="*/ 2147483647 h 338"/>
              <a:gd name="T50" fmla="*/ 2147483647 w 438"/>
              <a:gd name="T51" fmla="*/ 2147483647 h 338"/>
              <a:gd name="T52" fmla="*/ 2147483647 w 438"/>
              <a:gd name="T53" fmla="*/ 2147483647 h 338"/>
              <a:gd name="T54" fmla="*/ 2147483647 w 438"/>
              <a:gd name="T55" fmla="*/ 2147483647 h 338"/>
              <a:gd name="T56" fmla="*/ 2147483647 w 438"/>
              <a:gd name="T57" fmla="*/ 2147483647 h 338"/>
              <a:gd name="T58" fmla="*/ 2147483647 w 438"/>
              <a:gd name="T59" fmla="*/ 2147483647 h 338"/>
              <a:gd name="T60" fmla="*/ 2147483647 w 438"/>
              <a:gd name="T61" fmla="*/ 2147483647 h 338"/>
              <a:gd name="T62" fmla="*/ 2147483647 w 438"/>
              <a:gd name="T63" fmla="*/ 2147483647 h 338"/>
              <a:gd name="T64" fmla="*/ 2147483647 w 438"/>
              <a:gd name="T65" fmla="*/ 2147483647 h 338"/>
              <a:gd name="T66" fmla="*/ 2147483647 w 438"/>
              <a:gd name="T67" fmla="*/ 2147483647 h 338"/>
              <a:gd name="T68" fmla="*/ 2147483647 w 438"/>
              <a:gd name="T69" fmla="*/ 2147483647 h 338"/>
              <a:gd name="T70" fmla="*/ 2147483647 w 438"/>
              <a:gd name="T71" fmla="*/ 2147483647 h 338"/>
              <a:gd name="T72" fmla="*/ 2147483647 w 438"/>
              <a:gd name="T73" fmla="*/ 2147483647 h 338"/>
              <a:gd name="T74" fmla="*/ 2147483647 w 438"/>
              <a:gd name="T75" fmla="*/ 2147483647 h 338"/>
              <a:gd name="T76" fmla="*/ 2147483647 w 438"/>
              <a:gd name="T77" fmla="*/ 2147483647 h 338"/>
              <a:gd name="T78" fmla="*/ 2147483647 w 438"/>
              <a:gd name="T79" fmla="*/ 2147483647 h 338"/>
              <a:gd name="T80" fmla="*/ 2147483647 w 438"/>
              <a:gd name="T81" fmla="*/ 2147483647 h 338"/>
              <a:gd name="T82" fmla="*/ 2147483647 w 438"/>
              <a:gd name="T83" fmla="*/ 2147483647 h 338"/>
              <a:gd name="T84" fmla="*/ 2147483647 w 438"/>
              <a:gd name="T85" fmla="*/ 2147483647 h 338"/>
              <a:gd name="T86" fmla="*/ 2147483647 w 438"/>
              <a:gd name="T87" fmla="*/ 2147483647 h 338"/>
              <a:gd name="T88" fmla="*/ 2147483647 w 438"/>
              <a:gd name="T89" fmla="*/ 2147483647 h 338"/>
              <a:gd name="T90" fmla="*/ 2147483647 w 438"/>
              <a:gd name="T91" fmla="*/ 2147483647 h 338"/>
              <a:gd name="T92" fmla="*/ 2147483647 w 438"/>
              <a:gd name="T93" fmla="*/ 2147483647 h 338"/>
              <a:gd name="T94" fmla="*/ 2147483647 w 438"/>
              <a:gd name="T95" fmla="*/ 2147483647 h 338"/>
              <a:gd name="T96" fmla="*/ 2147483647 w 438"/>
              <a:gd name="T97" fmla="*/ 2147483647 h 338"/>
              <a:gd name="T98" fmla="*/ 2147483647 w 438"/>
              <a:gd name="T99" fmla="*/ 2147483647 h 338"/>
              <a:gd name="T100" fmla="*/ 2147483647 w 438"/>
              <a:gd name="T101" fmla="*/ 2147483647 h 338"/>
              <a:gd name="T102" fmla="*/ 2147483647 w 438"/>
              <a:gd name="T103" fmla="*/ 2147483647 h 338"/>
              <a:gd name="T104" fmla="*/ 2147483647 w 438"/>
              <a:gd name="T105" fmla="*/ 2147483647 h 338"/>
              <a:gd name="T106" fmla="*/ 2147483647 w 438"/>
              <a:gd name="T107" fmla="*/ 2147483647 h 338"/>
              <a:gd name="T108" fmla="*/ 2147483647 w 438"/>
              <a:gd name="T109" fmla="*/ 2147483647 h 338"/>
              <a:gd name="T110" fmla="*/ 2147483647 w 438"/>
              <a:gd name="T111" fmla="*/ 2147483647 h 338"/>
              <a:gd name="T112" fmla="*/ 2147483647 w 438"/>
              <a:gd name="T113" fmla="*/ 2147483647 h 338"/>
              <a:gd name="T114" fmla="*/ 2147483647 w 438"/>
              <a:gd name="T115" fmla="*/ 2147483647 h 338"/>
              <a:gd name="T116" fmla="*/ 2147483647 w 438"/>
              <a:gd name="T117" fmla="*/ 2147483647 h 338"/>
              <a:gd name="T118" fmla="*/ 2147483647 w 438"/>
              <a:gd name="T119" fmla="*/ 2147483647 h 338"/>
              <a:gd name="T120" fmla="*/ 0 w 438"/>
              <a:gd name="T121" fmla="*/ 2147483647 h 338"/>
              <a:gd name="T122" fmla="*/ 2147483647 w 438"/>
              <a:gd name="T123" fmla="*/ 2147483647 h 338"/>
              <a:gd name="T124" fmla="*/ 2147483647 w 438"/>
              <a:gd name="T125" fmla="*/ 2147483647 h 33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38"/>
              <a:gd name="T190" fmla="*/ 0 h 338"/>
              <a:gd name="T191" fmla="*/ 438 w 438"/>
              <a:gd name="T192" fmla="*/ 338 h 33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38" h="338">
                <a:moveTo>
                  <a:pt x="17" y="39"/>
                </a:moveTo>
                <a:lnTo>
                  <a:pt x="35" y="31"/>
                </a:lnTo>
                <a:lnTo>
                  <a:pt x="54" y="23"/>
                </a:lnTo>
                <a:lnTo>
                  <a:pt x="71" y="12"/>
                </a:lnTo>
                <a:lnTo>
                  <a:pt x="83" y="6"/>
                </a:lnTo>
                <a:lnTo>
                  <a:pt x="103" y="6"/>
                </a:lnTo>
                <a:lnTo>
                  <a:pt x="121" y="4"/>
                </a:lnTo>
                <a:lnTo>
                  <a:pt x="137" y="3"/>
                </a:lnTo>
                <a:lnTo>
                  <a:pt x="157" y="4"/>
                </a:lnTo>
                <a:lnTo>
                  <a:pt x="178" y="0"/>
                </a:lnTo>
                <a:lnTo>
                  <a:pt x="192" y="0"/>
                </a:lnTo>
                <a:lnTo>
                  <a:pt x="202" y="8"/>
                </a:lnTo>
                <a:lnTo>
                  <a:pt x="214" y="8"/>
                </a:lnTo>
                <a:lnTo>
                  <a:pt x="221" y="14"/>
                </a:lnTo>
                <a:lnTo>
                  <a:pt x="226" y="22"/>
                </a:lnTo>
                <a:lnTo>
                  <a:pt x="227" y="31"/>
                </a:lnTo>
                <a:lnTo>
                  <a:pt x="235" y="31"/>
                </a:lnTo>
                <a:lnTo>
                  <a:pt x="256" y="30"/>
                </a:lnTo>
                <a:lnTo>
                  <a:pt x="270" y="25"/>
                </a:lnTo>
                <a:lnTo>
                  <a:pt x="289" y="22"/>
                </a:lnTo>
                <a:lnTo>
                  <a:pt x="302" y="20"/>
                </a:lnTo>
                <a:lnTo>
                  <a:pt x="311" y="17"/>
                </a:lnTo>
                <a:lnTo>
                  <a:pt x="319" y="14"/>
                </a:lnTo>
                <a:lnTo>
                  <a:pt x="322" y="14"/>
                </a:lnTo>
                <a:lnTo>
                  <a:pt x="326" y="15"/>
                </a:lnTo>
                <a:lnTo>
                  <a:pt x="329" y="19"/>
                </a:lnTo>
                <a:lnTo>
                  <a:pt x="345" y="30"/>
                </a:lnTo>
                <a:lnTo>
                  <a:pt x="438" y="103"/>
                </a:lnTo>
                <a:lnTo>
                  <a:pt x="438" y="108"/>
                </a:lnTo>
                <a:lnTo>
                  <a:pt x="438" y="111"/>
                </a:lnTo>
                <a:lnTo>
                  <a:pt x="434" y="114"/>
                </a:lnTo>
                <a:lnTo>
                  <a:pt x="427" y="119"/>
                </a:lnTo>
                <a:lnTo>
                  <a:pt x="423" y="125"/>
                </a:lnTo>
                <a:lnTo>
                  <a:pt x="418" y="131"/>
                </a:lnTo>
                <a:lnTo>
                  <a:pt x="413" y="139"/>
                </a:lnTo>
                <a:lnTo>
                  <a:pt x="410" y="147"/>
                </a:lnTo>
                <a:lnTo>
                  <a:pt x="407" y="157"/>
                </a:lnTo>
                <a:lnTo>
                  <a:pt x="402" y="163"/>
                </a:lnTo>
                <a:lnTo>
                  <a:pt x="400" y="166"/>
                </a:lnTo>
                <a:lnTo>
                  <a:pt x="397" y="168"/>
                </a:lnTo>
                <a:lnTo>
                  <a:pt x="392" y="171"/>
                </a:lnTo>
                <a:lnTo>
                  <a:pt x="394" y="173"/>
                </a:lnTo>
                <a:lnTo>
                  <a:pt x="397" y="176"/>
                </a:lnTo>
                <a:lnTo>
                  <a:pt x="400" y="182"/>
                </a:lnTo>
                <a:lnTo>
                  <a:pt x="399" y="187"/>
                </a:lnTo>
                <a:lnTo>
                  <a:pt x="397" y="192"/>
                </a:lnTo>
                <a:lnTo>
                  <a:pt x="396" y="198"/>
                </a:lnTo>
                <a:lnTo>
                  <a:pt x="391" y="201"/>
                </a:lnTo>
                <a:lnTo>
                  <a:pt x="388" y="203"/>
                </a:lnTo>
                <a:lnTo>
                  <a:pt x="384" y="206"/>
                </a:lnTo>
                <a:lnTo>
                  <a:pt x="380" y="205"/>
                </a:lnTo>
                <a:lnTo>
                  <a:pt x="375" y="209"/>
                </a:lnTo>
                <a:lnTo>
                  <a:pt x="373" y="212"/>
                </a:lnTo>
                <a:lnTo>
                  <a:pt x="373" y="219"/>
                </a:lnTo>
                <a:lnTo>
                  <a:pt x="373" y="222"/>
                </a:lnTo>
                <a:lnTo>
                  <a:pt x="370" y="225"/>
                </a:lnTo>
                <a:lnTo>
                  <a:pt x="327" y="268"/>
                </a:lnTo>
                <a:lnTo>
                  <a:pt x="321" y="271"/>
                </a:lnTo>
                <a:lnTo>
                  <a:pt x="313" y="274"/>
                </a:lnTo>
                <a:lnTo>
                  <a:pt x="299" y="278"/>
                </a:lnTo>
                <a:lnTo>
                  <a:pt x="280" y="279"/>
                </a:lnTo>
                <a:lnTo>
                  <a:pt x="272" y="281"/>
                </a:lnTo>
                <a:lnTo>
                  <a:pt x="265" y="282"/>
                </a:lnTo>
                <a:lnTo>
                  <a:pt x="267" y="287"/>
                </a:lnTo>
                <a:lnTo>
                  <a:pt x="270" y="292"/>
                </a:lnTo>
                <a:lnTo>
                  <a:pt x="275" y="294"/>
                </a:lnTo>
                <a:lnTo>
                  <a:pt x="280" y="300"/>
                </a:lnTo>
                <a:lnTo>
                  <a:pt x="281" y="305"/>
                </a:lnTo>
                <a:lnTo>
                  <a:pt x="284" y="308"/>
                </a:lnTo>
                <a:lnTo>
                  <a:pt x="286" y="311"/>
                </a:lnTo>
                <a:lnTo>
                  <a:pt x="281" y="314"/>
                </a:lnTo>
                <a:lnTo>
                  <a:pt x="280" y="317"/>
                </a:lnTo>
                <a:lnTo>
                  <a:pt x="272" y="317"/>
                </a:lnTo>
                <a:lnTo>
                  <a:pt x="268" y="321"/>
                </a:lnTo>
                <a:lnTo>
                  <a:pt x="262" y="322"/>
                </a:lnTo>
                <a:lnTo>
                  <a:pt x="259" y="327"/>
                </a:lnTo>
                <a:lnTo>
                  <a:pt x="257" y="332"/>
                </a:lnTo>
                <a:lnTo>
                  <a:pt x="257" y="338"/>
                </a:lnTo>
                <a:lnTo>
                  <a:pt x="249" y="338"/>
                </a:lnTo>
                <a:lnTo>
                  <a:pt x="243" y="336"/>
                </a:lnTo>
                <a:lnTo>
                  <a:pt x="238" y="333"/>
                </a:lnTo>
                <a:lnTo>
                  <a:pt x="235" y="330"/>
                </a:lnTo>
                <a:lnTo>
                  <a:pt x="233" y="325"/>
                </a:lnTo>
                <a:lnTo>
                  <a:pt x="235" y="319"/>
                </a:lnTo>
                <a:lnTo>
                  <a:pt x="233" y="314"/>
                </a:lnTo>
                <a:lnTo>
                  <a:pt x="230" y="309"/>
                </a:lnTo>
                <a:lnTo>
                  <a:pt x="229" y="305"/>
                </a:lnTo>
                <a:lnTo>
                  <a:pt x="226" y="298"/>
                </a:lnTo>
                <a:lnTo>
                  <a:pt x="221" y="292"/>
                </a:lnTo>
                <a:lnTo>
                  <a:pt x="218" y="289"/>
                </a:lnTo>
                <a:lnTo>
                  <a:pt x="213" y="284"/>
                </a:lnTo>
                <a:lnTo>
                  <a:pt x="206" y="281"/>
                </a:lnTo>
                <a:lnTo>
                  <a:pt x="202" y="274"/>
                </a:lnTo>
                <a:lnTo>
                  <a:pt x="200" y="270"/>
                </a:lnTo>
                <a:lnTo>
                  <a:pt x="200" y="262"/>
                </a:lnTo>
                <a:lnTo>
                  <a:pt x="195" y="255"/>
                </a:lnTo>
                <a:lnTo>
                  <a:pt x="192" y="249"/>
                </a:lnTo>
                <a:lnTo>
                  <a:pt x="191" y="243"/>
                </a:lnTo>
                <a:lnTo>
                  <a:pt x="179" y="235"/>
                </a:lnTo>
                <a:lnTo>
                  <a:pt x="167" y="228"/>
                </a:lnTo>
                <a:lnTo>
                  <a:pt x="159" y="222"/>
                </a:lnTo>
                <a:lnTo>
                  <a:pt x="156" y="217"/>
                </a:lnTo>
                <a:lnTo>
                  <a:pt x="154" y="212"/>
                </a:lnTo>
                <a:lnTo>
                  <a:pt x="146" y="211"/>
                </a:lnTo>
                <a:lnTo>
                  <a:pt x="143" y="203"/>
                </a:lnTo>
                <a:lnTo>
                  <a:pt x="141" y="198"/>
                </a:lnTo>
                <a:lnTo>
                  <a:pt x="137" y="193"/>
                </a:lnTo>
                <a:lnTo>
                  <a:pt x="122" y="182"/>
                </a:lnTo>
                <a:lnTo>
                  <a:pt x="113" y="173"/>
                </a:lnTo>
                <a:lnTo>
                  <a:pt x="105" y="165"/>
                </a:lnTo>
                <a:lnTo>
                  <a:pt x="95" y="157"/>
                </a:lnTo>
                <a:lnTo>
                  <a:pt x="84" y="154"/>
                </a:lnTo>
                <a:lnTo>
                  <a:pt x="78" y="146"/>
                </a:lnTo>
                <a:lnTo>
                  <a:pt x="59" y="124"/>
                </a:lnTo>
                <a:lnTo>
                  <a:pt x="54" y="117"/>
                </a:lnTo>
                <a:lnTo>
                  <a:pt x="52" y="112"/>
                </a:lnTo>
                <a:lnTo>
                  <a:pt x="51" y="106"/>
                </a:lnTo>
                <a:lnTo>
                  <a:pt x="43" y="98"/>
                </a:lnTo>
                <a:lnTo>
                  <a:pt x="35" y="93"/>
                </a:lnTo>
                <a:lnTo>
                  <a:pt x="27" y="92"/>
                </a:lnTo>
                <a:lnTo>
                  <a:pt x="9" y="89"/>
                </a:lnTo>
                <a:lnTo>
                  <a:pt x="0" y="76"/>
                </a:lnTo>
                <a:lnTo>
                  <a:pt x="0" y="70"/>
                </a:lnTo>
                <a:lnTo>
                  <a:pt x="3" y="58"/>
                </a:lnTo>
                <a:lnTo>
                  <a:pt x="9" y="54"/>
                </a:lnTo>
                <a:lnTo>
                  <a:pt x="16" y="46"/>
                </a:lnTo>
                <a:lnTo>
                  <a:pt x="17" y="39"/>
                </a:lnTo>
                <a:close/>
              </a:path>
            </a:pathLst>
          </a:custGeom>
          <a:solidFill>
            <a:schemeClr val="bg1">
              <a:lumMod val="95000"/>
            </a:schemeClr>
          </a:solidFill>
          <a:ln w="0" algn="ctr">
            <a:solidFill>
              <a:srgbClr val="808080"/>
            </a:solidFill>
            <a:round/>
            <a:headEnd/>
            <a:tailEnd/>
          </a:ln>
        </p:spPr>
        <p:txBody>
          <a:bodyPr lIns="101798" tIns="50899" rIns="101798" bIns="50899"/>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endParaRPr>
          </a:p>
        </p:txBody>
      </p:sp>
      <p:sp>
        <p:nvSpPr>
          <p:cNvPr id="18" name="State: Rhode Island"/>
          <p:cNvSpPr>
            <a:spLocks/>
          </p:cNvSpPr>
          <p:nvPr/>
        </p:nvSpPr>
        <p:spPr bwMode="auto">
          <a:xfrm>
            <a:off x="6994050" y="3051169"/>
            <a:ext cx="88085" cy="133823"/>
          </a:xfrm>
          <a:custGeom>
            <a:avLst/>
            <a:gdLst>
              <a:gd name="T0" fmla="*/ 0 w 59"/>
              <a:gd name="T1" fmla="*/ 2147483647 h 87"/>
              <a:gd name="T2" fmla="*/ 2147483647 w 59"/>
              <a:gd name="T3" fmla="*/ 0 h 87"/>
              <a:gd name="T4" fmla="*/ 2147483647 w 59"/>
              <a:gd name="T5" fmla="*/ 2147483647 h 87"/>
              <a:gd name="T6" fmla="*/ 2147483647 w 59"/>
              <a:gd name="T7" fmla="*/ 2147483647 h 87"/>
              <a:gd name="T8" fmla="*/ 2147483647 w 59"/>
              <a:gd name="T9" fmla="*/ 2147483647 h 87"/>
              <a:gd name="T10" fmla="*/ 2147483647 w 59"/>
              <a:gd name="T11" fmla="*/ 2147483647 h 87"/>
              <a:gd name="T12" fmla="*/ 2147483647 w 59"/>
              <a:gd name="T13" fmla="*/ 2147483647 h 87"/>
              <a:gd name="T14" fmla="*/ 2147483647 w 59"/>
              <a:gd name="T15" fmla="*/ 2147483647 h 87"/>
              <a:gd name="T16" fmla="*/ 2147483647 w 59"/>
              <a:gd name="T17" fmla="*/ 2147483647 h 87"/>
              <a:gd name="T18" fmla="*/ 2147483647 w 59"/>
              <a:gd name="T19" fmla="*/ 2147483647 h 87"/>
              <a:gd name="T20" fmla="*/ 2147483647 w 59"/>
              <a:gd name="T21" fmla="*/ 2147483647 h 87"/>
              <a:gd name="T22" fmla="*/ 2147483647 w 59"/>
              <a:gd name="T23" fmla="*/ 2147483647 h 87"/>
              <a:gd name="T24" fmla="*/ 2147483647 w 59"/>
              <a:gd name="T25" fmla="*/ 2147483647 h 87"/>
              <a:gd name="T26" fmla="*/ 2147483647 w 59"/>
              <a:gd name="T27" fmla="*/ 2147483647 h 87"/>
              <a:gd name="T28" fmla="*/ 2147483647 w 59"/>
              <a:gd name="T29" fmla="*/ 2147483647 h 87"/>
              <a:gd name="T30" fmla="*/ 2147483647 w 59"/>
              <a:gd name="T31" fmla="*/ 2147483647 h 87"/>
              <a:gd name="T32" fmla="*/ 2147483647 w 59"/>
              <a:gd name="T33" fmla="*/ 2147483647 h 87"/>
              <a:gd name="T34" fmla="*/ 2147483647 w 59"/>
              <a:gd name="T35" fmla="*/ 2147483647 h 87"/>
              <a:gd name="T36" fmla="*/ 2147483647 w 59"/>
              <a:gd name="T37" fmla="*/ 2147483647 h 87"/>
              <a:gd name="T38" fmla="*/ 2147483647 w 59"/>
              <a:gd name="T39" fmla="*/ 2147483647 h 87"/>
              <a:gd name="T40" fmla="*/ 2147483647 w 59"/>
              <a:gd name="T41" fmla="*/ 2147483647 h 87"/>
              <a:gd name="T42" fmla="*/ 0 w 59"/>
              <a:gd name="T43" fmla="*/ 2147483647 h 8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9"/>
              <a:gd name="T67" fmla="*/ 0 h 87"/>
              <a:gd name="T68" fmla="*/ 59 w 59"/>
              <a:gd name="T69" fmla="*/ 87 h 8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9" h="87">
                <a:moveTo>
                  <a:pt x="0" y="11"/>
                </a:moveTo>
                <a:lnTo>
                  <a:pt x="29" y="0"/>
                </a:lnTo>
                <a:lnTo>
                  <a:pt x="35" y="6"/>
                </a:lnTo>
                <a:lnTo>
                  <a:pt x="40" y="15"/>
                </a:lnTo>
                <a:lnTo>
                  <a:pt x="46" y="25"/>
                </a:lnTo>
                <a:lnTo>
                  <a:pt x="54" y="31"/>
                </a:lnTo>
                <a:lnTo>
                  <a:pt x="57" y="35"/>
                </a:lnTo>
                <a:lnTo>
                  <a:pt x="59" y="47"/>
                </a:lnTo>
                <a:lnTo>
                  <a:pt x="56" y="57"/>
                </a:lnTo>
                <a:lnTo>
                  <a:pt x="54" y="65"/>
                </a:lnTo>
                <a:lnTo>
                  <a:pt x="46" y="71"/>
                </a:lnTo>
                <a:lnTo>
                  <a:pt x="37" y="76"/>
                </a:lnTo>
                <a:lnTo>
                  <a:pt x="30" y="81"/>
                </a:lnTo>
                <a:lnTo>
                  <a:pt x="26" y="85"/>
                </a:lnTo>
                <a:lnTo>
                  <a:pt x="18" y="87"/>
                </a:lnTo>
                <a:lnTo>
                  <a:pt x="18" y="74"/>
                </a:lnTo>
                <a:lnTo>
                  <a:pt x="16" y="63"/>
                </a:lnTo>
                <a:lnTo>
                  <a:pt x="15" y="58"/>
                </a:lnTo>
                <a:lnTo>
                  <a:pt x="13" y="44"/>
                </a:lnTo>
                <a:lnTo>
                  <a:pt x="7" y="35"/>
                </a:lnTo>
                <a:lnTo>
                  <a:pt x="5" y="27"/>
                </a:lnTo>
                <a:lnTo>
                  <a:pt x="0" y="11"/>
                </a:lnTo>
                <a:close/>
              </a:path>
            </a:pathLst>
          </a:custGeom>
          <a:solidFill>
            <a:schemeClr val="bg1">
              <a:lumMod val="95000"/>
            </a:schemeClr>
          </a:solidFill>
          <a:ln w="0" algn="ctr">
            <a:solidFill>
              <a:srgbClr val="808080"/>
            </a:solidFill>
            <a:round/>
            <a:headEnd/>
            <a:tailEnd/>
          </a:ln>
        </p:spPr>
        <p:txBody>
          <a:bodyPr lIns="101798" tIns="50899" rIns="101798" bIns="50899"/>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endParaRPr>
          </a:p>
        </p:txBody>
      </p:sp>
      <p:sp>
        <p:nvSpPr>
          <p:cNvPr id="19" name="State: Pennsylvania"/>
          <p:cNvSpPr>
            <a:spLocks/>
          </p:cNvSpPr>
          <p:nvPr/>
        </p:nvSpPr>
        <p:spPr bwMode="auto">
          <a:xfrm>
            <a:off x="5984810" y="3184991"/>
            <a:ext cx="747974" cy="507606"/>
          </a:xfrm>
          <a:custGeom>
            <a:avLst/>
            <a:gdLst>
              <a:gd name="T0" fmla="*/ 11113 w 501"/>
              <a:gd name="T1" fmla="*/ 120650 h 330"/>
              <a:gd name="T2" fmla="*/ 31750 w 501"/>
              <a:gd name="T3" fmla="*/ 98425 h 330"/>
              <a:gd name="T4" fmla="*/ 53975 w 501"/>
              <a:gd name="T5" fmla="*/ 85725 h 330"/>
              <a:gd name="T6" fmla="*/ 68263 w 501"/>
              <a:gd name="T7" fmla="*/ 82550 h 330"/>
              <a:gd name="T8" fmla="*/ 84138 w 501"/>
              <a:gd name="T9" fmla="*/ 69850 h 330"/>
              <a:gd name="T10" fmla="*/ 92075 w 501"/>
              <a:gd name="T11" fmla="*/ 87313 h 330"/>
              <a:gd name="T12" fmla="*/ 96838 w 501"/>
              <a:gd name="T13" fmla="*/ 109538 h 330"/>
              <a:gd name="T14" fmla="*/ 661988 w 501"/>
              <a:gd name="T15" fmla="*/ 4763 h 330"/>
              <a:gd name="T16" fmla="*/ 671513 w 501"/>
              <a:gd name="T17" fmla="*/ 17463 h 330"/>
              <a:gd name="T18" fmla="*/ 693738 w 501"/>
              <a:gd name="T19" fmla="*/ 22225 h 330"/>
              <a:gd name="T20" fmla="*/ 696913 w 501"/>
              <a:gd name="T21" fmla="*/ 44450 h 330"/>
              <a:gd name="T22" fmla="*/ 704850 w 501"/>
              <a:gd name="T23" fmla="*/ 57150 h 330"/>
              <a:gd name="T24" fmla="*/ 714375 w 501"/>
              <a:gd name="T25" fmla="*/ 73025 h 330"/>
              <a:gd name="T26" fmla="*/ 747713 w 501"/>
              <a:gd name="T27" fmla="*/ 73025 h 330"/>
              <a:gd name="T28" fmla="*/ 755650 w 501"/>
              <a:gd name="T29" fmla="*/ 82550 h 330"/>
              <a:gd name="T30" fmla="*/ 747713 w 501"/>
              <a:gd name="T31" fmla="*/ 95250 h 330"/>
              <a:gd name="T32" fmla="*/ 739775 w 501"/>
              <a:gd name="T33" fmla="*/ 115888 h 330"/>
              <a:gd name="T34" fmla="*/ 735013 w 501"/>
              <a:gd name="T35" fmla="*/ 134938 h 330"/>
              <a:gd name="T36" fmla="*/ 723900 w 501"/>
              <a:gd name="T37" fmla="*/ 150813 h 330"/>
              <a:gd name="T38" fmla="*/ 719138 w 501"/>
              <a:gd name="T39" fmla="*/ 171450 h 330"/>
              <a:gd name="T40" fmla="*/ 731838 w 501"/>
              <a:gd name="T41" fmla="*/ 180975 h 330"/>
              <a:gd name="T42" fmla="*/ 730250 w 501"/>
              <a:gd name="T43" fmla="*/ 193675 h 330"/>
              <a:gd name="T44" fmla="*/ 719138 w 501"/>
              <a:gd name="T45" fmla="*/ 201613 h 330"/>
              <a:gd name="T46" fmla="*/ 719138 w 501"/>
              <a:gd name="T47" fmla="*/ 215900 h 330"/>
              <a:gd name="T48" fmla="*/ 723900 w 501"/>
              <a:gd name="T49" fmla="*/ 228600 h 330"/>
              <a:gd name="T50" fmla="*/ 731838 w 501"/>
              <a:gd name="T51" fmla="*/ 236538 h 330"/>
              <a:gd name="T52" fmla="*/ 744538 w 501"/>
              <a:gd name="T53" fmla="*/ 241300 h 330"/>
              <a:gd name="T54" fmla="*/ 749300 w 501"/>
              <a:gd name="T55" fmla="*/ 258763 h 330"/>
              <a:gd name="T56" fmla="*/ 765175 w 501"/>
              <a:gd name="T57" fmla="*/ 263525 h 330"/>
              <a:gd name="T58" fmla="*/ 779463 w 501"/>
              <a:gd name="T59" fmla="*/ 279400 h 330"/>
              <a:gd name="T60" fmla="*/ 790575 w 501"/>
              <a:gd name="T61" fmla="*/ 287338 h 330"/>
              <a:gd name="T62" fmla="*/ 795338 w 501"/>
              <a:gd name="T63" fmla="*/ 300038 h 330"/>
              <a:gd name="T64" fmla="*/ 779463 w 501"/>
              <a:gd name="T65" fmla="*/ 319088 h 330"/>
              <a:gd name="T66" fmla="*/ 766763 w 501"/>
              <a:gd name="T67" fmla="*/ 336550 h 330"/>
              <a:gd name="T68" fmla="*/ 765175 w 501"/>
              <a:gd name="T69" fmla="*/ 355600 h 330"/>
              <a:gd name="T70" fmla="*/ 742950 w 501"/>
              <a:gd name="T71" fmla="*/ 369888 h 330"/>
              <a:gd name="T72" fmla="*/ 730250 w 501"/>
              <a:gd name="T73" fmla="*/ 374650 h 330"/>
              <a:gd name="T74" fmla="*/ 717550 w 501"/>
              <a:gd name="T75" fmla="*/ 373063 h 330"/>
              <a:gd name="T76" fmla="*/ 701675 w 501"/>
              <a:gd name="T77" fmla="*/ 377825 h 330"/>
              <a:gd name="T78" fmla="*/ 687388 w 501"/>
              <a:gd name="T79" fmla="*/ 387350 h 330"/>
              <a:gd name="T80" fmla="*/ 681038 w 501"/>
              <a:gd name="T81" fmla="*/ 404813 h 330"/>
              <a:gd name="T82" fmla="*/ 58738 w 501"/>
              <a:gd name="T83" fmla="*/ 485775 h 330"/>
              <a:gd name="T84" fmla="*/ 49213 w 501"/>
              <a:gd name="T85" fmla="*/ 458788 h 330"/>
              <a:gd name="T86" fmla="*/ 46038 w 501"/>
              <a:gd name="T87" fmla="*/ 412750 h 330"/>
              <a:gd name="T88" fmla="*/ 42863 w 501"/>
              <a:gd name="T89" fmla="*/ 390525 h 330"/>
              <a:gd name="T90" fmla="*/ 42863 w 501"/>
              <a:gd name="T91" fmla="*/ 360363 h 330"/>
              <a:gd name="T92" fmla="*/ 36513 w 501"/>
              <a:gd name="T93" fmla="*/ 331788 h 330"/>
              <a:gd name="T94" fmla="*/ 23813 w 501"/>
              <a:gd name="T95" fmla="*/ 296863 h 330"/>
              <a:gd name="T96" fmla="*/ 20638 w 501"/>
              <a:gd name="T97" fmla="*/ 257175 h 330"/>
              <a:gd name="T98" fmla="*/ 15875 w 501"/>
              <a:gd name="T99" fmla="*/ 223838 h 330"/>
              <a:gd name="T100" fmla="*/ 6350 w 501"/>
              <a:gd name="T101" fmla="*/ 185738 h 330"/>
              <a:gd name="T102" fmla="*/ 0 w 501"/>
              <a:gd name="T103" fmla="*/ 125413 h 33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01"/>
              <a:gd name="T157" fmla="*/ 0 h 330"/>
              <a:gd name="T158" fmla="*/ 501 w 501"/>
              <a:gd name="T159" fmla="*/ 330 h 33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01" h="330">
                <a:moveTo>
                  <a:pt x="0" y="81"/>
                </a:moveTo>
                <a:lnTo>
                  <a:pt x="7" y="76"/>
                </a:lnTo>
                <a:lnTo>
                  <a:pt x="15" y="65"/>
                </a:lnTo>
                <a:lnTo>
                  <a:pt x="20" y="62"/>
                </a:lnTo>
                <a:lnTo>
                  <a:pt x="24" y="58"/>
                </a:lnTo>
                <a:lnTo>
                  <a:pt x="34" y="54"/>
                </a:lnTo>
                <a:lnTo>
                  <a:pt x="39" y="54"/>
                </a:lnTo>
                <a:lnTo>
                  <a:pt x="43" y="52"/>
                </a:lnTo>
                <a:lnTo>
                  <a:pt x="48" y="47"/>
                </a:lnTo>
                <a:lnTo>
                  <a:pt x="53" y="44"/>
                </a:lnTo>
                <a:lnTo>
                  <a:pt x="56" y="39"/>
                </a:lnTo>
                <a:lnTo>
                  <a:pt x="58" y="55"/>
                </a:lnTo>
                <a:lnTo>
                  <a:pt x="59" y="65"/>
                </a:lnTo>
                <a:lnTo>
                  <a:pt x="61" y="69"/>
                </a:lnTo>
                <a:lnTo>
                  <a:pt x="407" y="0"/>
                </a:lnTo>
                <a:lnTo>
                  <a:pt x="417" y="3"/>
                </a:lnTo>
                <a:lnTo>
                  <a:pt x="418" y="8"/>
                </a:lnTo>
                <a:lnTo>
                  <a:pt x="423" y="11"/>
                </a:lnTo>
                <a:lnTo>
                  <a:pt x="433" y="12"/>
                </a:lnTo>
                <a:lnTo>
                  <a:pt x="437" y="14"/>
                </a:lnTo>
                <a:lnTo>
                  <a:pt x="439" y="22"/>
                </a:lnTo>
                <a:lnTo>
                  <a:pt x="439" y="28"/>
                </a:lnTo>
                <a:lnTo>
                  <a:pt x="442" y="35"/>
                </a:lnTo>
                <a:lnTo>
                  <a:pt x="444" y="36"/>
                </a:lnTo>
                <a:lnTo>
                  <a:pt x="449" y="42"/>
                </a:lnTo>
                <a:lnTo>
                  <a:pt x="450" y="46"/>
                </a:lnTo>
                <a:lnTo>
                  <a:pt x="463" y="46"/>
                </a:lnTo>
                <a:lnTo>
                  <a:pt x="471" y="46"/>
                </a:lnTo>
                <a:lnTo>
                  <a:pt x="472" y="49"/>
                </a:lnTo>
                <a:lnTo>
                  <a:pt x="476" y="52"/>
                </a:lnTo>
                <a:lnTo>
                  <a:pt x="474" y="58"/>
                </a:lnTo>
                <a:lnTo>
                  <a:pt x="471" y="60"/>
                </a:lnTo>
                <a:lnTo>
                  <a:pt x="468" y="68"/>
                </a:lnTo>
                <a:lnTo>
                  <a:pt x="466" y="73"/>
                </a:lnTo>
                <a:lnTo>
                  <a:pt x="466" y="79"/>
                </a:lnTo>
                <a:lnTo>
                  <a:pt x="463" y="85"/>
                </a:lnTo>
                <a:lnTo>
                  <a:pt x="460" y="89"/>
                </a:lnTo>
                <a:lnTo>
                  <a:pt x="456" y="95"/>
                </a:lnTo>
                <a:lnTo>
                  <a:pt x="453" y="101"/>
                </a:lnTo>
                <a:lnTo>
                  <a:pt x="453" y="108"/>
                </a:lnTo>
                <a:lnTo>
                  <a:pt x="456" y="111"/>
                </a:lnTo>
                <a:lnTo>
                  <a:pt x="461" y="114"/>
                </a:lnTo>
                <a:lnTo>
                  <a:pt x="461" y="120"/>
                </a:lnTo>
                <a:lnTo>
                  <a:pt x="460" y="122"/>
                </a:lnTo>
                <a:lnTo>
                  <a:pt x="456" y="125"/>
                </a:lnTo>
                <a:lnTo>
                  <a:pt x="453" y="127"/>
                </a:lnTo>
                <a:lnTo>
                  <a:pt x="452" y="131"/>
                </a:lnTo>
                <a:lnTo>
                  <a:pt x="453" y="136"/>
                </a:lnTo>
                <a:lnTo>
                  <a:pt x="453" y="141"/>
                </a:lnTo>
                <a:lnTo>
                  <a:pt x="456" y="144"/>
                </a:lnTo>
                <a:lnTo>
                  <a:pt x="458" y="147"/>
                </a:lnTo>
                <a:lnTo>
                  <a:pt x="461" y="149"/>
                </a:lnTo>
                <a:lnTo>
                  <a:pt x="466" y="151"/>
                </a:lnTo>
                <a:lnTo>
                  <a:pt x="469" y="152"/>
                </a:lnTo>
                <a:lnTo>
                  <a:pt x="469" y="160"/>
                </a:lnTo>
                <a:lnTo>
                  <a:pt x="472" y="163"/>
                </a:lnTo>
                <a:lnTo>
                  <a:pt x="477" y="165"/>
                </a:lnTo>
                <a:lnTo>
                  <a:pt x="482" y="166"/>
                </a:lnTo>
                <a:lnTo>
                  <a:pt x="485" y="171"/>
                </a:lnTo>
                <a:lnTo>
                  <a:pt x="491" y="176"/>
                </a:lnTo>
                <a:lnTo>
                  <a:pt x="495" y="178"/>
                </a:lnTo>
                <a:lnTo>
                  <a:pt x="498" y="181"/>
                </a:lnTo>
                <a:lnTo>
                  <a:pt x="501" y="184"/>
                </a:lnTo>
                <a:lnTo>
                  <a:pt x="501" y="189"/>
                </a:lnTo>
                <a:lnTo>
                  <a:pt x="499" y="192"/>
                </a:lnTo>
                <a:lnTo>
                  <a:pt x="491" y="201"/>
                </a:lnTo>
                <a:lnTo>
                  <a:pt x="487" y="206"/>
                </a:lnTo>
                <a:lnTo>
                  <a:pt x="483" y="212"/>
                </a:lnTo>
                <a:lnTo>
                  <a:pt x="482" y="217"/>
                </a:lnTo>
                <a:lnTo>
                  <a:pt x="482" y="224"/>
                </a:lnTo>
                <a:lnTo>
                  <a:pt x="476" y="228"/>
                </a:lnTo>
                <a:lnTo>
                  <a:pt x="468" y="233"/>
                </a:lnTo>
                <a:lnTo>
                  <a:pt x="464" y="235"/>
                </a:lnTo>
                <a:lnTo>
                  <a:pt x="460" y="236"/>
                </a:lnTo>
                <a:lnTo>
                  <a:pt x="456" y="236"/>
                </a:lnTo>
                <a:lnTo>
                  <a:pt x="452" y="235"/>
                </a:lnTo>
                <a:lnTo>
                  <a:pt x="447" y="235"/>
                </a:lnTo>
                <a:lnTo>
                  <a:pt x="442" y="238"/>
                </a:lnTo>
                <a:lnTo>
                  <a:pt x="437" y="239"/>
                </a:lnTo>
                <a:lnTo>
                  <a:pt x="433" y="244"/>
                </a:lnTo>
                <a:lnTo>
                  <a:pt x="429" y="251"/>
                </a:lnTo>
                <a:lnTo>
                  <a:pt x="429" y="255"/>
                </a:lnTo>
                <a:lnTo>
                  <a:pt x="37" y="330"/>
                </a:lnTo>
                <a:lnTo>
                  <a:pt x="37" y="306"/>
                </a:lnTo>
                <a:lnTo>
                  <a:pt x="35" y="300"/>
                </a:lnTo>
                <a:lnTo>
                  <a:pt x="31" y="289"/>
                </a:lnTo>
                <a:lnTo>
                  <a:pt x="29" y="282"/>
                </a:lnTo>
                <a:lnTo>
                  <a:pt x="29" y="260"/>
                </a:lnTo>
                <a:lnTo>
                  <a:pt x="27" y="252"/>
                </a:lnTo>
                <a:lnTo>
                  <a:pt x="27" y="246"/>
                </a:lnTo>
                <a:lnTo>
                  <a:pt x="27" y="236"/>
                </a:lnTo>
                <a:lnTo>
                  <a:pt x="27" y="227"/>
                </a:lnTo>
                <a:lnTo>
                  <a:pt x="26" y="216"/>
                </a:lnTo>
                <a:lnTo>
                  <a:pt x="23" y="209"/>
                </a:lnTo>
                <a:lnTo>
                  <a:pt x="20" y="197"/>
                </a:lnTo>
                <a:lnTo>
                  <a:pt x="15" y="187"/>
                </a:lnTo>
                <a:lnTo>
                  <a:pt x="15" y="178"/>
                </a:lnTo>
                <a:lnTo>
                  <a:pt x="13" y="162"/>
                </a:lnTo>
                <a:lnTo>
                  <a:pt x="12" y="152"/>
                </a:lnTo>
                <a:lnTo>
                  <a:pt x="10" y="141"/>
                </a:lnTo>
                <a:lnTo>
                  <a:pt x="7" y="128"/>
                </a:lnTo>
                <a:lnTo>
                  <a:pt x="4" y="117"/>
                </a:lnTo>
                <a:lnTo>
                  <a:pt x="2" y="106"/>
                </a:lnTo>
                <a:lnTo>
                  <a:pt x="0" y="79"/>
                </a:lnTo>
                <a:lnTo>
                  <a:pt x="0" y="81"/>
                </a:lnTo>
                <a:close/>
              </a:path>
            </a:pathLst>
          </a:custGeom>
          <a:solidFill>
            <a:schemeClr val="bg1">
              <a:lumMod val="95000"/>
            </a:schemeClr>
          </a:solidFill>
          <a:ln w="0" algn="ctr">
            <a:solidFill>
              <a:srgbClr val="808080"/>
            </a:solidFill>
            <a:round/>
            <a:headEnd/>
            <a:tailEnd/>
          </a:ln>
          <a:effectLst/>
        </p:spPr>
        <p:txBody>
          <a:bodyPr lIns="101798" tIns="50899" rIns="101798" bIns="50899"/>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endParaRPr>
          </a:p>
        </p:txBody>
      </p:sp>
      <p:sp>
        <p:nvSpPr>
          <p:cNvPr id="20" name="State: Oregon"/>
          <p:cNvSpPr>
            <a:spLocks/>
          </p:cNvSpPr>
          <p:nvPr/>
        </p:nvSpPr>
        <p:spPr bwMode="auto">
          <a:xfrm>
            <a:off x="777365" y="2174394"/>
            <a:ext cx="1034622" cy="929074"/>
          </a:xfrm>
          <a:custGeom>
            <a:avLst/>
            <a:gdLst>
              <a:gd name="T0" fmla="*/ 2147483647 w 693"/>
              <a:gd name="T1" fmla="*/ 2147483647 h 604"/>
              <a:gd name="T2" fmla="*/ 2147483647 w 693"/>
              <a:gd name="T3" fmla="*/ 2147483647 h 604"/>
              <a:gd name="T4" fmla="*/ 2147483647 w 693"/>
              <a:gd name="T5" fmla="*/ 2147483647 h 604"/>
              <a:gd name="T6" fmla="*/ 2147483647 w 693"/>
              <a:gd name="T7" fmla="*/ 2147483647 h 604"/>
              <a:gd name="T8" fmla="*/ 2147483647 w 693"/>
              <a:gd name="T9" fmla="*/ 2147483647 h 604"/>
              <a:gd name="T10" fmla="*/ 2147483647 w 693"/>
              <a:gd name="T11" fmla="*/ 2147483647 h 604"/>
              <a:gd name="T12" fmla="*/ 2147483647 w 693"/>
              <a:gd name="T13" fmla="*/ 2147483647 h 604"/>
              <a:gd name="T14" fmla="*/ 2147483647 w 693"/>
              <a:gd name="T15" fmla="*/ 2147483647 h 604"/>
              <a:gd name="T16" fmla="*/ 2147483647 w 693"/>
              <a:gd name="T17" fmla="*/ 2147483647 h 604"/>
              <a:gd name="T18" fmla="*/ 2147483647 w 693"/>
              <a:gd name="T19" fmla="*/ 2147483647 h 604"/>
              <a:gd name="T20" fmla="*/ 2147483647 w 693"/>
              <a:gd name="T21" fmla="*/ 2147483647 h 604"/>
              <a:gd name="T22" fmla="*/ 2147483647 w 693"/>
              <a:gd name="T23" fmla="*/ 2147483647 h 604"/>
              <a:gd name="T24" fmla="*/ 2147483647 w 693"/>
              <a:gd name="T25" fmla="*/ 2147483647 h 604"/>
              <a:gd name="T26" fmla="*/ 2147483647 w 693"/>
              <a:gd name="T27" fmla="*/ 2147483647 h 604"/>
              <a:gd name="T28" fmla="*/ 2147483647 w 693"/>
              <a:gd name="T29" fmla="*/ 2147483647 h 604"/>
              <a:gd name="T30" fmla="*/ 2147483647 w 693"/>
              <a:gd name="T31" fmla="*/ 2147483647 h 604"/>
              <a:gd name="T32" fmla="*/ 0 w 693"/>
              <a:gd name="T33" fmla="*/ 2147483647 h 604"/>
              <a:gd name="T34" fmla="*/ 2147483647 w 693"/>
              <a:gd name="T35" fmla="*/ 2147483647 h 604"/>
              <a:gd name="T36" fmla="*/ 2147483647 w 693"/>
              <a:gd name="T37" fmla="*/ 2147483647 h 604"/>
              <a:gd name="T38" fmla="*/ 2147483647 w 693"/>
              <a:gd name="T39" fmla="*/ 2147483647 h 604"/>
              <a:gd name="T40" fmla="*/ 2147483647 w 693"/>
              <a:gd name="T41" fmla="*/ 2147483647 h 604"/>
              <a:gd name="T42" fmla="*/ 2147483647 w 693"/>
              <a:gd name="T43" fmla="*/ 2147483647 h 604"/>
              <a:gd name="T44" fmla="*/ 2147483647 w 693"/>
              <a:gd name="T45" fmla="*/ 2147483647 h 604"/>
              <a:gd name="T46" fmla="*/ 2147483647 w 693"/>
              <a:gd name="T47" fmla="*/ 2147483647 h 604"/>
              <a:gd name="T48" fmla="*/ 2147483647 w 693"/>
              <a:gd name="T49" fmla="*/ 2147483647 h 604"/>
              <a:gd name="T50" fmla="*/ 2147483647 w 693"/>
              <a:gd name="T51" fmla="*/ 2147483647 h 604"/>
              <a:gd name="T52" fmla="*/ 2147483647 w 693"/>
              <a:gd name="T53" fmla="*/ 2147483647 h 604"/>
              <a:gd name="T54" fmla="*/ 2147483647 w 693"/>
              <a:gd name="T55" fmla="*/ 2147483647 h 604"/>
              <a:gd name="T56" fmla="*/ 2147483647 w 693"/>
              <a:gd name="T57" fmla="*/ 2147483647 h 604"/>
              <a:gd name="T58" fmla="*/ 2147483647 w 693"/>
              <a:gd name="T59" fmla="*/ 2147483647 h 604"/>
              <a:gd name="T60" fmla="*/ 2147483647 w 693"/>
              <a:gd name="T61" fmla="*/ 2147483647 h 604"/>
              <a:gd name="T62" fmla="*/ 2147483647 w 693"/>
              <a:gd name="T63" fmla="*/ 2147483647 h 604"/>
              <a:gd name="T64" fmla="*/ 2147483647 w 693"/>
              <a:gd name="T65" fmla="*/ 2147483647 h 604"/>
              <a:gd name="T66" fmla="*/ 2147483647 w 693"/>
              <a:gd name="T67" fmla="*/ 2147483647 h 604"/>
              <a:gd name="T68" fmla="*/ 2147483647 w 693"/>
              <a:gd name="T69" fmla="*/ 2147483647 h 604"/>
              <a:gd name="T70" fmla="*/ 2147483647 w 693"/>
              <a:gd name="T71" fmla="*/ 2147483647 h 604"/>
              <a:gd name="T72" fmla="*/ 2147483647 w 693"/>
              <a:gd name="T73" fmla="*/ 2147483647 h 604"/>
              <a:gd name="T74" fmla="*/ 2147483647 w 693"/>
              <a:gd name="T75" fmla="*/ 2147483647 h 604"/>
              <a:gd name="T76" fmla="*/ 2147483647 w 693"/>
              <a:gd name="T77" fmla="*/ 2147483647 h 604"/>
              <a:gd name="T78" fmla="*/ 2147483647 w 693"/>
              <a:gd name="T79" fmla="*/ 2147483647 h 604"/>
              <a:gd name="T80" fmla="*/ 2147483647 w 693"/>
              <a:gd name="T81" fmla="*/ 2147483647 h 604"/>
              <a:gd name="T82" fmla="*/ 2147483647 w 693"/>
              <a:gd name="T83" fmla="*/ 2147483647 h 604"/>
              <a:gd name="T84" fmla="*/ 2147483647 w 693"/>
              <a:gd name="T85" fmla="*/ 2147483647 h 604"/>
              <a:gd name="T86" fmla="*/ 2147483647 w 693"/>
              <a:gd name="T87" fmla="*/ 2147483647 h 604"/>
              <a:gd name="T88" fmla="*/ 2147483647 w 693"/>
              <a:gd name="T89" fmla="*/ 2147483647 h 604"/>
              <a:gd name="T90" fmla="*/ 2147483647 w 693"/>
              <a:gd name="T91" fmla="*/ 2147483647 h 604"/>
              <a:gd name="T92" fmla="*/ 2147483647 w 693"/>
              <a:gd name="T93" fmla="*/ 2147483647 h 604"/>
              <a:gd name="T94" fmla="*/ 2147483647 w 693"/>
              <a:gd name="T95" fmla="*/ 2147483647 h 604"/>
              <a:gd name="T96" fmla="*/ 2147483647 w 693"/>
              <a:gd name="T97" fmla="*/ 2147483647 h 604"/>
              <a:gd name="T98" fmla="*/ 2147483647 w 693"/>
              <a:gd name="T99" fmla="*/ 2147483647 h 604"/>
              <a:gd name="T100" fmla="*/ 2147483647 w 693"/>
              <a:gd name="T101" fmla="*/ 2147483647 h 604"/>
              <a:gd name="T102" fmla="*/ 2147483647 w 693"/>
              <a:gd name="T103" fmla="*/ 2147483647 h 604"/>
              <a:gd name="T104" fmla="*/ 2147483647 w 693"/>
              <a:gd name="T105" fmla="*/ 2147483647 h 604"/>
              <a:gd name="T106" fmla="*/ 2147483647 w 693"/>
              <a:gd name="T107" fmla="*/ 2147483647 h 604"/>
              <a:gd name="T108" fmla="*/ 2147483647 w 693"/>
              <a:gd name="T109" fmla="*/ 0 h 6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93"/>
              <a:gd name="T166" fmla="*/ 0 h 604"/>
              <a:gd name="T167" fmla="*/ 693 w 693"/>
              <a:gd name="T168" fmla="*/ 604 h 6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93" h="604">
                <a:moveTo>
                  <a:pt x="181" y="2"/>
                </a:moveTo>
                <a:lnTo>
                  <a:pt x="176" y="7"/>
                </a:lnTo>
                <a:lnTo>
                  <a:pt x="173" y="13"/>
                </a:lnTo>
                <a:lnTo>
                  <a:pt x="170" y="19"/>
                </a:lnTo>
                <a:lnTo>
                  <a:pt x="168" y="27"/>
                </a:lnTo>
                <a:lnTo>
                  <a:pt x="165" y="34"/>
                </a:lnTo>
                <a:lnTo>
                  <a:pt x="165" y="42"/>
                </a:lnTo>
                <a:lnTo>
                  <a:pt x="162" y="50"/>
                </a:lnTo>
                <a:lnTo>
                  <a:pt x="157" y="59"/>
                </a:lnTo>
                <a:lnTo>
                  <a:pt x="156" y="65"/>
                </a:lnTo>
                <a:lnTo>
                  <a:pt x="151" y="73"/>
                </a:lnTo>
                <a:lnTo>
                  <a:pt x="138" y="96"/>
                </a:lnTo>
                <a:lnTo>
                  <a:pt x="122" y="129"/>
                </a:lnTo>
                <a:lnTo>
                  <a:pt x="95" y="188"/>
                </a:lnTo>
                <a:lnTo>
                  <a:pt x="57" y="272"/>
                </a:lnTo>
                <a:lnTo>
                  <a:pt x="60" y="280"/>
                </a:lnTo>
                <a:lnTo>
                  <a:pt x="59" y="283"/>
                </a:lnTo>
                <a:lnTo>
                  <a:pt x="57" y="286"/>
                </a:lnTo>
                <a:lnTo>
                  <a:pt x="49" y="288"/>
                </a:lnTo>
                <a:lnTo>
                  <a:pt x="44" y="289"/>
                </a:lnTo>
                <a:lnTo>
                  <a:pt x="32" y="301"/>
                </a:lnTo>
                <a:lnTo>
                  <a:pt x="25" y="315"/>
                </a:lnTo>
                <a:lnTo>
                  <a:pt x="16" y="331"/>
                </a:lnTo>
                <a:lnTo>
                  <a:pt x="11" y="340"/>
                </a:lnTo>
                <a:lnTo>
                  <a:pt x="11" y="348"/>
                </a:lnTo>
                <a:lnTo>
                  <a:pt x="11" y="358"/>
                </a:lnTo>
                <a:lnTo>
                  <a:pt x="9" y="364"/>
                </a:lnTo>
                <a:lnTo>
                  <a:pt x="8" y="374"/>
                </a:lnTo>
                <a:lnTo>
                  <a:pt x="6" y="383"/>
                </a:lnTo>
                <a:lnTo>
                  <a:pt x="5" y="396"/>
                </a:lnTo>
                <a:lnTo>
                  <a:pt x="5" y="407"/>
                </a:lnTo>
                <a:lnTo>
                  <a:pt x="3" y="417"/>
                </a:lnTo>
                <a:lnTo>
                  <a:pt x="1" y="424"/>
                </a:lnTo>
                <a:lnTo>
                  <a:pt x="0" y="439"/>
                </a:lnTo>
                <a:lnTo>
                  <a:pt x="316" y="545"/>
                </a:lnTo>
                <a:lnTo>
                  <a:pt x="551" y="604"/>
                </a:lnTo>
                <a:lnTo>
                  <a:pt x="556" y="580"/>
                </a:lnTo>
                <a:lnTo>
                  <a:pt x="558" y="571"/>
                </a:lnTo>
                <a:lnTo>
                  <a:pt x="561" y="564"/>
                </a:lnTo>
                <a:lnTo>
                  <a:pt x="562" y="553"/>
                </a:lnTo>
                <a:lnTo>
                  <a:pt x="564" y="544"/>
                </a:lnTo>
                <a:lnTo>
                  <a:pt x="567" y="536"/>
                </a:lnTo>
                <a:lnTo>
                  <a:pt x="570" y="525"/>
                </a:lnTo>
                <a:lnTo>
                  <a:pt x="575" y="496"/>
                </a:lnTo>
                <a:lnTo>
                  <a:pt x="583" y="475"/>
                </a:lnTo>
                <a:lnTo>
                  <a:pt x="586" y="459"/>
                </a:lnTo>
                <a:lnTo>
                  <a:pt x="589" y="442"/>
                </a:lnTo>
                <a:lnTo>
                  <a:pt x="594" y="428"/>
                </a:lnTo>
                <a:lnTo>
                  <a:pt x="599" y="415"/>
                </a:lnTo>
                <a:lnTo>
                  <a:pt x="608" y="396"/>
                </a:lnTo>
                <a:lnTo>
                  <a:pt x="612" y="391"/>
                </a:lnTo>
                <a:lnTo>
                  <a:pt x="616" y="380"/>
                </a:lnTo>
                <a:lnTo>
                  <a:pt x="619" y="372"/>
                </a:lnTo>
                <a:lnTo>
                  <a:pt x="615" y="362"/>
                </a:lnTo>
                <a:lnTo>
                  <a:pt x="608" y="358"/>
                </a:lnTo>
                <a:lnTo>
                  <a:pt x="599" y="351"/>
                </a:lnTo>
                <a:lnTo>
                  <a:pt x="600" y="340"/>
                </a:lnTo>
                <a:lnTo>
                  <a:pt x="605" y="331"/>
                </a:lnTo>
                <a:lnTo>
                  <a:pt x="619" y="315"/>
                </a:lnTo>
                <a:lnTo>
                  <a:pt x="627" y="310"/>
                </a:lnTo>
                <a:lnTo>
                  <a:pt x="634" y="305"/>
                </a:lnTo>
                <a:lnTo>
                  <a:pt x="642" y="301"/>
                </a:lnTo>
                <a:lnTo>
                  <a:pt x="645" y="293"/>
                </a:lnTo>
                <a:lnTo>
                  <a:pt x="648" y="281"/>
                </a:lnTo>
                <a:lnTo>
                  <a:pt x="659" y="272"/>
                </a:lnTo>
                <a:lnTo>
                  <a:pt x="666" y="261"/>
                </a:lnTo>
                <a:lnTo>
                  <a:pt x="673" y="250"/>
                </a:lnTo>
                <a:lnTo>
                  <a:pt x="680" y="242"/>
                </a:lnTo>
                <a:lnTo>
                  <a:pt x="688" y="231"/>
                </a:lnTo>
                <a:lnTo>
                  <a:pt x="691" y="224"/>
                </a:lnTo>
                <a:lnTo>
                  <a:pt x="693" y="216"/>
                </a:lnTo>
                <a:lnTo>
                  <a:pt x="686" y="207"/>
                </a:lnTo>
                <a:lnTo>
                  <a:pt x="677" y="197"/>
                </a:lnTo>
                <a:lnTo>
                  <a:pt x="673" y="188"/>
                </a:lnTo>
                <a:lnTo>
                  <a:pt x="672" y="178"/>
                </a:lnTo>
                <a:lnTo>
                  <a:pt x="521" y="137"/>
                </a:lnTo>
                <a:lnTo>
                  <a:pt x="510" y="138"/>
                </a:lnTo>
                <a:lnTo>
                  <a:pt x="500" y="137"/>
                </a:lnTo>
                <a:lnTo>
                  <a:pt x="491" y="134"/>
                </a:lnTo>
                <a:lnTo>
                  <a:pt x="481" y="131"/>
                </a:lnTo>
                <a:lnTo>
                  <a:pt x="472" y="132"/>
                </a:lnTo>
                <a:lnTo>
                  <a:pt x="464" y="137"/>
                </a:lnTo>
                <a:lnTo>
                  <a:pt x="451" y="134"/>
                </a:lnTo>
                <a:lnTo>
                  <a:pt x="443" y="131"/>
                </a:lnTo>
                <a:lnTo>
                  <a:pt x="432" y="134"/>
                </a:lnTo>
                <a:lnTo>
                  <a:pt x="422" y="135"/>
                </a:lnTo>
                <a:lnTo>
                  <a:pt x="407" y="135"/>
                </a:lnTo>
                <a:lnTo>
                  <a:pt x="395" y="129"/>
                </a:lnTo>
                <a:lnTo>
                  <a:pt x="392" y="123"/>
                </a:lnTo>
                <a:lnTo>
                  <a:pt x="357" y="124"/>
                </a:lnTo>
                <a:lnTo>
                  <a:pt x="349" y="124"/>
                </a:lnTo>
                <a:lnTo>
                  <a:pt x="345" y="118"/>
                </a:lnTo>
                <a:lnTo>
                  <a:pt x="340" y="111"/>
                </a:lnTo>
                <a:lnTo>
                  <a:pt x="329" y="105"/>
                </a:lnTo>
                <a:lnTo>
                  <a:pt x="316" y="104"/>
                </a:lnTo>
                <a:lnTo>
                  <a:pt x="306" y="102"/>
                </a:lnTo>
                <a:lnTo>
                  <a:pt x="300" y="104"/>
                </a:lnTo>
                <a:lnTo>
                  <a:pt x="289" y="105"/>
                </a:lnTo>
                <a:lnTo>
                  <a:pt x="273" y="105"/>
                </a:lnTo>
                <a:lnTo>
                  <a:pt x="260" y="102"/>
                </a:lnTo>
                <a:lnTo>
                  <a:pt x="244" y="92"/>
                </a:lnTo>
                <a:lnTo>
                  <a:pt x="237" y="77"/>
                </a:lnTo>
                <a:lnTo>
                  <a:pt x="237" y="65"/>
                </a:lnTo>
                <a:lnTo>
                  <a:pt x="240" y="38"/>
                </a:lnTo>
                <a:lnTo>
                  <a:pt x="237" y="34"/>
                </a:lnTo>
                <a:lnTo>
                  <a:pt x="232" y="24"/>
                </a:lnTo>
                <a:lnTo>
                  <a:pt x="222" y="16"/>
                </a:lnTo>
                <a:lnTo>
                  <a:pt x="211" y="10"/>
                </a:lnTo>
                <a:lnTo>
                  <a:pt x="197" y="5"/>
                </a:lnTo>
                <a:lnTo>
                  <a:pt x="189" y="0"/>
                </a:lnTo>
                <a:lnTo>
                  <a:pt x="181" y="2"/>
                </a:lnTo>
                <a:close/>
              </a:path>
            </a:pathLst>
          </a:custGeom>
          <a:solidFill>
            <a:schemeClr val="accent6">
              <a:lumMod val="60000"/>
              <a:lumOff val="40000"/>
            </a:schemeClr>
          </a:solidFill>
          <a:ln w="0" algn="ctr">
            <a:solidFill>
              <a:srgbClr val="808080"/>
            </a:solidFill>
            <a:round/>
            <a:headEnd/>
            <a:tailEnd/>
          </a:ln>
        </p:spPr>
        <p:txBody>
          <a:bodyPr lIns="101798" tIns="50899" rIns="101798" bIns="50899"/>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endParaRPr>
          </a:p>
        </p:txBody>
      </p:sp>
      <p:sp>
        <p:nvSpPr>
          <p:cNvPr id="21" name="State: Oklahoma"/>
          <p:cNvSpPr>
            <a:spLocks/>
          </p:cNvSpPr>
          <p:nvPr/>
        </p:nvSpPr>
        <p:spPr bwMode="auto">
          <a:xfrm>
            <a:off x="3172074" y="4264816"/>
            <a:ext cx="1122706" cy="618357"/>
          </a:xfrm>
          <a:custGeom>
            <a:avLst/>
            <a:gdLst>
              <a:gd name="T0" fmla="*/ 2147483647 w 752"/>
              <a:gd name="T1" fmla="*/ 2147483647 h 402"/>
              <a:gd name="T2" fmla="*/ 2147483647 w 752"/>
              <a:gd name="T3" fmla="*/ 2147483647 h 402"/>
              <a:gd name="T4" fmla="*/ 2147483647 w 752"/>
              <a:gd name="T5" fmla="*/ 2147483647 h 402"/>
              <a:gd name="T6" fmla="*/ 2147483647 w 752"/>
              <a:gd name="T7" fmla="*/ 2147483647 h 402"/>
              <a:gd name="T8" fmla="*/ 2147483647 w 752"/>
              <a:gd name="T9" fmla="*/ 2147483647 h 402"/>
              <a:gd name="T10" fmla="*/ 2147483647 w 752"/>
              <a:gd name="T11" fmla="*/ 2147483647 h 402"/>
              <a:gd name="T12" fmla="*/ 2147483647 w 752"/>
              <a:gd name="T13" fmla="*/ 2147483647 h 402"/>
              <a:gd name="T14" fmla="*/ 2147483647 w 752"/>
              <a:gd name="T15" fmla="*/ 2147483647 h 402"/>
              <a:gd name="T16" fmla="*/ 2147483647 w 752"/>
              <a:gd name="T17" fmla="*/ 2147483647 h 402"/>
              <a:gd name="T18" fmla="*/ 2147483647 w 752"/>
              <a:gd name="T19" fmla="*/ 2147483647 h 402"/>
              <a:gd name="T20" fmla="*/ 2147483647 w 752"/>
              <a:gd name="T21" fmla="*/ 2147483647 h 402"/>
              <a:gd name="T22" fmla="*/ 2147483647 w 752"/>
              <a:gd name="T23" fmla="*/ 2147483647 h 402"/>
              <a:gd name="T24" fmla="*/ 2147483647 w 752"/>
              <a:gd name="T25" fmla="*/ 2147483647 h 402"/>
              <a:gd name="T26" fmla="*/ 2147483647 w 752"/>
              <a:gd name="T27" fmla="*/ 2147483647 h 402"/>
              <a:gd name="T28" fmla="*/ 2147483647 w 752"/>
              <a:gd name="T29" fmla="*/ 2147483647 h 402"/>
              <a:gd name="T30" fmla="*/ 2147483647 w 752"/>
              <a:gd name="T31" fmla="*/ 2147483647 h 402"/>
              <a:gd name="T32" fmla="*/ 2147483647 w 752"/>
              <a:gd name="T33" fmla="*/ 2147483647 h 402"/>
              <a:gd name="T34" fmla="*/ 2147483647 w 752"/>
              <a:gd name="T35" fmla="*/ 2147483647 h 402"/>
              <a:gd name="T36" fmla="*/ 2147483647 w 752"/>
              <a:gd name="T37" fmla="*/ 2147483647 h 402"/>
              <a:gd name="T38" fmla="*/ 2147483647 w 752"/>
              <a:gd name="T39" fmla="*/ 2147483647 h 402"/>
              <a:gd name="T40" fmla="*/ 2147483647 w 752"/>
              <a:gd name="T41" fmla="*/ 2147483647 h 402"/>
              <a:gd name="T42" fmla="*/ 2147483647 w 752"/>
              <a:gd name="T43" fmla="*/ 2147483647 h 402"/>
              <a:gd name="T44" fmla="*/ 2147483647 w 752"/>
              <a:gd name="T45" fmla="*/ 2147483647 h 402"/>
              <a:gd name="T46" fmla="*/ 2147483647 w 752"/>
              <a:gd name="T47" fmla="*/ 2147483647 h 402"/>
              <a:gd name="T48" fmla="*/ 2147483647 w 752"/>
              <a:gd name="T49" fmla="*/ 2147483647 h 402"/>
              <a:gd name="T50" fmla="*/ 2147483647 w 752"/>
              <a:gd name="T51" fmla="*/ 2147483647 h 402"/>
              <a:gd name="T52" fmla="*/ 2147483647 w 752"/>
              <a:gd name="T53" fmla="*/ 2147483647 h 402"/>
              <a:gd name="T54" fmla="*/ 2147483647 w 752"/>
              <a:gd name="T55" fmla="*/ 2147483647 h 402"/>
              <a:gd name="T56" fmla="*/ 2147483647 w 752"/>
              <a:gd name="T57" fmla="*/ 2147483647 h 402"/>
              <a:gd name="T58" fmla="*/ 2147483647 w 752"/>
              <a:gd name="T59" fmla="*/ 2147483647 h 402"/>
              <a:gd name="T60" fmla="*/ 2147483647 w 752"/>
              <a:gd name="T61" fmla="*/ 2147483647 h 402"/>
              <a:gd name="T62" fmla="*/ 2147483647 w 752"/>
              <a:gd name="T63" fmla="*/ 2147483647 h 402"/>
              <a:gd name="T64" fmla="*/ 2147483647 w 752"/>
              <a:gd name="T65" fmla="*/ 2147483647 h 402"/>
              <a:gd name="T66" fmla="*/ 2147483647 w 752"/>
              <a:gd name="T67" fmla="*/ 2147483647 h 402"/>
              <a:gd name="T68" fmla="*/ 2147483647 w 752"/>
              <a:gd name="T69" fmla="*/ 2147483647 h 402"/>
              <a:gd name="T70" fmla="*/ 2147483647 w 752"/>
              <a:gd name="T71" fmla="*/ 2147483647 h 402"/>
              <a:gd name="T72" fmla="*/ 2147483647 w 752"/>
              <a:gd name="T73" fmla="*/ 2147483647 h 402"/>
              <a:gd name="T74" fmla="*/ 2147483647 w 752"/>
              <a:gd name="T75" fmla="*/ 2147483647 h 402"/>
              <a:gd name="T76" fmla="*/ 2147483647 w 752"/>
              <a:gd name="T77" fmla="*/ 2147483647 h 402"/>
              <a:gd name="T78" fmla="*/ 2147483647 w 752"/>
              <a:gd name="T79" fmla="*/ 2147483647 h 402"/>
              <a:gd name="T80" fmla="*/ 2147483647 w 752"/>
              <a:gd name="T81" fmla="*/ 2147483647 h 402"/>
              <a:gd name="T82" fmla="*/ 2147483647 w 752"/>
              <a:gd name="T83" fmla="*/ 2147483647 h 402"/>
              <a:gd name="T84" fmla="*/ 2147483647 w 752"/>
              <a:gd name="T85" fmla="*/ 2147483647 h 402"/>
              <a:gd name="T86" fmla="*/ 2147483647 w 752"/>
              <a:gd name="T87" fmla="*/ 2147483647 h 40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52"/>
              <a:gd name="T133" fmla="*/ 0 h 402"/>
              <a:gd name="T134" fmla="*/ 752 w 752"/>
              <a:gd name="T135" fmla="*/ 402 h 40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52" h="402">
                <a:moveTo>
                  <a:pt x="6" y="0"/>
                </a:moveTo>
                <a:lnTo>
                  <a:pt x="737" y="26"/>
                </a:lnTo>
                <a:lnTo>
                  <a:pt x="752" y="402"/>
                </a:lnTo>
                <a:lnTo>
                  <a:pt x="744" y="399"/>
                </a:lnTo>
                <a:lnTo>
                  <a:pt x="736" y="397"/>
                </a:lnTo>
                <a:lnTo>
                  <a:pt x="728" y="394"/>
                </a:lnTo>
                <a:lnTo>
                  <a:pt x="723" y="394"/>
                </a:lnTo>
                <a:lnTo>
                  <a:pt x="718" y="388"/>
                </a:lnTo>
                <a:lnTo>
                  <a:pt x="712" y="383"/>
                </a:lnTo>
                <a:lnTo>
                  <a:pt x="702" y="378"/>
                </a:lnTo>
                <a:lnTo>
                  <a:pt x="696" y="374"/>
                </a:lnTo>
                <a:lnTo>
                  <a:pt x="691" y="369"/>
                </a:lnTo>
                <a:lnTo>
                  <a:pt x="686" y="366"/>
                </a:lnTo>
                <a:lnTo>
                  <a:pt x="682" y="370"/>
                </a:lnTo>
                <a:lnTo>
                  <a:pt x="677" y="374"/>
                </a:lnTo>
                <a:lnTo>
                  <a:pt x="675" y="377"/>
                </a:lnTo>
                <a:lnTo>
                  <a:pt x="672" y="380"/>
                </a:lnTo>
                <a:lnTo>
                  <a:pt x="667" y="381"/>
                </a:lnTo>
                <a:lnTo>
                  <a:pt x="663" y="380"/>
                </a:lnTo>
                <a:lnTo>
                  <a:pt x="658" y="377"/>
                </a:lnTo>
                <a:lnTo>
                  <a:pt x="655" y="374"/>
                </a:lnTo>
                <a:lnTo>
                  <a:pt x="651" y="370"/>
                </a:lnTo>
                <a:lnTo>
                  <a:pt x="645" y="369"/>
                </a:lnTo>
                <a:lnTo>
                  <a:pt x="643" y="372"/>
                </a:lnTo>
                <a:lnTo>
                  <a:pt x="640" y="375"/>
                </a:lnTo>
                <a:lnTo>
                  <a:pt x="637" y="377"/>
                </a:lnTo>
                <a:lnTo>
                  <a:pt x="636" y="380"/>
                </a:lnTo>
                <a:lnTo>
                  <a:pt x="632" y="381"/>
                </a:lnTo>
                <a:lnTo>
                  <a:pt x="629" y="380"/>
                </a:lnTo>
                <a:lnTo>
                  <a:pt x="626" y="377"/>
                </a:lnTo>
                <a:lnTo>
                  <a:pt x="621" y="375"/>
                </a:lnTo>
                <a:lnTo>
                  <a:pt x="618" y="375"/>
                </a:lnTo>
                <a:lnTo>
                  <a:pt x="613" y="377"/>
                </a:lnTo>
                <a:lnTo>
                  <a:pt x="610" y="380"/>
                </a:lnTo>
                <a:lnTo>
                  <a:pt x="604" y="381"/>
                </a:lnTo>
                <a:lnTo>
                  <a:pt x="599" y="383"/>
                </a:lnTo>
                <a:lnTo>
                  <a:pt x="599" y="386"/>
                </a:lnTo>
                <a:lnTo>
                  <a:pt x="596" y="389"/>
                </a:lnTo>
                <a:lnTo>
                  <a:pt x="591" y="389"/>
                </a:lnTo>
                <a:lnTo>
                  <a:pt x="588" y="393"/>
                </a:lnTo>
                <a:lnTo>
                  <a:pt x="588" y="396"/>
                </a:lnTo>
                <a:lnTo>
                  <a:pt x="583" y="396"/>
                </a:lnTo>
                <a:lnTo>
                  <a:pt x="580" y="394"/>
                </a:lnTo>
                <a:lnTo>
                  <a:pt x="577" y="389"/>
                </a:lnTo>
                <a:lnTo>
                  <a:pt x="574" y="386"/>
                </a:lnTo>
                <a:lnTo>
                  <a:pt x="569" y="385"/>
                </a:lnTo>
                <a:lnTo>
                  <a:pt x="562" y="383"/>
                </a:lnTo>
                <a:lnTo>
                  <a:pt x="556" y="381"/>
                </a:lnTo>
                <a:lnTo>
                  <a:pt x="551" y="380"/>
                </a:lnTo>
                <a:lnTo>
                  <a:pt x="550" y="375"/>
                </a:lnTo>
                <a:lnTo>
                  <a:pt x="547" y="370"/>
                </a:lnTo>
                <a:lnTo>
                  <a:pt x="542" y="370"/>
                </a:lnTo>
                <a:lnTo>
                  <a:pt x="537" y="370"/>
                </a:lnTo>
                <a:lnTo>
                  <a:pt x="534" y="374"/>
                </a:lnTo>
                <a:lnTo>
                  <a:pt x="532" y="375"/>
                </a:lnTo>
                <a:lnTo>
                  <a:pt x="529" y="375"/>
                </a:lnTo>
                <a:lnTo>
                  <a:pt x="527" y="377"/>
                </a:lnTo>
                <a:lnTo>
                  <a:pt x="524" y="375"/>
                </a:lnTo>
                <a:lnTo>
                  <a:pt x="520" y="375"/>
                </a:lnTo>
                <a:lnTo>
                  <a:pt x="516" y="378"/>
                </a:lnTo>
                <a:lnTo>
                  <a:pt x="516" y="385"/>
                </a:lnTo>
                <a:lnTo>
                  <a:pt x="513" y="388"/>
                </a:lnTo>
                <a:lnTo>
                  <a:pt x="508" y="391"/>
                </a:lnTo>
                <a:lnTo>
                  <a:pt x="507" y="386"/>
                </a:lnTo>
                <a:lnTo>
                  <a:pt x="505" y="383"/>
                </a:lnTo>
                <a:lnTo>
                  <a:pt x="505" y="378"/>
                </a:lnTo>
                <a:lnTo>
                  <a:pt x="504" y="375"/>
                </a:lnTo>
                <a:lnTo>
                  <a:pt x="499" y="375"/>
                </a:lnTo>
                <a:lnTo>
                  <a:pt x="496" y="377"/>
                </a:lnTo>
                <a:lnTo>
                  <a:pt x="494" y="380"/>
                </a:lnTo>
                <a:lnTo>
                  <a:pt x="491" y="381"/>
                </a:lnTo>
                <a:lnTo>
                  <a:pt x="488" y="380"/>
                </a:lnTo>
                <a:lnTo>
                  <a:pt x="483" y="377"/>
                </a:lnTo>
                <a:lnTo>
                  <a:pt x="480" y="370"/>
                </a:lnTo>
                <a:lnTo>
                  <a:pt x="472" y="370"/>
                </a:lnTo>
                <a:lnTo>
                  <a:pt x="472" y="364"/>
                </a:lnTo>
                <a:lnTo>
                  <a:pt x="469" y="361"/>
                </a:lnTo>
                <a:lnTo>
                  <a:pt x="464" y="361"/>
                </a:lnTo>
                <a:lnTo>
                  <a:pt x="461" y="364"/>
                </a:lnTo>
                <a:lnTo>
                  <a:pt x="461" y="367"/>
                </a:lnTo>
                <a:lnTo>
                  <a:pt x="451" y="372"/>
                </a:lnTo>
                <a:lnTo>
                  <a:pt x="446" y="377"/>
                </a:lnTo>
                <a:lnTo>
                  <a:pt x="440" y="375"/>
                </a:lnTo>
                <a:lnTo>
                  <a:pt x="435" y="370"/>
                </a:lnTo>
                <a:lnTo>
                  <a:pt x="435" y="364"/>
                </a:lnTo>
                <a:lnTo>
                  <a:pt x="434" y="359"/>
                </a:lnTo>
                <a:lnTo>
                  <a:pt x="432" y="359"/>
                </a:lnTo>
                <a:lnTo>
                  <a:pt x="431" y="358"/>
                </a:lnTo>
                <a:lnTo>
                  <a:pt x="426" y="356"/>
                </a:lnTo>
                <a:lnTo>
                  <a:pt x="424" y="354"/>
                </a:lnTo>
                <a:lnTo>
                  <a:pt x="423" y="345"/>
                </a:lnTo>
                <a:lnTo>
                  <a:pt x="419" y="339"/>
                </a:lnTo>
                <a:lnTo>
                  <a:pt x="412" y="339"/>
                </a:lnTo>
                <a:lnTo>
                  <a:pt x="405" y="340"/>
                </a:lnTo>
                <a:lnTo>
                  <a:pt x="404" y="342"/>
                </a:lnTo>
                <a:lnTo>
                  <a:pt x="400" y="345"/>
                </a:lnTo>
                <a:lnTo>
                  <a:pt x="397" y="348"/>
                </a:lnTo>
                <a:lnTo>
                  <a:pt x="394" y="351"/>
                </a:lnTo>
                <a:lnTo>
                  <a:pt x="389" y="348"/>
                </a:lnTo>
                <a:lnTo>
                  <a:pt x="388" y="345"/>
                </a:lnTo>
                <a:lnTo>
                  <a:pt x="383" y="340"/>
                </a:lnTo>
                <a:lnTo>
                  <a:pt x="377" y="339"/>
                </a:lnTo>
                <a:lnTo>
                  <a:pt x="373" y="340"/>
                </a:lnTo>
                <a:lnTo>
                  <a:pt x="365" y="339"/>
                </a:lnTo>
                <a:lnTo>
                  <a:pt x="359" y="337"/>
                </a:lnTo>
                <a:lnTo>
                  <a:pt x="351" y="334"/>
                </a:lnTo>
                <a:lnTo>
                  <a:pt x="346" y="329"/>
                </a:lnTo>
                <a:lnTo>
                  <a:pt x="340" y="331"/>
                </a:lnTo>
                <a:lnTo>
                  <a:pt x="334" y="331"/>
                </a:lnTo>
                <a:lnTo>
                  <a:pt x="329" y="329"/>
                </a:lnTo>
                <a:lnTo>
                  <a:pt x="327" y="323"/>
                </a:lnTo>
                <a:lnTo>
                  <a:pt x="324" y="318"/>
                </a:lnTo>
                <a:lnTo>
                  <a:pt x="323" y="315"/>
                </a:lnTo>
                <a:lnTo>
                  <a:pt x="318" y="308"/>
                </a:lnTo>
                <a:lnTo>
                  <a:pt x="315" y="304"/>
                </a:lnTo>
                <a:lnTo>
                  <a:pt x="313" y="305"/>
                </a:lnTo>
                <a:lnTo>
                  <a:pt x="311" y="308"/>
                </a:lnTo>
                <a:lnTo>
                  <a:pt x="308" y="312"/>
                </a:lnTo>
                <a:lnTo>
                  <a:pt x="303" y="308"/>
                </a:lnTo>
                <a:lnTo>
                  <a:pt x="299" y="308"/>
                </a:lnTo>
                <a:lnTo>
                  <a:pt x="296" y="310"/>
                </a:lnTo>
                <a:lnTo>
                  <a:pt x="289" y="308"/>
                </a:lnTo>
                <a:lnTo>
                  <a:pt x="283" y="304"/>
                </a:lnTo>
                <a:lnTo>
                  <a:pt x="275" y="297"/>
                </a:lnTo>
                <a:lnTo>
                  <a:pt x="272" y="293"/>
                </a:lnTo>
                <a:lnTo>
                  <a:pt x="264" y="289"/>
                </a:lnTo>
                <a:lnTo>
                  <a:pt x="257" y="288"/>
                </a:lnTo>
                <a:lnTo>
                  <a:pt x="267" y="76"/>
                </a:lnTo>
                <a:lnTo>
                  <a:pt x="0" y="57"/>
                </a:lnTo>
                <a:lnTo>
                  <a:pt x="6" y="42"/>
                </a:lnTo>
                <a:lnTo>
                  <a:pt x="6" y="34"/>
                </a:lnTo>
                <a:lnTo>
                  <a:pt x="6" y="0"/>
                </a:lnTo>
                <a:close/>
              </a:path>
            </a:pathLst>
          </a:custGeom>
          <a:solidFill>
            <a:schemeClr val="bg1">
              <a:lumMod val="95000"/>
            </a:schemeClr>
          </a:solidFill>
          <a:ln w="0" algn="ctr">
            <a:solidFill>
              <a:srgbClr val="808080"/>
            </a:solidFill>
            <a:round/>
            <a:headEnd/>
            <a:tailEnd/>
          </a:ln>
        </p:spPr>
        <p:txBody>
          <a:bodyPr lIns="101798" tIns="50899" rIns="101798" bIns="50899"/>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endParaRPr>
          </a:p>
        </p:txBody>
      </p:sp>
      <p:sp>
        <p:nvSpPr>
          <p:cNvPr id="22" name="State: Ohio"/>
          <p:cNvSpPr>
            <a:spLocks/>
          </p:cNvSpPr>
          <p:nvPr/>
        </p:nvSpPr>
        <p:spPr bwMode="auto">
          <a:xfrm>
            <a:off x="5474224" y="3323430"/>
            <a:ext cx="538959" cy="642968"/>
          </a:xfrm>
          <a:custGeom>
            <a:avLst/>
            <a:gdLst>
              <a:gd name="T0" fmla="*/ 2147483647 w 361"/>
              <a:gd name="T1" fmla="*/ 2147483647 h 418"/>
              <a:gd name="T2" fmla="*/ 2147483647 w 361"/>
              <a:gd name="T3" fmla="*/ 2147483647 h 418"/>
              <a:gd name="T4" fmla="*/ 2147483647 w 361"/>
              <a:gd name="T5" fmla="*/ 2147483647 h 418"/>
              <a:gd name="T6" fmla="*/ 2147483647 w 361"/>
              <a:gd name="T7" fmla="*/ 2147483647 h 418"/>
              <a:gd name="T8" fmla="*/ 2147483647 w 361"/>
              <a:gd name="T9" fmla="*/ 2147483647 h 418"/>
              <a:gd name="T10" fmla="*/ 2147483647 w 361"/>
              <a:gd name="T11" fmla="*/ 2147483647 h 418"/>
              <a:gd name="T12" fmla="*/ 2147483647 w 361"/>
              <a:gd name="T13" fmla="*/ 2147483647 h 418"/>
              <a:gd name="T14" fmla="*/ 2147483647 w 361"/>
              <a:gd name="T15" fmla="*/ 2147483647 h 418"/>
              <a:gd name="T16" fmla="*/ 2147483647 w 361"/>
              <a:gd name="T17" fmla="*/ 2147483647 h 418"/>
              <a:gd name="T18" fmla="*/ 2147483647 w 361"/>
              <a:gd name="T19" fmla="*/ 2147483647 h 418"/>
              <a:gd name="T20" fmla="*/ 2147483647 w 361"/>
              <a:gd name="T21" fmla="*/ 2147483647 h 418"/>
              <a:gd name="T22" fmla="*/ 2147483647 w 361"/>
              <a:gd name="T23" fmla="*/ 2147483647 h 418"/>
              <a:gd name="T24" fmla="*/ 2147483647 w 361"/>
              <a:gd name="T25" fmla="*/ 2147483647 h 418"/>
              <a:gd name="T26" fmla="*/ 2147483647 w 361"/>
              <a:gd name="T27" fmla="*/ 2147483647 h 418"/>
              <a:gd name="T28" fmla="*/ 2147483647 w 361"/>
              <a:gd name="T29" fmla="*/ 2147483647 h 418"/>
              <a:gd name="T30" fmla="*/ 2147483647 w 361"/>
              <a:gd name="T31" fmla="*/ 0 h 418"/>
              <a:gd name="T32" fmla="*/ 2147483647 w 361"/>
              <a:gd name="T33" fmla="*/ 2147483647 h 418"/>
              <a:gd name="T34" fmla="*/ 2147483647 w 361"/>
              <a:gd name="T35" fmla="*/ 2147483647 h 418"/>
              <a:gd name="T36" fmla="*/ 2147483647 w 361"/>
              <a:gd name="T37" fmla="*/ 2147483647 h 418"/>
              <a:gd name="T38" fmla="*/ 2147483647 w 361"/>
              <a:gd name="T39" fmla="*/ 2147483647 h 418"/>
              <a:gd name="T40" fmla="*/ 2147483647 w 361"/>
              <a:gd name="T41" fmla="*/ 2147483647 h 418"/>
              <a:gd name="T42" fmla="*/ 2147483647 w 361"/>
              <a:gd name="T43" fmla="*/ 2147483647 h 418"/>
              <a:gd name="T44" fmla="*/ 2147483647 w 361"/>
              <a:gd name="T45" fmla="*/ 2147483647 h 418"/>
              <a:gd name="T46" fmla="*/ 2147483647 w 361"/>
              <a:gd name="T47" fmla="*/ 2147483647 h 418"/>
              <a:gd name="T48" fmla="*/ 2147483647 w 361"/>
              <a:gd name="T49" fmla="*/ 2147483647 h 418"/>
              <a:gd name="T50" fmla="*/ 2147483647 w 361"/>
              <a:gd name="T51" fmla="*/ 2147483647 h 418"/>
              <a:gd name="T52" fmla="*/ 2147483647 w 361"/>
              <a:gd name="T53" fmla="*/ 2147483647 h 418"/>
              <a:gd name="T54" fmla="*/ 2147483647 w 361"/>
              <a:gd name="T55" fmla="*/ 2147483647 h 418"/>
              <a:gd name="T56" fmla="*/ 2147483647 w 361"/>
              <a:gd name="T57" fmla="*/ 2147483647 h 418"/>
              <a:gd name="T58" fmla="*/ 2147483647 w 361"/>
              <a:gd name="T59" fmla="*/ 2147483647 h 418"/>
              <a:gd name="T60" fmla="*/ 2147483647 w 361"/>
              <a:gd name="T61" fmla="*/ 2147483647 h 418"/>
              <a:gd name="T62" fmla="*/ 2147483647 w 361"/>
              <a:gd name="T63" fmla="*/ 2147483647 h 418"/>
              <a:gd name="T64" fmla="*/ 2147483647 w 361"/>
              <a:gd name="T65" fmla="*/ 2147483647 h 418"/>
              <a:gd name="T66" fmla="*/ 2147483647 w 361"/>
              <a:gd name="T67" fmla="*/ 2147483647 h 418"/>
              <a:gd name="T68" fmla="*/ 2147483647 w 361"/>
              <a:gd name="T69" fmla="*/ 2147483647 h 418"/>
              <a:gd name="T70" fmla="*/ 2147483647 w 361"/>
              <a:gd name="T71" fmla="*/ 2147483647 h 418"/>
              <a:gd name="T72" fmla="*/ 2147483647 w 361"/>
              <a:gd name="T73" fmla="*/ 2147483647 h 418"/>
              <a:gd name="T74" fmla="*/ 2147483647 w 361"/>
              <a:gd name="T75" fmla="*/ 2147483647 h 418"/>
              <a:gd name="T76" fmla="*/ 2147483647 w 361"/>
              <a:gd name="T77" fmla="*/ 2147483647 h 418"/>
              <a:gd name="T78" fmla="*/ 2147483647 w 361"/>
              <a:gd name="T79" fmla="*/ 2147483647 h 418"/>
              <a:gd name="T80" fmla="*/ 2147483647 w 361"/>
              <a:gd name="T81" fmla="*/ 2147483647 h 418"/>
              <a:gd name="T82" fmla="*/ 2147483647 w 361"/>
              <a:gd name="T83" fmla="*/ 2147483647 h 418"/>
              <a:gd name="T84" fmla="*/ 2147483647 w 361"/>
              <a:gd name="T85" fmla="*/ 2147483647 h 418"/>
              <a:gd name="T86" fmla="*/ 2147483647 w 361"/>
              <a:gd name="T87" fmla="*/ 2147483647 h 418"/>
              <a:gd name="T88" fmla="*/ 2147483647 w 361"/>
              <a:gd name="T89" fmla="*/ 2147483647 h 418"/>
              <a:gd name="T90" fmla="*/ 2147483647 w 361"/>
              <a:gd name="T91" fmla="*/ 2147483647 h 418"/>
              <a:gd name="T92" fmla="*/ 2147483647 w 361"/>
              <a:gd name="T93" fmla="*/ 2147483647 h 418"/>
              <a:gd name="T94" fmla="*/ 2147483647 w 361"/>
              <a:gd name="T95" fmla="*/ 2147483647 h 418"/>
              <a:gd name="T96" fmla="*/ 2147483647 w 361"/>
              <a:gd name="T97" fmla="*/ 2147483647 h 418"/>
              <a:gd name="T98" fmla="*/ 2147483647 w 361"/>
              <a:gd name="T99" fmla="*/ 2147483647 h 418"/>
              <a:gd name="T100" fmla="*/ 2147483647 w 361"/>
              <a:gd name="T101" fmla="*/ 2147483647 h 418"/>
              <a:gd name="T102" fmla="*/ 2147483647 w 361"/>
              <a:gd name="T103" fmla="*/ 2147483647 h 418"/>
              <a:gd name="T104" fmla="*/ 2147483647 w 361"/>
              <a:gd name="T105" fmla="*/ 2147483647 h 418"/>
              <a:gd name="T106" fmla="*/ 2147483647 w 361"/>
              <a:gd name="T107" fmla="*/ 2147483647 h 418"/>
              <a:gd name="T108" fmla="*/ 2147483647 w 361"/>
              <a:gd name="T109" fmla="*/ 2147483647 h 418"/>
              <a:gd name="T110" fmla="*/ 2147483647 w 361"/>
              <a:gd name="T111" fmla="*/ 2147483647 h 418"/>
              <a:gd name="T112" fmla="*/ 2147483647 w 361"/>
              <a:gd name="T113" fmla="*/ 2147483647 h 418"/>
              <a:gd name="T114" fmla="*/ 2147483647 w 361"/>
              <a:gd name="T115" fmla="*/ 2147483647 h 418"/>
              <a:gd name="T116" fmla="*/ 2147483647 w 361"/>
              <a:gd name="T117" fmla="*/ 2147483647 h 418"/>
              <a:gd name="T118" fmla="*/ 2147483647 w 361"/>
              <a:gd name="T119" fmla="*/ 2147483647 h 418"/>
              <a:gd name="T120" fmla="*/ 2147483647 w 361"/>
              <a:gd name="T121" fmla="*/ 2147483647 h 418"/>
              <a:gd name="T122" fmla="*/ 2147483647 w 361"/>
              <a:gd name="T123" fmla="*/ 2147483647 h 4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61"/>
              <a:gd name="T187" fmla="*/ 0 h 418"/>
              <a:gd name="T188" fmla="*/ 361 w 361"/>
              <a:gd name="T189" fmla="*/ 418 h 41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61" h="418">
                <a:moveTo>
                  <a:pt x="0" y="80"/>
                </a:moveTo>
                <a:lnTo>
                  <a:pt x="16" y="78"/>
                </a:lnTo>
                <a:lnTo>
                  <a:pt x="22" y="75"/>
                </a:lnTo>
                <a:lnTo>
                  <a:pt x="35" y="75"/>
                </a:lnTo>
                <a:lnTo>
                  <a:pt x="46" y="73"/>
                </a:lnTo>
                <a:lnTo>
                  <a:pt x="56" y="72"/>
                </a:lnTo>
                <a:lnTo>
                  <a:pt x="64" y="69"/>
                </a:lnTo>
                <a:lnTo>
                  <a:pt x="86" y="70"/>
                </a:lnTo>
                <a:lnTo>
                  <a:pt x="94" y="67"/>
                </a:lnTo>
                <a:lnTo>
                  <a:pt x="99" y="65"/>
                </a:lnTo>
                <a:lnTo>
                  <a:pt x="106" y="67"/>
                </a:lnTo>
                <a:lnTo>
                  <a:pt x="119" y="69"/>
                </a:lnTo>
                <a:lnTo>
                  <a:pt x="132" y="70"/>
                </a:lnTo>
                <a:lnTo>
                  <a:pt x="140" y="76"/>
                </a:lnTo>
                <a:lnTo>
                  <a:pt x="146" y="80"/>
                </a:lnTo>
                <a:lnTo>
                  <a:pt x="154" y="80"/>
                </a:lnTo>
                <a:lnTo>
                  <a:pt x="162" y="80"/>
                </a:lnTo>
                <a:lnTo>
                  <a:pt x="167" y="84"/>
                </a:lnTo>
                <a:lnTo>
                  <a:pt x="180" y="83"/>
                </a:lnTo>
                <a:lnTo>
                  <a:pt x="197" y="81"/>
                </a:lnTo>
                <a:lnTo>
                  <a:pt x="205" y="80"/>
                </a:lnTo>
                <a:lnTo>
                  <a:pt x="216" y="75"/>
                </a:lnTo>
                <a:lnTo>
                  <a:pt x="226" y="70"/>
                </a:lnTo>
                <a:lnTo>
                  <a:pt x="237" y="70"/>
                </a:lnTo>
                <a:lnTo>
                  <a:pt x="246" y="65"/>
                </a:lnTo>
                <a:lnTo>
                  <a:pt x="256" y="56"/>
                </a:lnTo>
                <a:lnTo>
                  <a:pt x="270" y="46"/>
                </a:lnTo>
                <a:lnTo>
                  <a:pt x="286" y="32"/>
                </a:lnTo>
                <a:lnTo>
                  <a:pt x="300" y="21"/>
                </a:lnTo>
                <a:lnTo>
                  <a:pt x="316" y="11"/>
                </a:lnTo>
                <a:lnTo>
                  <a:pt x="329" y="3"/>
                </a:lnTo>
                <a:lnTo>
                  <a:pt x="338" y="0"/>
                </a:lnTo>
                <a:lnTo>
                  <a:pt x="342" y="16"/>
                </a:lnTo>
                <a:lnTo>
                  <a:pt x="342" y="30"/>
                </a:lnTo>
                <a:lnTo>
                  <a:pt x="348" y="57"/>
                </a:lnTo>
                <a:lnTo>
                  <a:pt x="348" y="67"/>
                </a:lnTo>
                <a:lnTo>
                  <a:pt x="353" y="84"/>
                </a:lnTo>
                <a:lnTo>
                  <a:pt x="353" y="102"/>
                </a:lnTo>
                <a:lnTo>
                  <a:pt x="356" y="115"/>
                </a:lnTo>
                <a:lnTo>
                  <a:pt x="359" y="126"/>
                </a:lnTo>
                <a:lnTo>
                  <a:pt x="361" y="150"/>
                </a:lnTo>
                <a:lnTo>
                  <a:pt x="358" y="162"/>
                </a:lnTo>
                <a:lnTo>
                  <a:pt x="358" y="183"/>
                </a:lnTo>
                <a:lnTo>
                  <a:pt x="356" y="202"/>
                </a:lnTo>
                <a:lnTo>
                  <a:pt x="356" y="221"/>
                </a:lnTo>
                <a:lnTo>
                  <a:pt x="353" y="238"/>
                </a:lnTo>
                <a:lnTo>
                  <a:pt x="353" y="253"/>
                </a:lnTo>
                <a:lnTo>
                  <a:pt x="351" y="262"/>
                </a:lnTo>
                <a:lnTo>
                  <a:pt x="343" y="272"/>
                </a:lnTo>
                <a:lnTo>
                  <a:pt x="335" y="285"/>
                </a:lnTo>
                <a:lnTo>
                  <a:pt x="326" y="293"/>
                </a:lnTo>
                <a:lnTo>
                  <a:pt x="321" y="297"/>
                </a:lnTo>
                <a:lnTo>
                  <a:pt x="310" y="299"/>
                </a:lnTo>
                <a:lnTo>
                  <a:pt x="303" y="300"/>
                </a:lnTo>
                <a:lnTo>
                  <a:pt x="300" y="305"/>
                </a:lnTo>
                <a:lnTo>
                  <a:pt x="297" y="312"/>
                </a:lnTo>
                <a:lnTo>
                  <a:pt x="292" y="315"/>
                </a:lnTo>
                <a:lnTo>
                  <a:pt x="286" y="316"/>
                </a:lnTo>
                <a:lnTo>
                  <a:pt x="284" y="324"/>
                </a:lnTo>
                <a:lnTo>
                  <a:pt x="286" y="332"/>
                </a:lnTo>
                <a:lnTo>
                  <a:pt x="284" y="340"/>
                </a:lnTo>
                <a:lnTo>
                  <a:pt x="286" y="348"/>
                </a:lnTo>
                <a:lnTo>
                  <a:pt x="284" y="354"/>
                </a:lnTo>
                <a:lnTo>
                  <a:pt x="281" y="356"/>
                </a:lnTo>
                <a:lnTo>
                  <a:pt x="275" y="358"/>
                </a:lnTo>
                <a:lnTo>
                  <a:pt x="272" y="350"/>
                </a:lnTo>
                <a:lnTo>
                  <a:pt x="267" y="348"/>
                </a:lnTo>
                <a:lnTo>
                  <a:pt x="264" y="350"/>
                </a:lnTo>
                <a:lnTo>
                  <a:pt x="261" y="356"/>
                </a:lnTo>
                <a:lnTo>
                  <a:pt x="256" y="359"/>
                </a:lnTo>
                <a:lnTo>
                  <a:pt x="256" y="366"/>
                </a:lnTo>
                <a:lnTo>
                  <a:pt x="254" y="372"/>
                </a:lnTo>
                <a:lnTo>
                  <a:pt x="254" y="378"/>
                </a:lnTo>
                <a:lnTo>
                  <a:pt x="256" y="385"/>
                </a:lnTo>
                <a:lnTo>
                  <a:pt x="259" y="389"/>
                </a:lnTo>
                <a:lnTo>
                  <a:pt x="257" y="396"/>
                </a:lnTo>
                <a:lnTo>
                  <a:pt x="253" y="399"/>
                </a:lnTo>
                <a:lnTo>
                  <a:pt x="249" y="404"/>
                </a:lnTo>
                <a:lnTo>
                  <a:pt x="249" y="408"/>
                </a:lnTo>
                <a:lnTo>
                  <a:pt x="248" y="412"/>
                </a:lnTo>
                <a:lnTo>
                  <a:pt x="242" y="413"/>
                </a:lnTo>
                <a:lnTo>
                  <a:pt x="237" y="416"/>
                </a:lnTo>
                <a:lnTo>
                  <a:pt x="229" y="418"/>
                </a:lnTo>
                <a:lnTo>
                  <a:pt x="224" y="415"/>
                </a:lnTo>
                <a:lnTo>
                  <a:pt x="216" y="408"/>
                </a:lnTo>
                <a:lnTo>
                  <a:pt x="208" y="405"/>
                </a:lnTo>
                <a:lnTo>
                  <a:pt x="202" y="402"/>
                </a:lnTo>
                <a:lnTo>
                  <a:pt x="200" y="394"/>
                </a:lnTo>
                <a:lnTo>
                  <a:pt x="199" y="391"/>
                </a:lnTo>
                <a:lnTo>
                  <a:pt x="199" y="386"/>
                </a:lnTo>
                <a:lnTo>
                  <a:pt x="194" y="386"/>
                </a:lnTo>
                <a:lnTo>
                  <a:pt x="189" y="386"/>
                </a:lnTo>
                <a:lnTo>
                  <a:pt x="186" y="388"/>
                </a:lnTo>
                <a:lnTo>
                  <a:pt x="184" y="394"/>
                </a:lnTo>
                <a:lnTo>
                  <a:pt x="180" y="399"/>
                </a:lnTo>
                <a:lnTo>
                  <a:pt x="175" y="404"/>
                </a:lnTo>
                <a:lnTo>
                  <a:pt x="168" y="407"/>
                </a:lnTo>
                <a:lnTo>
                  <a:pt x="160" y="407"/>
                </a:lnTo>
                <a:lnTo>
                  <a:pt x="154" y="401"/>
                </a:lnTo>
                <a:lnTo>
                  <a:pt x="149" y="397"/>
                </a:lnTo>
                <a:lnTo>
                  <a:pt x="145" y="397"/>
                </a:lnTo>
                <a:lnTo>
                  <a:pt x="141" y="397"/>
                </a:lnTo>
                <a:lnTo>
                  <a:pt x="140" y="399"/>
                </a:lnTo>
                <a:lnTo>
                  <a:pt x="137" y="404"/>
                </a:lnTo>
                <a:lnTo>
                  <a:pt x="133" y="405"/>
                </a:lnTo>
                <a:lnTo>
                  <a:pt x="130" y="410"/>
                </a:lnTo>
                <a:lnTo>
                  <a:pt x="129" y="408"/>
                </a:lnTo>
                <a:lnTo>
                  <a:pt x="126" y="405"/>
                </a:lnTo>
                <a:lnTo>
                  <a:pt x="119" y="401"/>
                </a:lnTo>
                <a:lnTo>
                  <a:pt x="114" y="396"/>
                </a:lnTo>
                <a:lnTo>
                  <a:pt x="110" y="393"/>
                </a:lnTo>
                <a:lnTo>
                  <a:pt x="100" y="394"/>
                </a:lnTo>
                <a:lnTo>
                  <a:pt x="92" y="394"/>
                </a:lnTo>
                <a:lnTo>
                  <a:pt x="86" y="393"/>
                </a:lnTo>
                <a:lnTo>
                  <a:pt x="81" y="386"/>
                </a:lnTo>
                <a:lnTo>
                  <a:pt x="78" y="378"/>
                </a:lnTo>
                <a:lnTo>
                  <a:pt x="73" y="374"/>
                </a:lnTo>
                <a:lnTo>
                  <a:pt x="67" y="367"/>
                </a:lnTo>
                <a:lnTo>
                  <a:pt x="60" y="364"/>
                </a:lnTo>
                <a:lnTo>
                  <a:pt x="52" y="364"/>
                </a:lnTo>
                <a:lnTo>
                  <a:pt x="46" y="361"/>
                </a:lnTo>
                <a:lnTo>
                  <a:pt x="38" y="358"/>
                </a:lnTo>
                <a:lnTo>
                  <a:pt x="33" y="359"/>
                </a:lnTo>
                <a:lnTo>
                  <a:pt x="27" y="366"/>
                </a:lnTo>
                <a:lnTo>
                  <a:pt x="0" y="80"/>
                </a:lnTo>
                <a:close/>
              </a:path>
            </a:pathLst>
          </a:custGeom>
          <a:solidFill>
            <a:schemeClr val="bg1">
              <a:lumMod val="95000"/>
            </a:schemeClr>
          </a:solidFill>
          <a:ln w="0" algn="ctr">
            <a:solidFill>
              <a:srgbClr val="808080"/>
            </a:solidFill>
            <a:round/>
            <a:headEnd/>
            <a:tailEnd/>
          </a:ln>
        </p:spPr>
        <p:txBody>
          <a:bodyPr lIns="101798" tIns="50899" rIns="101798" bIns="50899"/>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endParaRPr>
          </a:p>
        </p:txBody>
      </p:sp>
      <p:sp>
        <p:nvSpPr>
          <p:cNvPr id="23" name="State: North Dakota"/>
          <p:cNvSpPr>
            <a:spLocks/>
          </p:cNvSpPr>
          <p:nvPr/>
        </p:nvSpPr>
        <p:spPr bwMode="auto">
          <a:xfrm>
            <a:off x="3203425" y="2220540"/>
            <a:ext cx="846508" cy="567596"/>
          </a:xfrm>
          <a:custGeom>
            <a:avLst/>
            <a:gdLst>
              <a:gd name="T0" fmla="*/ 2147483647 w 567"/>
              <a:gd name="T1" fmla="*/ 0 h 369"/>
              <a:gd name="T2" fmla="*/ 0 w 567"/>
              <a:gd name="T3" fmla="*/ 2147483647 h 369"/>
              <a:gd name="T4" fmla="*/ 2147483647 w 567"/>
              <a:gd name="T5" fmla="*/ 2147483647 h 369"/>
              <a:gd name="T6" fmla="*/ 2147483647 w 567"/>
              <a:gd name="T7" fmla="*/ 2147483647 h 369"/>
              <a:gd name="T8" fmla="*/ 2147483647 w 567"/>
              <a:gd name="T9" fmla="*/ 2147483647 h 369"/>
              <a:gd name="T10" fmla="*/ 2147483647 w 567"/>
              <a:gd name="T11" fmla="*/ 2147483647 h 369"/>
              <a:gd name="T12" fmla="*/ 2147483647 w 567"/>
              <a:gd name="T13" fmla="*/ 2147483647 h 369"/>
              <a:gd name="T14" fmla="*/ 2147483647 w 567"/>
              <a:gd name="T15" fmla="*/ 2147483647 h 369"/>
              <a:gd name="T16" fmla="*/ 2147483647 w 567"/>
              <a:gd name="T17" fmla="*/ 2147483647 h 369"/>
              <a:gd name="T18" fmla="*/ 2147483647 w 567"/>
              <a:gd name="T19" fmla="*/ 2147483647 h 369"/>
              <a:gd name="T20" fmla="*/ 2147483647 w 567"/>
              <a:gd name="T21" fmla="*/ 2147483647 h 369"/>
              <a:gd name="T22" fmla="*/ 2147483647 w 567"/>
              <a:gd name="T23" fmla="*/ 2147483647 h 369"/>
              <a:gd name="T24" fmla="*/ 2147483647 w 567"/>
              <a:gd name="T25" fmla="*/ 2147483647 h 369"/>
              <a:gd name="T26" fmla="*/ 2147483647 w 567"/>
              <a:gd name="T27" fmla="*/ 2147483647 h 369"/>
              <a:gd name="T28" fmla="*/ 2147483647 w 567"/>
              <a:gd name="T29" fmla="*/ 2147483647 h 369"/>
              <a:gd name="T30" fmla="*/ 2147483647 w 567"/>
              <a:gd name="T31" fmla="*/ 2147483647 h 369"/>
              <a:gd name="T32" fmla="*/ 2147483647 w 567"/>
              <a:gd name="T33" fmla="*/ 2147483647 h 369"/>
              <a:gd name="T34" fmla="*/ 2147483647 w 567"/>
              <a:gd name="T35" fmla="*/ 2147483647 h 369"/>
              <a:gd name="T36" fmla="*/ 2147483647 w 567"/>
              <a:gd name="T37" fmla="*/ 2147483647 h 369"/>
              <a:gd name="T38" fmla="*/ 2147483647 w 567"/>
              <a:gd name="T39" fmla="*/ 2147483647 h 369"/>
              <a:gd name="T40" fmla="*/ 2147483647 w 567"/>
              <a:gd name="T41" fmla="*/ 2147483647 h 369"/>
              <a:gd name="T42" fmla="*/ 2147483647 w 567"/>
              <a:gd name="T43" fmla="*/ 2147483647 h 369"/>
              <a:gd name="T44" fmla="*/ 2147483647 w 567"/>
              <a:gd name="T45" fmla="*/ 2147483647 h 369"/>
              <a:gd name="T46" fmla="*/ 2147483647 w 567"/>
              <a:gd name="T47" fmla="*/ 2147483647 h 369"/>
              <a:gd name="T48" fmla="*/ 2147483647 w 567"/>
              <a:gd name="T49" fmla="*/ 2147483647 h 369"/>
              <a:gd name="T50" fmla="*/ 2147483647 w 567"/>
              <a:gd name="T51" fmla="*/ 2147483647 h 369"/>
              <a:gd name="T52" fmla="*/ 2147483647 w 567"/>
              <a:gd name="T53" fmla="*/ 2147483647 h 369"/>
              <a:gd name="T54" fmla="*/ 2147483647 w 567"/>
              <a:gd name="T55" fmla="*/ 2147483647 h 369"/>
              <a:gd name="T56" fmla="*/ 2147483647 w 567"/>
              <a:gd name="T57" fmla="*/ 2147483647 h 369"/>
              <a:gd name="T58" fmla="*/ 2147483647 w 567"/>
              <a:gd name="T59" fmla="*/ 2147483647 h 369"/>
              <a:gd name="T60" fmla="*/ 2147483647 w 567"/>
              <a:gd name="T61" fmla="*/ 2147483647 h 369"/>
              <a:gd name="T62" fmla="*/ 2147483647 w 567"/>
              <a:gd name="T63" fmla="*/ 2147483647 h 369"/>
              <a:gd name="T64" fmla="*/ 2147483647 w 567"/>
              <a:gd name="T65" fmla="*/ 2147483647 h 369"/>
              <a:gd name="T66" fmla="*/ 2147483647 w 567"/>
              <a:gd name="T67" fmla="*/ 2147483647 h 369"/>
              <a:gd name="T68" fmla="*/ 2147483647 w 567"/>
              <a:gd name="T69" fmla="*/ 2147483647 h 369"/>
              <a:gd name="T70" fmla="*/ 2147483647 w 567"/>
              <a:gd name="T71" fmla="*/ 2147483647 h 369"/>
              <a:gd name="T72" fmla="*/ 2147483647 w 567"/>
              <a:gd name="T73" fmla="*/ 0 h 36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67"/>
              <a:gd name="T112" fmla="*/ 0 h 369"/>
              <a:gd name="T113" fmla="*/ 567 w 567"/>
              <a:gd name="T114" fmla="*/ 369 h 36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67" h="369">
                <a:moveTo>
                  <a:pt x="38" y="0"/>
                </a:moveTo>
                <a:lnTo>
                  <a:pt x="0" y="336"/>
                </a:lnTo>
                <a:lnTo>
                  <a:pt x="567" y="369"/>
                </a:lnTo>
                <a:lnTo>
                  <a:pt x="567" y="328"/>
                </a:lnTo>
                <a:lnTo>
                  <a:pt x="560" y="318"/>
                </a:lnTo>
                <a:lnTo>
                  <a:pt x="556" y="310"/>
                </a:lnTo>
                <a:lnTo>
                  <a:pt x="552" y="298"/>
                </a:lnTo>
                <a:lnTo>
                  <a:pt x="548" y="288"/>
                </a:lnTo>
                <a:lnTo>
                  <a:pt x="548" y="282"/>
                </a:lnTo>
                <a:lnTo>
                  <a:pt x="555" y="277"/>
                </a:lnTo>
                <a:lnTo>
                  <a:pt x="556" y="271"/>
                </a:lnTo>
                <a:lnTo>
                  <a:pt x="555" y="258"/>
                </a:lnTo>
                <a:lnTo>
                  <a:pt x="550" y="245"/>
                </a:lnTo>
                <a:lnTo>
                  <a:pt x="548" y="226"/>
                </a:lnTo>
                <a:lnTo>
                  <a:pt x="545" y="209"/>
                </a:lnTo>
                <a:lnTo>
                  <a:pt x="544" y="191"/>
                </a:lnTo>
                <a:lnTo>
                  <a:pt x="542" y="180"/>
                </a:lnTo>
                <a:lnTo>
                  <a:pt x="537" y="169"/>
                </a:lnTo>
                <a:lnTo>
                  <a:pt x="539" y="155"/>
                </a:lnTo>
                <a:lnTo>
                  <a:pt x="539" y="143"/>
                </a:lnTo>
                <a:lnTo>
                  <a:pt x="536" y="128"/>
                </a:lnTo>
                <a:lnTo>
                  <a:pt x="534" y="116"/>
                </a:lnTo>
                <a:lnTo>
                  <a:pt x="536" y="102"/>
                </a:lnTo>
                <a:lnTo>
                  <a:pt x="531" y="96"/>
                </a:lnTo>
                <a:lnTo>
                  <a:pt x="529" y="86"/>
                </a:lnTo>
                <a:lnTo>
                  <a:pt x="528" y="75"/>
                </a:lnTo>
                <a:lnTo>
                  <a:pt x="533" y="69"/>
                </a:lnTo>
                <a:lnTo>
                  <a:pt x="537" y="64"/>
                </a:lnTo>
                <a:lnTo>
                  <a:pt x="534" y="54"/>
                </a:lnTo>
                <a:lnTo>
                  <a:pt x="531" y="45"/>
                </a:lnTo>
                <a:lnTo>
                  <a:pt x="523" y="35"/>
                </a:lnTo>
                <a:lnTo>
                  <a:pt x="418" y="27"/>
                </a:lnTo>
                <a:lnTo>
                  <a:pt x="361" y="26"/>
                </a:lnTo>
                <a:lnTo>
                  <a:pt x="315" y="24"/>
                </a:lnTo>
                <a:lnTo>
                  <a:pt x="274" y="21"/>
                </a:lnTo>
                <a:lnTo>
                  <a:pt x="232" y="18"/>
                </a:lnTo>
                <a:lnTo>
                  <a:pt x="38" y="0"/>
                </a:lnTo>
                <a:close/>
              </a:path>
            </a:pathLst>
          </a:custGeom>
          <a:solidFill>
            <a:schemeClr val="bg1">
              <a:lumMod val="95000"/>
            </a:schemeClr>
          </a:solidFill>
          <a:ln w="0" algn="ctr">
            <a:solidFill>
              <a:srgbClr val="808080"/>
            </a:solidFill>
            <a:round/>
            <a:headEnd/>
            <a:tailEnd/>
          </a:ln>
        </p:spPr>
        <p:txBody>
          <a:bodyPr lIns="101798" tIns="50899" rIns="101798" bIns="50899"/>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endParaRPr>
          </a:p>
        </p:txBody>
      </p:sp>
      <p:sp>
        <p:nvSpPr>
          <p:cNvPr id="24" name="State: North Carolina"/>
          <p:cNvSpPr>
            <a:spLocks/>
          </p:cNvSpPr>
          <p:nvPr/>
        </p:nvSpPr>
        <p:spPr bwMode="auto">
          <a:xfrm>
            <a:off x="5614556" y="4092530"/>
            <a:ext cx="1182424" cy="547599"/>
          </a:xfrm>
          <a:custGeom>
            <a:avLst/>
            <a:gdLst>
              <a:gd name="T0" fmla="*/ 2147483647 w 792"/>
              <a:gd name="T1" fmla="*/ 2147483647 h 356"/>
              <a:gd name="T2" fmla="*/ 2147483647 w 792"/>
              <a:gd name="T3" fmla="*/ 2147483647 h 356"/>
              <a:gd name="T4" fmla="*/ 2147483647 w 792"/>
              <a:gd name="T5" fmla="*/ 2147483647 h 356"/>
              <a:gd name="T6" fmla="*/ 2147483647 w 792"/>
              <a:gd name="T7" fmla="*/ 2147483647 h 356"/>
              <a:gd name="T8" fmla="*/ 2147483647 w 792"/>
              <a:gd name="T9" fmla="*/ 2147483647 h 356"/>
              <a:gd name="T10" fmla="*/ 2147483647 w 792"/>
              <a:gd name="T11" fmla="*/ 2147483647 h 356"/>
              <a:gd name="T12" fmla="*/ 2147483647 w 792"/>
              <a:gd name="T13" fmla="*/ 2147483647 h 356"/>
              <a:gd name="T14" fmla="*/ 2147483647 w 792"/>
              <a:gd name="T15" fmla="*/ 2147483647 h 356"/>
              <a:gd name="T16" fmla="*/ 2147483647 w 792"/>
              <a:gd name="T17" fmla="*/ 2147483647 h 356"/>
              <a:gd name="T18" fmla="*/ 2147483647 w 792"/>
              <a:gd name="T19" fmla="*/ 2147483647 h 356"/>
              <a:gd name="T20" fmla="*/ 2147483647 w 792"/>
              <a:gd name="T21" fmla="*/ 2147483647 h 356"/>
              <a:gd name="T22" fmla="*/ 2147483647 w 792"/>
              <a:gd name="T23" fmla="*/ 2147483647 h 356"/>
              <a:gd name="T24" fmla="*/ 2147483647 w 792"/>
              <a:gd name="T25" fmla="*/ 2147483647 h 356"/>
              <a:gd name="T26" fmla="*/ 2147483647 w 792"/>
              <a:gd name="T27" fmla="*/ 2147483647 h 356"/>
              <a:gd name="T28" fmla="*/ 2147483647 w 792"/>
              <a:gd name="T29" fmla="*/ 2147483647 h 356"/>
              <a:gd name="T30" fmla="*/ 2147483647 w 792"/>
              <a:gd name="T31" fmla="*/ 2147483647 h 356"/>
              <a:gd name="T32" fmla="*/ 2147483647 w 792"/>
              <a:gd name="T33" fmla="*/ 2147483647 h 356"/>
              <a:gd name="T34" fmla="*/ 2147483647 w 792"/>
              <a:gd name="T35" fmla="*/ 2147483647 h 356"/>
              <a:gd name="T36" fmla="*/ 2147483647 w 792"/>
              <a:gd name="T37" fmla="*/ 2147483647 h 356"/>
              <a:gd name="T38" fmla="*/ 2147483647 w 792"/>
              <a:gd name="T39" fmla="*/ 2147483647 h 356"/>
              <a:gd name="T40" fmla="*/ 2147483647 w 792"/>
              <a:gd name="T41" fmla="*/ 2147483647 h 356"/>
              <a:gd name="T42" fmla="*/ 2147483647 w 792"/>
              <a:gd name="T43" fmla="*/ 2147483647 h 356"/>
              <a:gd name="T44" fmla="*/ 2147483647 w 792"/>
              <a:gd name="T45" fmla="*/ 2147483647 h 356"/>
              <a:gd name="T46" fmla="*/ 2147483647 w 792"/>
              <a:gd name="T47" fmla="*/ 2147483647 h 356"/>
              <a:gd name="T48" fmla="*/ 2147483647 w 792"/>
              <a:gd name="T49" fmla="*/ 2147483647 h 356"/>
              <a:gd name="T50" fmla="*/ 2147483647 w 792"/>
              <a:gd name="T51" fmla="*/ 2147483647 h 356"/>
              <a:gd name="T52" fmla="*/ 2147483647 w 792"/>
              <a:gd name="T53" fmla="*/ 2147483647 h 356"/>
              <a:gd name="T54" fmla="*/ 2147483647 w 792"/>
              <a:gd name="T55" fmla="*/ 2147483647 h 356"/>
              <a:gd name="T56" fmla="*/ 2147483647 w 792"/>
              <a:gd name="T57" fmla="*/ 2147483647 h 356"/>
              <a:gd name="T58" fmla="*/ 2147483647 w 792"/>
              <a:gd name="T59" fmla="*/ 2147483647 h 356"/>
              <a:gd name="T60" fmla="*/ 2147483647 w 792"/>
              <a:gd name="T61" fmla="*/ 2147483647 h 356"/>
              <a:gd name="T62" fmla="*/ 2147483647 w 792"/>
              <a:gd name="T63" fmla="*/ 2147483647 h 356"/>
              <a:gd name="T64" fmla="*/ 2147483647 w 792"/>
              <a:gd name="T65" fmla="*/ 2147483647 h 356"/>
              <a:gd name="T66" fmla="*/ 2147483647 w 792"/>
              <a:gd name="T67" fmla="*/ 2147483647 h 356"/>
              <a:gd name="T68" fmla="*/ 2147483647 w 792"/>
              <a:gd name="T69" fmla="*/ 2147483647 h 356"/>
              <a:gd name="T70" fmla="*/ 2147483647 w 792"/>
              <a:gd name="T71" fmla="*/ 2147483647 h 356"/>
              <a:gd name="T72" fmla="*/ 2147483647 w 792"/>
              <a:gd name="T73" fmla="*/ 2147483647 h 356"/>
              <a:gd name="T74" fmla="*/ 2147483647 w 792"/>
              <a:gd name="T75" fmla="*/ 2147483647 h 356"/>
              <a:gd name="T76" fmla="*/ 2147483647 w 792"/>
              <a:gd name="T77" fmla="*/ 2147483647 h 356"/>
              <a:gd name="T78" fmla="*/ 2147483647 w 792"/>
              <a:gd name="T79" fmla="*/ 2147483647 h 356"/>
              <a:gd name="T80" fmla="*/ 2147483647 w 792"/>
              <a:gd name="T81" fmla="*/ 2147483647 h 356"/>
              <a:gd name="T82" fmla="*/ 2147483647 w 792"/>
              <a:gd name="T83" fmla="*/ 2147483647 h 356"/>
              <a:gd name="T84" fmla="*/ 2147483647 w 792"/>
              <a:gd name="T85" fmla="*/ 2147483647 h 356"/>
              <a:gd name="T86" fmla="*/ 2147483647 w 792"/>
              <a:gd name="T87" fmla="*/ 2147483647 h 356"/>
              <a:gd name="T88" fmla="*/ 2147483647 w 792"/>
              <a:gd name="T89" fmla="*/ 2147483647 h 356"/>
              <a:gd name="T90" fmla="*/ 2147483647 w 792"/>
              <a:gd name="T91" fmla="*/ 2147483647 h 356"/>
              <a:gd name="T92" fmla="*/ 2147483647 w 792"/>
              <a:gd name="T93" fmla="*/ 2147483647 h 356"/>
              <a:gd name="T94" fmla="*/ 2147483647 w 792"/>
              <a:gd name="T95" fmla="*/ 2147483647 h 356"/>
              <a:gd name="T96" fmla="*/ 2147483647 w 792"/>
              <a:gd name="T97" fmla="*/ 2147483647 h 356"/>
              <a:gd name="T98" fmla="*/ 2147483647 w 792"/>
              <a:gd name="T99" fmla="*/ 2147483647 h 356"/>
              <a:gd name="T100" fmla="*/ 2147483647 w 792"/>
              <a:gd name="T101" fmla="*/ 2147483647 h 356"/>
              <a:gd name="T102" fmla="*/ 2147483647 w 792"/>
              <a:gd name="T103" fmla="*/ 2147483647 h 356"/>
              <a:gd name="T104" fmla="*/ 2147483647 w 792"/>
              <a:gd name="T105" fmla="*/ 2147483647 h 356"/>
              <a:gd name="T106" fmla="*/ 2147483647 w 792"/>
              <a:gd name="T107" fmla="*/ 2147483647 h 356"/>
              <a:gd name="T108" fmla="*/ 2147483647 w 792"/>
              <a:gd name="T109" fmla="*/ 2147483647 h 356"/>
              <a:gd name="T110" fmla="*/ 2147483647 w 792"/>
              <a:gd name="T111" fmla="*/ 2147483647 h 356"/>
              <a:gd name="T112" fmla="*/ 2147483647 w 792"/>
              <a:gd name="T113" fmla="*/ 2147483647 h 356"/>
              <a:gd name="T114" fmla="*/ 2147483647 w 792"/>
              <a:gd name="T115" fmla="*/ 2147483647 h 356"/>
              <a:gd name="T116" fmla="*/ 2147483647 w 792"/>
              <a:gd name="T117" fmla="*/ 2147483647 h 356"/>
              <a:gd name="T118" fmla="*/ 2147483647 w 792"/>
              <a:gd name="T119" fmla="*/ 2147483647 h 356"/>
              <a:gd name="T120" fmla="*/ 2147483647 w 792"/>
              <a:gd name="T121" fmla="*/ 2147483647 h 35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92"/>
              <a:gd name="T184" fmla="*/ 0 h 356"/>
              <a:gd name="T185" fmla="*/ 792 w 792"/>
              <a:gd name="T186" fmla="*/ 356 h 35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92" h="356">
                <a:moveTo>
                  <a:pt x="230" y="97"/>
                </a:moveTo>
                <a:lnTo>
                  <a:pt x="732" y="0"/>
                </a:lnTo>
                <a:lnTo>
                  <a:pt x="734" y="26"/>
                </a:lnTo>
                <a:lnTo>
                  <a:pt x="737" y="35"/>
                </a:lnTo>
                <a:lnTo>
                  <a:pt x="748" y="46"/>
                </a:lnTo>
                <a:lnTo>
                  <a:pt x="754" y="59"/>
                </a:lnTo>
                <a:lnTo>
                  <a:pt x="767" y="72"/>
                </a:lnTo>
                <a:lnTo>
                  <a:pt x="780" y="91"/>
                </a:lnTo>
                <a:lnTo>
                  <a:pt x="788" y="102"/>
                </a:lnTo>
                <a:lnTo>
                  <a:pt x="792" y="112"/>
                </a:lnTo>
                <a:lnTo>
                  <a:pt x="791" y="153"/>
                </a:lnTo>
                <a:lnTo>
                  <a:pt x="748" y="194"/>
                </a:lnTo>
                <a:lnTo>
                  <a:pt x="743" y="194"/>
                </a:lnTo>
                <a:lnTo>
                  <a:pt x="740" y="191"/>
                </a:lnTo>
                <a:lnTo>
                  <a:pt x="746" y="186"/>
                </a:lnTo>
                <a:lnTo>
                  <a:pt x="784" y="151"/>
                </a:lnTo>
                <a:lnTo>
                  <a:pt x="786" y="112"/>
                </a:lnTo>
                <a:lnTo>
                  <a:pt x="746" y="59"/>
                </a:lnTo>
                <a:lnTo>
                  <a:pt x="742" y="56"/>
                </a:lnTo>
                <a:lnTo>
                  <a:pt x="730" y="58"/>
                </a:lnTo>
                <a:lnTo>
                  <a:pt x="726" y="61"/>
                </a:lnTo>
                <a:lnTo>
                  <a:pt x="718" y="67"/>
                </a:lnTo>
                <a:lnTo>
                  <a:pt x="707" y="78"/>
                </a:lnTo>
                <a:lnTo>
                  <a:pt x="697" y="83"/>
                </a:lnTo>
                <a:lnTo>
                  <a:pt x="691" y="83"/>
                </a:lnTo>
                <a:lnTo>
                  <a:pt x="684" y="78"/>
                </a:lnTo>
                <a:lnTo>
                  <a:pt x="681" y="72"/>
                </a:lnTo>
                <a:lnTo>
                  <a:pt x="680" y="62"/>
                </a:lnTo>
                <a:lnTo>
                  <a:pt x="676" y="66"/>
                </a:lnTo>
                <a:lnTo>
                  <a:pt x="678" y="78"/>
                </a:lnTo>
                <a:lnTo>
                  <a:pt x="681" y="88"/>
                </a:lnTo>
                <a:lnTo>
                  <a:pt x="684" y="96"/>
                </a:lnTo>
                <a:lnTo>
                  <a:pt x="689" y="97"/>
                </a:lnTo>
                <a:lnTo>
                  <a:pt x="702" y="97"/>
                </a:lnTo>
                <a:lnTo>
                  <a:pt x="707" y="94"/>
                </a:lnTo>
                <a:lnTo>
                  <a:pt x="713" y="94"/>
                </a:lnTo>
                <a:lnTo>
                  <a:pt x="721" y="89"/>
                </a:lnTo>
                <a:lnTo>
                  <a:pt x="726" y="85"/>
                </a:lnTo>
                <a:lnTo>
                  <a:pt x="732" y="85"/>
                </a:lnTo>
                <a:lnTo>
                  <a:pt x="735" y="86"/>
                </a:lnTo>
                <a:lnTo>
                  <a:pt x="735" y="94"/>
                </a:lnTo>
                <a:lnTo>
                  <a:pt x="737" y="99"/>
                </a:lnTo>
                <a:lnTo>
                  <a:pt x="738" y="105"/>
                </a:lnTo>
                <a:lnTo>
                  <a:pt x="743" y="108"/>
                </a:lnTo>
                <a:lnTo>
                  <a:pt x="748" y="105"/>
                </a:lnTo>
                <a:lnTo>
                  <a:pt x="751" y="97"/>
                </a:lnTo>
                <a:lnTo>
                  <a:pt x="753" y="89"/>
                </a:lnTo>
                <a:lnTo>
                  <a:pt x="756" y="83"/>
                </a:lnTo>
                <a:lnTo>
                  <a:pt x="761" y="86"/>
                </a:lnTo>
                <a:lnTo>
                  <a:pt x="765" y="91"/>
                </a:lnTo>
                <a:lnTo>
                  <a:pt x="767" y="99"/>
                </a:lnTo>
                <a:lnTo>
                  <a:pt x="767" y="104"/>
                </a:lnTo>
                <a:lnTo>
                  <a:pt x="770" y="105"/>
                </a:lnTo>
                <a:lnTo>
                  <a:pt x="772" y="112"/>
                </a:lnTo>
                <a:lnTo>
                  <a:pt x="773" y="115"/>
                </a:lnTo>
                <a:lnTo>
                  <a:pt x="769" y="120"/>
                </a:lnTo>
                <a:lnTo>
                  <a:pt x="764" y="124"/>
                </a:lnTo>
                <a:lnTo>
                  <a:pt x="761" y="131"/>
                </a:lnTo>
                <a:lnTo>
                  <a:pt x="757" y="139"/>
                </a:lnTo>
                <a:lnTo>
                  <a:pt x="756" y="145"/>
                </a:lnTo>
                <a:lnTo>
                  <a:pt x="748" y="148"/>
                </a:lnTo>
                <a:lnTo>
                  <a:pt x="743" y="153"/>
                </a:lnTo>
                <a:lnTo>
                  <a:pt x="737" y="156"/>
                </a:lnTo>
                <a:lnTo>
                  <a:pt x="727" y="156"/>
                </a:lnTo>
                <a:lnTo>
                  <a:pt x="724" y="153"/>
                </a:lnTo>
                <a:lnTo>
                  <a:pt x="718" y="150"/>
                </a:lnTo>
                <a:lnTo>
                  <a:pt x="713" y="145"/>
                </a:lnTo>
                <a:lnTo>
                  <a:pt x="710" y="142"/>
                </a:lnTo>
                <a:lnTo>
                  <a:pt x="707" y="145"/>
                </a:lnTo>
                <a:lnTo>
                  <a:pt x="702" y="150"/>
                </a:lnTo>
                <a:lnTo>
                  <a:pt x="697" y="151"/>
                </a:lnTo>
                <a:lnTo>
                  <a:pt x="689" y="153"/>
                </a:lnTo>
                <a:lnTo>
                  <a:pt x="684" y="155"/>
                </a:lnTo>
                <a:lnTo>
                  <a:pt x="689" y="156"/>
                </a:lnTo>
                <a:lnTo>
                  <a:pt x="695" y="156"/>
                </a:lnTo>
                <a:lnTo>
                  <a:pt x="699" y="158"/>
                </a:lnTo>
                <a:lnTo>
                  <a:pt x="705" y="159"/>
                </a:lnTo>
                <a:lnTo>
                  <a:pt x="710" y="162"/>
                </a:lnTo>
                <a:lnTo>
                  <a:pt x="715" y="166"/>
                </a:lnTo>
                <a:lnTo>
                  <a:pt x="715" y="169"/>
                </a:lnTo>
                <a:lnTo>
                  <a:pt x="711" y="174"/>
                </a:lnTo>
                <a:lnTo>
                  <a:pt x="710" y="178"/>
                </a:lnTo>
                <a:lnTo>
                  <a:pt x="710" y="183"/>
                </a:lnTo>
                <a:lnTo>
                  <a:pt x="707" y="186"/>
                </a:lnTo>
                <a:lnTo>
                  <a:pt x="705" y="191"/>
                </a:lnTo>
                <a:lnTo>
                  <a:pt x="703" y="196"/>
                </a:lnTo>
                <a:lnTo>
                  <a:pt x="705" y="201"/>
                </a:lnTo>
                <a:lnTo>
                  <a:pt x="708" y="204"/>
                </a:lnTo>
                <a:lnTo>
                  <a:pt x="711" y="199"/>
                </a:lnTo>
                <a:lnTo>
                  <a:pt x="718" y="197"/>
                </a:lnTo>
                <a:lnTo>
                  <a:pt x="724" y="199"/>
                </a:lnTo>
                <a:lnTo>
                  <a:pt x="729" y="204"/>
                </a:lnTo>
                <a:lnTo>
                  <a:pt x="730" y="213"/>
                </a:lnTo>
                <a:lnTo>
                  <a:pt x="729" y="216"/>
                </a:lnTo>
                <a:lnTo>
                  <a:pt x="724" y="223"/>
                </a:lnTo>
                <a:lnTo>
                  <a:pt x="718" y="229"/>
                </a:lnTo>
                <a:lnTo>
                  <a:pt x="711" y="234"/>
                </a:lnTo>
                <a:lnTo>
                  <a:pt x="702" y="242"/>
                </a:lnTo>
                <a:lnTo>
                  <a:pt x="692" y="242"/>
                </a:lnTo>
                <a:lnTo>
                  <a:pt x="680" y="245"/>
                </a:lnTo>
                <a:lnTo>
                  <a:pt x="670" y="250"/>
                </a:lnTo>
                <a:lnTo>
                  <a:pt x="662" y="258"/>
                </a:lnTo>
                <a:lnTo>
                  <a:pt x="651" y="266"/>
                </a:lnTo>
                <a:lnTo>
                  <a:pt x="641" y="275"/>
                </a:lnTo>
                <a:lnTo>
                  <a:pt x="633" y="283"/>
                </a:lnTo>
                <a:lnTo>
                  <a:pt x="626" y="301"/>
                </a:lnTo>
                <a:lnTo>
                  <a:pt x="619" y="310"/>
                </a:lnTo>
                <a:lnTo>
                  <a:pt x="619" y="320"/>
                </a:lnTo>
                <a:lnTo>
                  <a:pt x="614" y="326"/>
                </a:lnTo>
                <a:lnTo>
                  <a:pt x="599" y="339"/>
                </a:lnTo>
                <a:lnTo>
                  <a:pt x="583" y="347"/>
                </a:lnTo>
                <a:lnTo>
                  <a:pt x="567" y="355"/>
                </a:lnTo>
                <a:lnTo>
                  <a:pt x="552" y="356"/>
                </a:lnTo>
                <a:lnTo>
                  <a:pt x="435" y="267"/>
                </a:lnTo>
                <a:lnTo>
                  <a:pt x="416" y="272"/>
                </a:lnTo>
                <a:lnTo>
                  <a:pt x="406" y="275"/>
                </a:lnTo>
                <a:lnTo>
                  <a:pt x="392" y="277"/>
                </a:lnTo>
                <a:lnTo>
                  <a:pt x="376" y="282"/>
                </a:lnTo>
                <a:lnTo>
                  <a:pt x="367" y="283"/>
                </a:lnTo>
                <a:lnTo>
                  <a:pt x="340" y="285"/>
                </a:lnTo>
                <a:lnTo>
                  <a:pt x="336" y="272"/>
                </a:lnTo>
                <a:lnTo>
                  <a:pt x="332" y="267"/>
                </a:lnTo>
                <a:lnTo>
                  <a:pt x="325" y="263"/>
                </a:lnTo>
                <a:lnTo>
                  <a:pt x="317" y="263"/>
                </a:lnTo>
                <a:lnTo>
                  <a:pt x="313" y="263"/>
                </a:lnTo>
                <a:lnTo>
                  <a:pt x="305" y="251"/>
                </a:lnTo>
                <a:lnTo>
                  <a:pt x="286" y="253"/>
                </a:lnTo>
                <a:lnTo>
                  <a:pt x="273" y="253"/>
                </a:lnTo>
                <a:lnTo>
                  <a:pt x="266" y="258"/>
                </a:lnTo>
                <a:lnTo>
                  <a:pt x="243" y="256"/>
                </a:lnTo>
                <a:lnTo>
                  <a:pt x="227" y="256"/>
                </a:lnTo>
                <a:lnTo>
                  <a:pt x="211" y="261"/>
                </a:lnTo>
                <a:lnTo>
                  <a:pt x="197" y="263"/>
                </a:lnTo>
                <a:lnTo>
                  <a:pt x="190" y="266"/>
                </a:lnTo>
                <a:lnTo>
                  <a:pt x="168" y="278"/>
                </a:lnTo>
                <a:lnTo>
                  <a:pt x="143" y="286"/>
                </a:lnTo>
                <a:lnTo>
                  <a:pt x="133" y="291"/>
                </a:lnTo>
                <a:lnTo>
                  <a:pt x="95" y="299"/>
                </a:lnTo>
                <a:lnTo>
                  <a:pt x="61" y="302"/>
                </a:lnTo>
                <a:lnTo>
                  <a:pt x="0" y="309"/>
                </a:lnTo>
                <a:lnTo>
                  <a:pt x="4" y="296"/>
                </a:lnTo>
                <a:lnTo>
                  <a:pt x="11" y="291"/>
                </a:lnTo>
                <a:lnTo>
                  <a:pt x="19" y="285"/>
                </a:lnTo>
                <a:lnTo>
                  <a:pt x="25" y="278"/>
                </a:lnTo>
                <a:lnTo>
                  <a:pt x="33" y="278"/>
                </a:lnTo>
                <a:lnTo>
                  <a:pt x="41" y="280"/>
                </a:lnTo>
                <a:lnTo>
                  <a:pt x="44" y="277"/>
                </a:lnTo>
                <a:lnTo>
                  <a:pt x="42" y="272"/>
                </a:lnTo>
                <a:lnTo>
                  <a:pt x="42" y="266"/>
                </a:lnTo>
                <a:lnTo>
                  <a:pt x="49" y="253"/>
                </a:lnTo>
                <a:lnTo>
                  <a:pt x="54" y="247"/>
                </a:lnTo>
                <a:lnTo>
                  <a:pt x="61" y="242"/>
                </a:lnTo>
                <a:lnTo>
                  <a:pt x="71" y="239"/>
                </a:lnTo>
                <a:lnTo>
                  <a:pt x="82" y="239"/>
                </a:lnTo>
                <a:lnTo>
                  <a:pt x="90" y="239"/>
                </a:lnTo>
                <a:lnTo>
                  <a:pt x="95" y="232"/>
                </a:lnTo>
                <a:lnTo>
                  <a:pt x="103" y="223"/>
                </a:lnTo>
                <a:lnTo>
                  <a:pt x="112" y="213"/>
                </a:lnTo>
                <a:lnTo>
                  <a:pt x="119" y="210"/>
                </a:lnTo>
                <a:lnTo>
                  <a:pt x="128" y="205"/>
                </a:lnTo>
                <a:lnTo>
                  <a:pt x="135" y="199"/>
                </a:lnTo>
                <a:lnTo>
                  <a:pt x="136" y="193"/>
                </a:lnTo>
                <a:lnTo>
                  <a:pt x="144" y="189"/>
                </a:lnTo>
                <a:lnTo>
                  <a:pt x="147" y="183"/>
                </a:lnTo>
                <a:lnTo>
                  <a:pt x="152" y="174"/>
                </a:lnTo>
                <a:lnTo>
                  <a:pt x="158" y="172"/>
                </a:lnTo>
                <a:lnTo>
                  <a:pt x="162" y="178"/>
                </a:lnTo>
                <a:lnTo>
                  <a:pt x="166" y="183"/>
                </a:lnTo>
                <a:lnTo>
                  <a:pt x="168" y="180"/>
                </a:lnTo>
                <a:lnTo>
                  <a:pt x="176" y="172"/>
                </a:lnTo>
                <a:lnTo>
                  <a:pt x="184" y="166"/>
                </a:lnTo>
                <a:lnTo>
                  <a:pt x="189" y="159"/>
                </a:lnTo>
                <a:lnTo>
                  <a:pt x="195" y="158"/>
                </a:lnTo>
                <a:lnTo>
                  <a:pt x="201" y="159"/>
                </a:lnTo>
                <a:lnTo>
                  <a:pt x="206" y="162"/>
                </a:lnTo>
                <a:lnTo>
                  <a:pt x="209" y="158"/>
                </a:lnTo>
                <a:lnTo>
                  <a:pt x="211" y="151"/>
                </a:lnTo>
                <a:lnTo>
                  <a:pt x="212" y="145"/>
                </a:lnTo>
                <a:lnTo>
                  <a:pt x="217" y="140"/>
                </a:lnTo>
                <a:lnTo>
                  <a:pt x="222" y="134"/>
                </a:lnTo>
                <a:lnTo>
                  <a:pt x="227" y="131"/>
                </a:lnTo>
                <a:lnTo>
                  <a:pt x="232" y="129"/>
                </a:lnTo>
                <a:lnTo>
                  <a:pt x="233" y="126"/>
                </a:lnTo>
                <a:lnTo>
                  <a:pt x="232" y="120"/>
                </a:lnTo>
                <a:lnTo>
                  <a:pt x="230" y="97"/>
                </a:lnTo>
                <a:close/>
              </a:path>
            </a:pathLst>
          </a:custGeom>
          <a:solidFill>
            <a:schemeClr val="bg1">
              <a:lumMod val="95000"/>
            </a:schemeClr>
          </a:solidFill>
          <a:ln w="0" algn="ctr">
            <a:solidFill>
              <a:srgbClr val="808080"/>
            </a:solidFill>
            <a:round/>
            <a:headEnd/>
            <a:tailEnd/>
          </a:ln>
        </p:spPr>
        <p:txBody>
          <a:bodyPr lIns="101798" tIns="50899" rIns="101798" bIns="50899"/>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endParaRPr>
          </a:p>
        </p:txBody>
      </p:sp>
      <p:grpSp>
        <p:nvGrpSpPr>
          <p:cNvPr id="25" name="State: New York"/>
          <p:cNvGrpSpPr/>
          <p:nvPr/>
        </p:nvGrpSpPr>
        <p:grpSpPr>
          <a:xfrm>
            <a:off x="6057964" y="2629701"/>
            <a:ext cx="967438" cy="744490"/>
            <a:chOff x="6656572" y="2629701"/>
            <a:chExt cx="967438" cy="744490"/>
          </a:xfrm>
          <a:solidFill>
            <a:schemeClr val="bg1">
              <a:lumMod val="95000"/>
            </a:schemeClr>
          </a:solidFill>
        </p:grpSpPr>
        <p:sp>
          <p:nvSpPr>
            <p:cNvPr id="26" name="NY"/>
            <p:cNvSpPr>
              <a:spLocks/>
            </p:cNvSpPr>
            <p:nvPr/>
          </p:nvSpPr>
          <p:spPr bwMode="auto">
            <a:xfrm>
              <a:off x="6656572" y="2629701"/>
              <a:ext cx="770367" cy="698343"/>
            </a:xfrm>
            <a:custGeom>
              <a:avLst/>
              <a:gdLst>
                <a:gd name="T0" fmla="*/ 2147483647 w 516"/>
                <a:gd name="T1" fmla="*/ 2147483647 h 454"/>
                <a:gd name="T2" fmla="*/ 2147483647 w 516"/>
                <a:gd name="T3" fmla="*/ 2147483647 h 454"/>
                <a:gd name="T4" fmla="*/ 2147483647 w 516"/>
                <a:gd name="T5" fmla="*/ 2147483647 h 454"/>
                <a:gd name="T6" fmla="*/ 2147483647 w 516"/>
                <a:gd name="T7" fmla="*/ 2147483647 h 454"/>
                <a:gd name="T8" fmla="*/ 2147483647 w 516"/>
                <a:gd name="T9" fmla="*/ 2147483647 h 454"/>
                <a:gd name="T10" fmla="*/ 2147483647 w 516"/>
                <a:gd name="T11" fmla="*/ 2147483647 h 454"/>
                <a:gd name="T12" fmla="*/ 2147483647 w 516"/>
                <a:gd name="T13" fmla="*/ 2147483647 h 454"/>
                <a:gd name="T14" fmla="*/ 2147483647 w 516"/>
                <a:gd name="T15" fmla="*/ 2147483647 h 454"/>
                <a:gd name="T16" fmla="*/ 2147483647 w 516"/>
                <a:gd name="T17" fmla="*/ 2147483647 h 454"/>
                <a:gd name="T18" fmla="*/ 2147483647 w 516"/>
                <a:gd name="T19" fmla="*/ 2147483647 h 454"/>
                <a:gd name="T20" fmla="*/ 2147483647 w 516"/>
                <a:gd name="T21" fmla="*/ 2147483647 h 454"/>
                <a:gd name="T22" fmla="*/ 2147483647 w 516"/>
                <a:gd name="T23" fmla="*/ 2147483647 h 454"/>
                <a:gd name="T24" fmla="*/ 2147483647 w 516"/>
                <a:gd name="T25" fmla="*/ 2147483647 h 454"/>
                <a:gd name="T26" fmla="*/ 2147483647 w 516"/>
                <a:gd name="T27" fmla="*/ 2147483647 h 454"/>
                <a:gd name="T28" fmla="*/ 2147483647 w 516"/>
                <a:gd name="T29" fmla="*/ 2147483647 h 454"/>
                <a:gd name="T30" fmla="*/ 2147483647 w 516"/>
                <a:gd name="T31" fmla="*/ 2147483647 h 454"/>
                <a:gd name="T32" fmla="*/ 2147483647 w 516"/>
                <a:gd name="T33" fmla="*/ 2147483647 h 454"/>
                <a:gd name="T34" fmla="*/ 2147483647 w 516"/>
                <a:gd name="T35" fmla="*/ 2147483647 h 454"/>
                <a:gd name="T36" fmla="*/ 2147483647 w 516"/>
                <a:gd name="T37" fmla="*/ 2147483647 h 454"/>
                <a:gd name="T38" fmla="*/ 2147483647 w 516"/>
                <a:gd name="T39" fmla="*/ 2147483647 h 454"/>
                <a:gd name="T40" fmla="*/ 2147483647 w 516"/>
                <a:gd name="T41" fmla="*/ 2147483647 h 454"/>
                <a:gd name="T42" fmla="*/ 2147483647 w 516"/>
                <a:gd name="T43" fmla="*/ 2147483647 h 454"/>
                <a:gd name="T44" fmla="*/ 2147483647 w 516"/>
                <a:gd name="T45" fmla="*/ 2147483647 h 454"/>
                <a:gd name="T46" fmla="*/ 2147483647 w 516"/>
                <a:gd name="T47" fmla="*/ 2147483647 h 454"/>
                <a:gd name="T48" fmla="*/ 2147483647 w 516"/>
                <a:gd name="T49" fmla="*/ 2147483647 h 454"/>
                <a:gd name="T50" fmla="*/ 2147483647 w 516"/>
                <a:gd name="T51" fmla="*/ 2147483647 h 454"/>
                <a:gd name="T52" fmla="*/ 2147483647 w 516"/>
                <a:gd name="T53" fmla="*/ 2147483647 h 454"/>
                <a:gd name="T54" fmla="*/ 2147483647 w 516"/>
                <a:gd name="T55" fmla="*/ 0 h 454"/>
                <a:gd name="T56" fmla="*/ 2147483647 w 516"/>
                <a:gd name="T57" fmla="*/ 2147483647 h 454"/>
                <a:gd name="T58" fmla="*/ 2147483647 w 516"/>
                <a:gd name="T59" fmla="*/ 2147483647 h 454"/>
                <a:gd name="T60" fmla="*/ 2147483647 w 516"/>
                <a:gd name="T61" fmla="*/ 2147483647 h 454"/>
                <a:gd name="T62" fmla="*/ 2147483647 w 516"/>
                <a:gd name="T63" fmla="*/ 2147483647 h 454"/>
                <a:gd name="T64" fmla="*/ 2147483647 w 516"/>
                <a:gd name="T65" fmla="*/ 2147483647 h 454"/>
                <a:gd name="T66" fmla="*/ 2147483647 w 516"/>
                <a:gd name="T67" fmla="*/ 2147483647 h 454"/>
                <a:gd name="T68" fmla="*/ 2147483647 w 516"/>
                <a:gd name="T69" fmla="*/ 2147483647 h 454"/>
                <a:gd name="T70" fmla="*/ 2147483647 w 516"/>
                <a:gd name="T71" fmla="*/ 2147483647 h 454"/>
                <a:gd name="T72" fmla="*/ 2147483647 w 516"/>
                <a:gd name="T73" fmla="*/ 2147483647 h 454"/>
                <a:gd name="T74" fmla="*/ 2147483647 w 516"/>
                <a:gd name="T75" fmla="*/ 2147483647 h 454"/>
                <a:gd name="T76" fmla="*/ 2147483647 w 516"/>
                <a:gd name="T77" fmla="*/ 2147483647 h 454"/>
                <a:gd name="T78" fmla="*/ 2147483647 w 516"/>
                <a:gd name="T79" fmla="*/ 2147483647 h 454"/>
                <a:gd name="T80" fmla="*/ 2147483647 w 516"/>
                <a:gd name="T81" fmla="*/ 2147483647 h 454"/>
                <a:gd name="T82" fmla="*/ 2147483647 w 516"/>
                <a:gd name="T83" fmla="*/ 2147483647 h 454"/>
                <a:gd name="T84" fmla="*/ 2147483647 w 516"/>
                <a:gd name="T85" fmla="*/ 2147483647 h 454"/>
                <a:gd name="T86" fmla="*/ 2147483647 w 516"/>
                <a:gd name="T87" fmla="*/ 2147483647 h 454"/>
                <a:gd name="T88" fmla="*/ 2147483647 w 516"/>
                <a:gd name="T89" fmla="*/ 2147483647 h 454"/>
                <a:gd name="T90" fmla="*/ 2147483647 w 516"/>
                <a:gd name="T91" fmla="*/ 2147483647 h 454"/>
                <a:gd name="T92" fmla="*/ 2147483647 w 516"/>
                <a:gd name="T93" fmla="*/ 2147483647 h 454"/>
                <a:gd name="T94" fmla="*/ 2147483647 w 516"/>
                <a:gd name="T95" fmla="*/ 2147483647 h 454"/>
                <a:gd name="T96" fmla="*/ 2147483647 w 516"/>
                <a:gd name="T97" fmla="*/ 2147483647 h 454"/>
                <a:gd name="T98" fmla="*/ 2147483647 w 516"/>
                <a:gd name="T99" fmla="*/ 2147483647 h 454"/>
                <a:gd name="T100" fmla="*/ 2147483647 w 516"/>
                <a:gd name="T101" fmla="*/ 2147483647 h 454"/>
                <a:gd name="T102" fmla="*/ 2147483647 w 516"/>
                <a:gd name="T103" fmla="*/ 2147483647 h 454"/>
                <a:gd name="T104" fmla="*/ 2147483647 w 516"/>
                <a:gd name="T105" fmla="*/ 2147483647 h 454"/>
                <a:gd name="T106" fmla="*/ 2147483647 w 516"/>
                <a:gd name="T107" fmla="*/ 2147483647 h 454"/>
                <a:gd name="T108" fmla="*/ 0 w 516"/>
                <a:gd name="T109" fmla="*/ 2147483647 h 4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16"/>
                <a:gd name="T166" fmla="*/ 0 h 454"/>
                <a:gd name="T167" fmla="*/ 516 w 516"/>
                <a:gd name="T168" fmla="*/ 454 h 45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16" h="454">
                  <a:moveTo>
                    <a:pt x="0" y="402"/>
                  </a:moveTo>
                  <a:lnTo>
                    <a:pt x="9" y="391"/>
                  </a:lnTo>
                  <a:lnTo>
                    <a:pt x="16" y="383"/>
                  </a:lnTo>
                  <a:lnTo>
                    <a:pt x="20" y="378"/>
                  </a:lnTo>
                  <a:lnTo>
                    <a:pt x="27" y="372"/>
                  </a:lnTo>
                  <a:lnTo>
                    <a:pt x="36" y="359"/>
                  </a:lnTo>
                  <a:lnTo>
                    <a:pt x="43" y="349"/>
                  </a:lnTo>
                  <a:lnTo>
                    <a:pt x="49" y="341"/>
                  </a:lnTo>
                  <a:lnTo>
                    <a:pt x="52" y="335"/>
                  </a:lnTo>
                  <a:lnTo>
                    <a:pt x="55" y="325"/>
                  </a:lnTo>
                  <a:lnTo>
                    <a:pt x="54" y="318"/>
                  </a:lnTo>
                  <a:lnTo>
                    <a:pt x="50" y="311"/>
                  </a:lnTo>
                  <a:lnTo>
                    <a:pt x="47" y="305"/>
                  </a:lnTo>
                  <a:lnTo>
                    <a:pt x="44" y="302"/>
                  </a:lnTo>
                  <a:lnTo>
                    <a:pt x="41" y="294"/>
                  </a:lnTo>
                  <a:lnTo>
                    <a:pt x="39" y="289"/>
                  </a:lnTo>
                  <a:lnTo>
                    <a:pt x="43" y="286"/>
                  </a:lnTo>
                  <a:lnTo>
                    <a:pt x="47" y="281"/>
                  </a:lnTo>
                  <a:lnTo>
                    <a:pt x="54" y="281"/>
                  </a:lnTo>
                  <a:lnTo>
                    <a:pt x="65" y="276"/>
                  </a:lnTo>
                  <a:lnTo>
                    <a:pt x="81" y="268"/>
                  </a:lnTo>
                  <a:lnTo>
                    <a:pt x="90" y="265"/>
                  </a:lnTo>
                  <a:lnTo>
                    <a:pt x="98" y="262"/>
                  </a:lnTo>
                  <a:lnTo>
                    <a:pt x="105" y="259"/>
                  </a:lnTo>
                  <a:lnTo>
                    <a:pt x="112" y="256"/>
                  </a:lnTo>
                  <a:lnTo>
                    <a:pt x="122" y="256"/>
                  </a:lnTo>
                  <a:lnTo>
                    <a:pt x="128" y="256"/>
                  </a:lnTo>
                  <a:lnTo>
                    <a:pt x="139" y="256"/>
                  </a:lnTo>
                  <a:lnTo>
                    <a:pt x="146" y="257"/>
                  </a:lnTo>
                  <a:lnTo>
                    <a:pt x="151" y="260"/>
                  </a:lnTo>
                  <a:lnTo>
                    <a:pt x="160" y="260"/>
                  </a:lnTo>
                  <a:lnTo>
                    <a:pt x="163" y="256"/>
                  </a:lnTo>
                  <a:lnTo>
                    <a:pt x="170" y="256"/>
                  </a:lnTo>
                  <a:lnTo>
                    <a:pt x="178" y="254"/>
                  </a:lnTo>
                  <a:lnTo>
                    <a:pt x="182" y="252"/>
                  </a:lnTo>
                  <a:lnTo>
                    <a:pt x="190" y="251"/>
                  </a:lnTo>
                  <a:lnTo>
                    <a:pt x="195" y="249"/>
                  </a:lnTo>
                  <a:lnTo>
                    <a:pt x="203" y="248"/>
                  </a:lnTo>
                  <a:lnTo>
                    <a:pt x="211" y="238"/>
                  </a:lnTo>
                  <a:lnTo>
                    <a:pt x="221" y="229"/>
                  </a:lnTo>
                  <a:lnTo>
                    <a:pt x="227" y="222"/>
                  </a:lnTo>
                  <a:lnTo>
                    <a:pt x="235" y="216"/>
                  </a:lnTo>
                  <a:lnTo>
                    <a:pt x="241" y="213"/>
                  </a:lnTo>
                  <a:lnTo>
                    <a:pt x="248" y="211"/>
                  </a:lnTo>
                  <a:lnTo>
                    <a:pt x="252" y="206"/>
                  </a:lnTo>
                  <a:lnTo>
                    <a:pt x="254" y="197"/>
                  </a:lnTo>
                  <a:lnTo>
                    <a:pt x="254" y="186"/>
                  </a:lnTo>
                  <a:lnTo>
                    <a:pt x="248" y="182"/>
                  </a:lnTo>
                  <a:lnTo>
                    <a:pt x="244" y="178"/>
                  </a:lnTo>
                  <a:lnTo>
                    <a:pt x="240" y="176"/>
                  </a:lnTo>
                  <a:lnTo>
                    <a:pt x="238" y="171"/>
                  </a:lnTo>
                  <a:lnTo>
                    <a:pt x="238" y="167"/>
                  </a:lnTo>
                  <a:lnTo>
                    <a:pt x="243" y="165"/>
                  </a:lnTo>
                  <a:lnTo>
                    <a:pt x="246" y="162"/>
                  </a:lnTo>
                  <a:lnTo>
                    <a:pt x="248" y="157"/>
                  </a:lnTo>
                  <a:lnTo>
                    <a:pt x="246" y="154"/>
                  </a:lnTo>
                  <a:lnTo>
                    <a:pt x="241" y="149"/>
                  </a:lnTo>
                  <a:lnTo>
                    <a:pt x="232" y="149"/>
                  </a:lnTo>
                  <a:lnTo>
                    <a:pt x="230" y="144"/>
                  </a:lnTo>
                  <a:lnTo>
                    <a:pt x="232" y="140"/>
                  </a:lnTo>
                  <a:lnTo>
                    <a:pt x="236" y="136"/>
                  </a:lnTo>
                  <a:lnTo>
                    <a:pt x="240" y="130"/>
                  </a:lnTo>
                  <a:lnTo>
                    <a:pt x="243" y="125"/>
                  </a:lnTo>
                  <a:lnTo>
                    <a:pt x="249" y="122"/>
                  </a:lnTo>
                  <a:lnTo>
                    <a:pt x="254" y="117"/>
                  </a:lnTo>
                  <a:lnTo>
                    <a:pt x="257" y="113"/>
                  </a:lnTo>
                  <a:lnTo>
                    <a:pt x="260" y="103"/>
                  </a:lnTo>
                  <a:lnTo>
                    <a:pt x="260" y="95"/>
                  </a:lnTo>
                  <a:lnTo>
                    <a:pt x="262" y="86"/>
                  </a:lnTo>
                  <a:lnTo>
                    <a:pt x="262" y="81"/>
                  </a:lnTo>
                  <a:lnTo>
                    <a:pt x="262" y="76"/>
                  </a:lnTo>
                  <a:lnTo>
                    <a:pt x="270" y="66"/>
                  </a:lnTo>
                  <a:lnTo>
                    <a:pt x="281" y="57"/>
                  </a:lnTo>
                  <a:lnTo>
                    <a:pt x="290" y="44"/>
                  </a:lnTo>
                  <a:lnTo>
                    <a:pt x="303" y="33"/>
                  </a:lnTo>
                  <a:lnTo>
                    <a:pt x="314" y="25"/>
                  </a:lnTo>
                  <a:lnTo>
                    <a:pt x="329" y="22"/>
                  </a:lnTo>
                  <a:lnTo>
                    <a:pt x="344" y="19"/>
                  </a:lnTo>
                  <a:lnTo>
                    <a:pt x="370" y="12"/>
                  </a:lnTo>
                  <a:lnTo>
                    <a:pt x="386" y="9"/>
                  </a:lnTo>
                  <a:lnTo>
                    <a:pt x="398" y="6"/>
                  </a:lnTo>
                  <a:lnTo>
                    <a:pt x="408" y="3"/>
                  </a:lnTo>
                  <a:lnTo>
                    <a:pt x="416" y="1"/>
                  </a:lnTo>
                  <a:lnTo>
                    <a:pt x="425" y="0"/>
                  </a:lnTo>
                  <a:lnTo>
                    <a:pt x="429" y="6"/>
                  </a:lnTo>
                  <a:lnTo>
                    <a:pt x="427" y="16"/>
                  </a:lnTo>
                  <a:lnTo>
                    <a:pt x="433" y="19"/>
                  </a:lnTo>
                  <a:lnTo>
                    <a:pt x="432" y="38"/>
                  </a:lnTo>
                  <a:lnTo>
                    <a:pt x="441" y="51"/>
                  </a:lnTo>
                  <a:lnTo>
                    <a:pt x="445" y="62"/>
                  </a:lnTo>
                  <a:lnTo>
                    <a:pt x="443" y="73"/>
                  </a:lnTo>
                  <a:lnTo>
                    <a:pt x="443" y="90"/>
                  </a:lnTo>
                  <a:lnTo>
                    <a:pt x="445" y="103"/>
                  </a:lnTo>
                  <a:lnTo>
                    <a:pt x="446" y="109"/>
                  </a:lnTo>
                  <a:lnTo>
                    <a:pt x="451" y="116"/>
                  </a:lnTo>
                  <a:lnTo>
                    <a:pt x="454" y="122"/>
                  </a:lnTo>
                  <a:lnTo>
                    <a:pt x="456" y="130"/>
                  </a:lnTo>
                  <a:lnTo>
                    <a:pt x="460" y="136"/>
                  </a:lnTo>
                  <a:lnTo>
                    <a:pt x="457" y="144"/>
                  </a:lnTo>
                  <a:lnTo>
                    <a:pt x="459" y="149"/>
                  </a:lnTo>
                  <a:lnTo>
                    <a:pt x="464" y="149"/>
                  </a:lnTo>
                  <a:lnTo>
                    <a:pt x="472" y="151"/>
                  </a:lnTo>
                  <a:lnTo>
                    <a:pt x="475" y="157"/>
                  </a:lnTo>
                  <a:lnTo>
                    <a:pt x="479" y="171"/>
                  </a:lnTo>
                  <a:lnTo>
                    <a:pt x="479" y="182"/>
                  </a:lnTo>
                  <a:lnTo>
                    <a:pt x="481" y="190"/>
                  </a:lnTo>
                  <a:lnTo>
                    <a:pt x="481" y="203"/>
                  </a:lnTo>
                  <a:lnTo>
                    <a:pt x="487" y="213"/>
                  </a:lnTo>
                  <a:lnTo>
                    <a:pt x="487" y="225"/>
                  </a:lnTo>
                  <a:lnTo>
                    <a:pt x="491" y="233"/>
                  </a:lnTo>
                  <a:lnTo>
                    <a:pt x="494" y="240"/>
                  </a:lnTo>
                  <a:lnTo>
                    <a:pt x="494" y="249"/>
                  </a:lnTo>
                  <a:lnTo>
                    <a:pt x="494" y="270"/>
                  </a:lnTo>
                  <a:lnTo>
                    <a:pt x="494" y="294"/>
                  </a:lnTo>
                  <a:lnTo>
                    <a:pt x="494" y="319"/>
                  </a:lnTo>
                  <a:lnTo>
                    <a:pt x="495" y="332"/>
                  </a:lnTo>
                  <a:lnTo>
                    <a:pt x="495" y="345"/>
                  </a:lnTo>
                  <a:lnTo>
                    <a:pt x="499" y="351"/>
                  </a:lnTo>
                  <a:lnTo>
                    <a:pt x="503" y="357"/>
                  </a:lnTo>
                  <a:lnTo>
                    <a:pt x="507" y="368"/>
                  </a:lnTo>
                  <a:lnTo>
                    <a:pt x="507" y="376"/>
                  </a:lnTo>
                  <a:lnTo>
                    <a:pt x="507" y="383"/>
                  </a:lnTo>
                  <a:lnTo>
                    <a:pt x="507" y="392"/>
                  </a:lnTo>
                  <a:lnTo>
                    <a:pt x="510" y="400"/>
                  </a:lnTo>
                  <a:lnTo>
                    <a:pt x="514" y="402"/>
                  </a:lnTo>
                  <a:lnTo>
                    <a:pt x="516" y="406"/>
                  </a:lnTo>
                  <a:lnTo>
                    <a:pt x="516" y="411"/>
                  </a:lnTo>
                  <a:lnTo>
                    <a:pt x="511" y="418"/>
                  </a:lnTo>
                  <a:lnTo>
                    <a:pt x="508" y="422"/>
                  </a:lnTo>
                  <a:lnTo>
                    <a:pt x="505" y="427"/>
                  </a:lnTo>
                  <a:lnTo>
                    <a:pt x="507" y="432"/>
                  </a:lnTo>
                  <a:lnTo>
                    <a:pt x="510" y="433"/>
                  </a:lnTo>
                  <a:lnTo>
                    <a:pt x="510" y="438"/>
                  </a:lnTo>
                  <a:lnTo>
                    <a:pt x="508" y="441"/>
                  </a:lnTo>
                  <a:lnTo>
                    <a:pt x="507" y="449"/>
                  </a:lnTo>
                  <a:lnTo>
                    <a:pt x="503" y="454"/>
                  </a:lnTo>
                  <a:lnTo>
                    <a:pt x="497" y="454"/>
                  </a:lnTo>
                  <a:lnTo>
                    <a:pt x="494" y="454"/>
                  </a:lnTo>
                  <a:lnTo>
                    <a:pt x="492" y="449"/>
                  </a:lnTo>
                  <a:lnTo>
                    <a:pt x="491" y="443"/>
                  </a:lnTo>
                  <a:lnTo>
                    <a:pt x="489" y="440"/>
                  </a:lnTo>
                  <a:lnTo>
                    <a:pt x="479" y="438"/>
                  </a:lnTo>
                  <a:lnTo>
                    <a:pt x="468" y="433"/>
                  </a:lnTo>
                  <a:lnTo>
                    <a:pt x="460" y="432"/>
                  </a:lnTo>
                  <a:lnTo>
                    <a:pt x="446" y="427"/>
                  </a:lnTo>
                  <a:lnTo>
                    <a:pt x="435" y="424"/>
                  </a:lnTo>
                  <a:lnTo>
                    <a:pt x="424" y="421"/>
                  </a:lnTo>
                  <a:lnTo>
                    <a:pt x="418" y="418"/>
                  </a:lnTo>
                  <a:lnTo>
                    <a:pt x="414" y="413"/>
                  </a:lnTo>
                  <a:lnTo>
                    <a:pt x="413" y="410"/>
                  </a:lnTo>
                  <a:lnTo>
                    <a:pt x="406" y="408"/>
                  </a:lnTo>
                  <a:lnTo>
                    <a:pt x="392" y="408"/>
                  </a:lnTo>
                  <a:lnTo>
                    <a:pt x="389" y="403"/>
                  </a:lnTo>
                  <a:lnTo>
                    <a:pt x="384" y="399"/>
                  </a:lnTo>
                  <a:lnTo>
                    <a:pt x="381" y="394"/>
                  </a:lnTo>
                  <a:lnTo>
                    <a:pt x="381" y="386"/>
                  </a:lnTo>
                  <a:lnTo>
                    <a:pt x="379" y="378"/>
                  </a:lnTo>
                  <a:lnTo>
                    <a:pt x="375" y="376"/>
                  </a:lnTo>
                  <a:lnTo>
                    <a:pt x="367" y="373"/>
                  </a:lnTo>
                  <a:lnTo>
                    <a:pt x="362" y="373"/>
                  </a:lnTo>
                  <a:lnTo>
                    <a:pt x="360" y="370"/>
                  </a:lnTo>
                  <a:lnTo>
                    <a:pt x="359" y="367"/>
                  </a:lnTo>
                  <a:lnTo>
                    <a:pt x="352" y="364"/>
                  </a:lnTo>
                  <a:lnTo>
                    <a:pt x="3" y="433"/>
                  </a:lnTo>
                  <a:lnTo>
                    <a:pt x="0" y="430"/>
                  </a:lnTo>
                  <a:lnTo>
                    <a:pt x="0" y="402"/>
                  </a:lnTo>
                  <a:close/>
                </a:path>
              </a:pathLst>
            </a:custGeom>
            <a:grpFill/>
            <a:ln w="0" algn="ctr">
              <a:solidFill>
                <a:srgbClr val="808080"/>
              </a:solidFill>
              <a:round/>
              <a:headEnd/>
              <a:tailEnd/>
            </a:ln>
          </p:spPr>
          <p:txBody>
            <a:bodyPr lIns="101882" tIns="50941" rIns="101882" bIns="50941"/>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endParaRPr>
            </a:p>
          </p:txBody>
        </p:sp>
        <p:sp>
          <p:nvSpPr>
            <p:cNvPr id="27" name="Long Island"/>
            <p:cNvSpPr>
              <a:spLocks/>
            </p:cNvSpPr>
            <p:nvPr/>
          </p:nvSpPr>
          <p:spPr bwMode="auto">
            <a:xfrm>
              <a:off x="7403052" y="3223447"/>
              <a:ext cx="220958" cy="150744"/>
            </a:xfrm>
            <a:custGeom>
              <a:avLst/>
              <a:gdLst>
                <a:gd name="T0" fmla="*/ 2147483647 w 148"/>
                <a:gd name="T1" fmla="*/ 2147483647 h 98"/>
                <a:gd name="T2" fmla="*/ 2147483647 w 148"/>
                <a:gd name="T3" fmla="*/ 2147483647 h 98"/>
                <a:gd name="T4" fmla="*/ 2147483647 w 148"/>
                <a:gd name="T5" fmla="*/ 2147483647 h 98"/>
                <a:gd name="T6" fmla="*/ 2147483647 w 148"/>
                <a:gd name="T7" fmla="*/ 2147483647 h 98"/>
                <a:gd name="T8" fmla="*/ 0 w 148"/>
                <a:gd name="T9" fmla="*/ 2147483647 h 98"/>
                <a:gd name="T10" fmla="*/ 2147483647 w 148"/>
                <a:gd name="T11" fmla="*/ 2147483647 h 98"/>
                <a:gd name="T12" fmla="*/ 2147483647 w 148"/>
                <a:gd name="T13" fmla="*/ 2147483647 h 98"/>
                <a:gd name="T14" fmla="*/ 2147483647 w 148"/>
                <a:gd name="T15" fmla="*/ 2147483647 h 98"/>
                <a:gd name="T16" fmla="*/ 2147483647 w 148"/>
                <a:gd name="T17" fmla="*/ 2147483647 h 98"/>
                <a:gd name="T18" fmla="*/ 2147483647 w 148"/>
                <a:gd name="T19" fmla="*/ 2147483647 h 98"/>
                <a:gd name="T20" fmla="*/ 2147483647 w 148"/>
                <a:gd name="T21" fmla="*/ 2147483647 h 98"/>
                <a:gd name="T22" fmla="*/ 2147483647 w 148"/>
                <a:gd name="T23" fmla="*/ 2147483647 h 98"/>
                <a:gd name="T24" fmla="*/ 2147483647 w 148"/>
                <a:gd name="T25" fmla="*/ 2147483647 h 98"/>
                <a:gd name="T26" fmla="*/ 2147483647 w 148"/>
                <a:gd name="T27" fmla="*/ 2147483647 h 98"/>
                <a:gd name="T28" fmla="*/ 2147483647 w 148"/>
                <a:gd name="T29" fmla="*/ 2147483647 h 98"/>
                <a:gd name="T30" fmla="*/ 2147483647 w 148"/>
                <a:gd name="T31" fmla="*/ 2147483647 h 98"/>
                <a:gd name="T32" fmla="*/ 2147483647 w 148"/>
                <a:gd name="T33" fmla="*/ 2147483647 h 98"/>
                <a:gd name="T34" fmla="*/ 2147483647 w 148"/>
                <a:gd name="T35" fmla="*/ 2147483647 h 98"/>
                <a:gd name="T36" fmla="*/ 2147483647 w 148"/>
                <a:gd name="T37" fmla="*/ 2147483647 h 98"/>
                <a:gd name="T38" fmla="*/ 2147483647 w 148"/>
                <a:gd name="T39" fmla="*/ 2147483647 h 98"/>
                <a:gd name="T40" fmla="*/ 2147483647 w 148"/>
                <a:gd name="T41" fmla="*/ 2147483647 h 98"/>
                <a:gd name="T42" fmla="*/ 2147483647 w 148"/>
                <a:gd name="T43" fmla="*/ 2147483647 h 98"/>
                <a:gd name="T44" fmla="*/ 2147483647 w 148"/>
                <a:gd name="T45" fmla="*/ 2147483647 h 98"/>
                <a:gd name="T46" fmla="*/ 2147483647 w 148"/>
                <a:gd name="T47" fmla="*/ 2147483647 h 98"/>
                <a:gd name="T48" fmla="*/ 2147483647 w 148"/>
                <a:gd name="T49" fmla="*/ 2147483647 h 98"/>
                <a:gd name="T50" fmla="*/ 2147483647 w 148"/>
                <a:gd name="T51" fmla="*/ 2147483647 h 98"/>
                <a:gd name="T52" fmla="*/ 2147483647 w 148"/>
                <a:gd name="T53" fmla="*/ 2147483647 h 98"/>
                <a:gd name="T54" fmla="*/ 2147483647 w 148"/>
                <a:gd name="T55" fmla="*/ 0 h 98"/>
                <a:gd name="T56" fmla="*/ 2147483647 w 148"/>
                <a:gd name="T57" fmla="*/ 2147483647 h 98"/>
                <a:gd name="T58" fmla="*/ 2147483647 w 148"/>
                <a:gd name="T59" fmla="*/ 2147483647 h 98"/>
                <a:gd name="T60" fmla="*/ 2147483647 w 148"/>
                <a:gd name="T61" fmla="*/ 2147483647 h 98"/>
                <a:gd name="T62" fmla="*/ 2147483647 w 148"/>
                <a:gd name="T63" fmla="*/ 2147483647 h 98"/>
                <a:gd name="T64" fmla="*/ 2147483647 w 148"/>
                <a:gd name="T65" fmla="*/ 2147483647 h 98"/>
                <a:gd name="T66" fmla="*/ 2147483647 w 148"/>
                <a:gd name="T67" fmla="*/ 2147483647 h 98"/>
                <a:gd name="T68" fmla="*/ 2147483647 w 148"/>
                <a:gd name="T69" fmla="*/ 2147483647 h 98"/>
                <a:gd name="T70" fmla="*/ 2147483647 w 148"/>
                <a:gd name="T71" fmla="*/ 2147483647 h 98"/>
                <a:gd name="T72" fmla="*/ 2147483647 w 148"/>
                <a:gd name="T73" fmla="*/ 2147483647 h 98"/>
                <a:gd name="T74" fmla="*/ 2147483647 w 148"/>
                <a:gd name="T75" fmla="*/ 2147483647 h 98"/>
                <a:gd name="T76" fmla="*/ 2147483647 w 148"/>
                <a:gd name="T77" fmla="*/ 2147483647 h 98"/>
                <a:gd name="T78" fmla="*/ 2147483647 w 148"/>
                <a:gd name="T79" fmla="*/ 2147483647 h 98"/>
                <a:gd name="T80" fmla="*/ 2147483647 w 148"/>
                <a:gd name="T81" fmla="*/ 2147483647 h 98"/>
                <a:gd name="T82" fmla="*/ 2147483647 w 148"/>
                <a:gd name="T83" fmla="*/ 2147483647 h 98"/>
                <a:gd name="T84" fmla="*/ 2147483647 w 148"/>
                <a:gd name="T85" fmla="*/ 2147483647 h 98"/>
                <a:gd name="T86" fmla="*/ 2147483647 w 148"/>
                <a:gd name="T87" fmla="*/ 2147483647 h 9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48"/>
                <a:gd name="T133" fmla="*/ 0 h 98"/>
                <a:gd name="T134" fmla="*/ 148 w 148"/>
                <a:gd name="T135" fmla="*/ 98 h 9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48" h="98">
                  <a:moveTo>
                    <a:pt x="18" y="67"/>
                  </a:moveTo>
                  <a:lnTo>
                    <a:pt x="11" y="73"/>
                  </a:lnTo>
                  <a:lnTo>
                    <a:pt x="5" y="78"/>
                  </a:lnTo>
                  <a:lnTo>
                    <a:pt x="2" y="84"/>
                  </a:lnTo>
                  <a:lnTo>
                    <a:pt x="0" y="90"/>
                  </a:lnTo>
                  <a:lnTo>
                    <a:pt x="2" y="95"/>
                  </a:lnTo>
                  <a:lnTo>
                    <a:pt x="8" y="98"/>
                  </a:lnTo>
                  <a:lnTo>
                    <a:pt x="14" y="95"/>
                  </a:lnTo>
                  <a:lnTo>
                    <a:pt x="26" y="90"/>
                  </a:lnTo>
                  <a:lnTo>
                    <a:pt x="37" y="81"/>
                  </a:lnTo>
                  <a:lnTo>
                    <a:pt x="49" y="73"/>
                  </a:lnTo>
                  <a:lnTo>
                    <a:pt x="62" y="65"/>
                  </a:lnTo>
                  <a:lnTo>
                    <a:pt x="76" y="57"/>
                  </a:lnTo>
                  <a:lnTo>
                    <a:pt x="89" y="49"/>
                  </a:lnTo>
                  <a:lnTo>
                    <a:pt x="99" y="44"/>
                  </a:lnTo>
                  <a:lnTo>
                    <a:pt x="107" y="36"/>
                  </a:lnTo>
                  <a:lnTo>
                    <a:pt x="122" y="27"/>
                  </a:lnTo>
                  <a:lnTo>
                    <a:pt x="134" y="19"/>
                  </a:lnTo>
                  <a:lnTo>
                    <a:pt x="145" y="13"/>
                  </a:lnTo>
                  <a:lnTo>
                    <a:pt x="148" y="9"/>
                  </a:lnTo>
                  <a:lnTo>
                    <a:pt x="140" y="9"/>
                  </a:lnTo>
                  <a:lnTo>
                    <a:pt x="126" y="19"/>
                  </a:lnTo>
                  <a:lnTo>
                    <a:pt x="118" y="22"/>
                  </a:lnTo>
                  <a:lnTo>
                    <a:pt x="116" y="20"/>
                  </a:lnTo>
                  <a:lnTo>
                    <a:pt x="118" y="14"/>
                  </a:lnTo>
                  <a:lnTo>
                    <a:pt x="119" y="11"/>
                  </a:lnTo>
                  <a:lnTo>
                    <a:pt x="122" y="6"/>
                  </a:lnTo>
                  <a:lnTo>
                    <a:pt x="124" y="0"/>
                  </a:lnTo>
                  <a:lnTo>
                    <a:pt x="116" y="9"/>
                  </a:lnTo>
                  <a:lnTo>
                    <a:pt x="111" y="16"/>
                  </a:lnTo>
                  <a:lnTo>
                    <a:pt x="105" y="24"/>
                  </a:lnTo>
                  <a:lnTo>
                    <a:pt x="99" y="27"/>
                  </a:lnTo>
                  <a:lnTo>
                    <a:pt x="91" y="32"/>
                  </a:lnTo>
                  <a:lnTo>
                    <a:pt x="83" y="35"/>
                  </a:lnTo>
                  <a:lnTo>
                    <a:pt x="73" y="40"/>
                  </a:lnTo>
                  <a:lnTo>
                    <a:pt x="62" y="43"/>
                  </a:lnTo>
                  <a:lnTo>
                    <a:pt x="56" y="46"/>
                  </a:lnTo>
                  <a:lnTo>
                    <a:pt x="48" y="49"/>
                  </a:lnTo>
                  <a:lnTo>
                    <a:pt x="43" y="51"/>
                  </a:lnTo>
                  <a:lnTo>
                    <a:pt x="35" y="55"/>
                  </a:lnTo>
                  <a:lnTo>
                    <a:pt x="30" y="57"/>
                  </a:lnTo>
                  <a:lnTo>
                    <a:pt x="26" y="60"/>
                  </a:lnTo>
                  <a:lnTo>
                    <a:pt x="21" y="63"/>
                  </a:lnTo>
                  <a:lnTo>
                    <a:pt x="18" y="67"/>
                  </a:lnTo>
                  <a:close/>
                </a:path>
              </a:pathLst>
            </a:custGeom>
            <a:grpFill/>
            <a:ln w="0" algn="ctr">
              <a:solidFill>
                <a:srgbClr val="808080"/>
              </a:solidFill>
              <a:round/>
              <a:headEnd/>
              <a:tailEnd/>
            </a:ln>
            <a:extLst/>
          </p:spPr>
          <p:txBody>
            <a:bodyPr lIns="101882" tIns="50941" rIns="101882" bIns="50941"/>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endParaRPr>
            </a:p>
          </p:txBody>
        </p:sp>
      </p:grpSp>
      <p:sp>
        <p:nvSpPr>
          <p:cNvPr id="28" name="State: New Mexico"/>
          <p:cNvSpPr>
            <a:spLocks/>
          </p:cNvSpPr>
          <p:nvPr/>
        </p:nvSpPr>
        <p:spPr bwMode="auto">
          <a:xfrm>
            <a:off x="2276299" y="4163295"/>
            <a:ext cx="906227" cy="967529"/>
          </a:xfrm>
          <a:custGeom>
            <a:avLst/>
            <a:gdLst>
              <a:gd name="T0" fmla="*/ 2147483647 w 607"/>
              <a:gd name="T1" fmla="*/ 0 h 629"/>
              <a:gd name="T2" fmla="*/ 2147483647 w 607"/>
              <a:gd name="T3" fmla="*/ 2147483647 h 629"/>
              <a:gd name="T4" fmla="*/ 2147483647 w 607"/>
              <a:gd name="T5" fmla="*/ 2147483647 h 629"/>
              <a:gd name="T6" fmla="*/ 2147483647 w 607"/>
              <a:gd name="T7" fmla="*/ 2147483647 h 629"/>
              <a:gd name="T8" fmla="*/ 2147483647 w 607"/>
              <a:gd name="T9" fmla="*/ 2147483647 h 629"/>
              <a:gd name="T10" fmla="*/ 2147483647 w 607"/>
              <a:gd name="T11" fmla="*/ 2147483647 h 629"/>
              <a:gd name="T12" fmla="*/ 2147483647 w 607"/>
              <a:gd name="T13" fmla="*/ 2147483647 h 629"/>
              <a:gd name="T14" fmla="*/ 2147483647 w 607"/>
              <a:gd name="T15" fmla="*/ 2147483647 h 629"/>
              <a:gd name="T16" fmla="*/ 2147483647 w 607"/>
              <a:gd name="T17" fmla="*/ 2147483647 h 629"/>
              <a:gd name="T18" fmla="*/ 2147483647 w 607"/>
              <a:gd name="T19" fmla="*/ 2147483647 h 629"/>
              <a:gd name="T20" fmla="*/ 2147483647 w 607"/>
              <a:gd name="T21" fmla="*/ 2147483647 h 629"/>
              <a:gd name="T22" fmla="*/ 2147483647 w 607"/>
              <a:gd name="T23" fmla="*/ 2147483647 h 629"/>
              <a:gd name="T24" fmla="*/ 2147483647 w 607"/>
              <a:gd name="T25" fmla="*/ 2147483647 h 629"/>
              <a:gd name="T26" fmla="*/ 2147483647 w 607"/>
              <a:gd name="T27" fmla="*/ 2147483647 h 629"/>
              <a:gd name="T28" fmla="*/ 2147483647 w 607"/>
              <a:gd name="T29" fmla="*/ 2147483647 h 629"/>
              <a:gd name="T30" fmla="*/ 2147483647 w 607"/>
              <a:gd name="T31" fmla="*/ 2147483647 h 629"/>
              <a:gd name="T32" fmla="*/ 2147483647 w 607"/>
              <a:gd name="T33" fmla="*/ 2147483647 h 629"/>
              <a:gd name="T34" fmla="*/ 2147483647 w 607"/>
              <a:gd name="T35" fmla="*/ 2147483647 h 629"/>
              <a:gd name="T36" fmla="*/ 2147483647 w 607"/>
              <a:gd name="T37" fmla="*/ 2147483647 h 629"/>
              <a:gd name="T38" fmla="*/ 2147483647 w 607"/>
              <a:gd name="T39" fmla="*/ 2147483647 h 629"/>
              <a:gd name="T40" fmla="*/ 2147483647 w 607"/>
              <a:gd name="T41" fmla="*/ 2147483647 h 629"/>
              <a:gd name="T42" fmla="*/ 2147483647 w 607"/>
              <a:gd name="T43" fmla="*/ 2147483647 h 629"/>
              <a:gd name="T44" fmla="*/ 2147483647 w 607"/>
              <a:gd name="T45" fmla="*/ 2147483647 h 629"/>
              <a:gd name="T46" fmla="*/ 2147483647 w 607"/>
              <a:gd name="T47" fmla="*/ 2147483647 h 629"/>
              <a:gd name="T48" fmla="*/ 2147483647 w 607"/>
              <a:gd name="T49" fmla="*/ 2147483647 h 629"/>
              <a:gd name="T50" fmla="*/ 2147483647 w 607"/>
              <a:gd name="T51" fmla="*/ 2147483647 h 629"/>
              <a:gd name="T52" fmla="*/ 2147483647 w 607"/>
              <a:gd name="T53" fmla="*/ 2147483647 h 629"/>
              <a:gd name="T54" fmla="*/ 2147483647 w 607"/>
              <a:gd name="T55" fmla="*/ 2147483647 h 629"/>
              <a:gd name="T56" fmla="*/ 2147483647 w 607"/>
              <a:gd name="T57" fmla="*/ 2147483647 h 629"/>
              <a:gd name="T58" fmla="*/ 2147483647 w 607"/>
              <a:gd name="T59" fmla="*/ 2147483647 h 629"/>
              <a:gd name="T60" fmla="*/ 2147483647 w 607"/>
              <a:gd name="T61" fmla="*/ 2147483647 h 629"/>
              <a:gd name="T62" fmla="*/ 2147483647 w 607"/>
              <a:gd name="T63" fmla="*/ 2147483647 h 629"/>
              <a:gd name="T64" fmla="*/ 2147483647 w 607"/>
              <a:gd name="T65" fmla="*/ 2147483647 h 629"/>
              <a:gd name="T66" fmla="*/ 2147483647 w 607"/>
              <a:gd name="T67" fmla="*/ 2147483647 h 629"/>
              <a:gd name="T68" fmla="*/ 2147483647 w 607"/>
              <a:gd name="T69" fmla="*/ 2147483647 h 629"/>
              <a:gd name="T70" fmla="*/ 2147483647 w 607"/>
              <a:gd name="T71" fmla="*/ 2147483647 h 629"/>
              <a:gd name="T72" fmla="*/ 2147483647 w 607"/>
              <a:gd name="T73" fmla="*/ 2147483647 h 629"/>
              <a:gd name="T74" fmla="*/ 2147483647 w 607"/>
              <a:gd name="T75" fmla="*/ 2147483647 h 629"/>
              <a:gd name="T76" fmla="*/ 2147483647 w 607"/>
              <a:gd name="T77" fmla="*/ 2147483647 h 629"/>
              <a:gd name="T78" fmla="*/ 2147483647 w 607"/>
              <a:gd name="T79" fmla="*/ 2147483647 h 629"/>
              <a:gd name="T80" fmla="*/ 2147483647 w 607"/>
              <a:gd name="T81" fmla="*/ 2147483647 h 629"/>
              <a:gd name="T82" fmla="*/ 2147483647 w 607"/>
              <a:gd name="T83" fmla="*/ 2147483647 h 629"/>
              <a:gd name="T84" fmla="*/ 2147483647 w 607"/>
              <a:gd name="T85" fmla="*/ 2147483647 h 629"/>
              <a:gd name="T86" fmla="*/ 2147483647 w 607"/>
              <a:gd name="T87" fmla="*/ 2147483647 h 629"/>
              <a:gd name="T88" fmla="*/ 0 w 607"/>
              <a:gd name="T89" fmla="*/ 2147483647 h 629"/>
              <a:gd name="T90" fmla="*/ 2147483647 w 607"/>
              <a:gd name="T91" fmla="*/ 2147483647 h 629"/>
              <a:gd name="T92" fmla="*/ 2147483647 w 607"/>
              <a:gd name="T93" fmla="*/ 2147483647 h 629"/>
              <a:gd name="T94" fmla="*/ 2147483647 w 607"/>
              <a:gd name="T95" fmla="*/ 2147483647 h 629"/>
              <a:gd name="T96" fmla="*/ 2147483647 w 607"/>
              <a:gd name="T97" fmla="*/ 2147483647 h 629"/>
              <a:gd name="T98" fmla="*/ 2147483647 w 607"/>
              <a:gd name="T99" fmla="*/ 2147483647 h 629"/>
              <a:gd name="T100" fmla="*/ 2147483647 w 607"/>
              <a:gd name="T101" fmla="*/ 2147483647 h 629"/>
              <a:gd name="T102" fmla="*/ 2147483647 w 607"/>
              <a:gd name="T103" fmla="*/ 2147483647 h 629"/>
              <a:gd name="T104" fmla="*/ 2147483647 w 607"/>
              <a:gd name="T105" fmla="*/ 2147483647 h 629"/>
              <a:gd name="T106" fmla="*/ 2147483647 w 607"/>
              <a:gd name="T107" fmla="*/ 2147483647 h 629"/>
              <a:gd name="T108" fmla="*/ 2147483647 w 607"/>
              <a:gd name="T109" fmla="*/ 2147483647 h 629"/>
              <a:gd name="T110" fmla="*/ 2147483647 w 607"/>
              <a:gd name="T111" fmla="*/ 2147483647 h 629"/>
              <a:gd name="T112" fmla="*/ 2147483647 w 607"/>
              <a:gd name="T113" fmla="*/ 0 h 62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07"/>
              <a:gd name="T172" fmla="*/ 0 h 629"/>
              <a:gd name="T173" fmla="*/ 607 w 607"/>
              <a:gd name="T174" fmla="*/ 629 h 62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07" h="629">
                <a:moveTo>
                  <a:pt x="87" y="0"/>
                </a:moveTo>
                <a:lnTo>
                  <a:pt x="87" y="2"/>
                </a:lnTo>
                <a:lnTo>
                  <a:pt x="605" y="67"/>
                </a:lnTo>
                <a:lnTo>
                  <a:pt x="607" y="103"/>
                </a:lnTo>
                <a:lnTo>
                  <a:pt x="602" y="118"/>
                </a:lnTo>
                <a:lnTo>
                  <a:pt x="597" y="132"/>
                </a:lnTo>
                <a:lnTo>
                  <a:pt x="595" y="184"/>
                </a:lnTo>
                <a:lnTo>
                  <a:pt x="592" y="224"/>
                </a:lnTo>
                <a:lnTo>
                  <a:pt x="587" y="261"/>
                </a:lnTo>
                <a:lnTo>
                  <a:pt x="587" y="299"/>
                </a:lnTo>
                <a:lnTo>
                  <a:pt x="583" y="337"/>
                </a:lnTo>
                <a:lnTo>
                  <a:pt x="580" y="385"/>
                </a:lnTo>
                <a:lnTo>
                  <a:pt x="578" y="421"/>
                </a:lnTo>
                <a:lnTo>
                  <a:pt x="573" y="451"/>
                </a:lnTo>
                <a:lnTo>
                  <a:pt x="570" y="491"/>
                </a:lnTo>
                <a:lnTo>
                  <a:pt x="568" y="521"/>
                </a:lnTo>
                <a:lnTo>
                  <a:pt x="564" y="572"/>
                </a:lnTo>
                <a:lnTo>
                  <a:pt x="562" y="602"/>
                </a:lnTo>
                <a:lnTo>
                  <a:pt x="560" y="615"/>
                </a:lnTo>
                <a:lnTo>
                  <a:pt x="521" y="615"/>
                </a:lnTo>
                <a:lnTo>
                  <a:pt x="489" y="610"/>
                </a:lnTo>
                <a:lnTo>
                  <a:pt x="449" y="605"/>
                </a:lnTo>
                <a:lnTo>
                  <a:pt x="419" y="602"/>
                </a:lnTo>
                <a:lnTo>
                  <a:pt x="387" y="597"/>
                </a:lnTo>
                <a:lnTo>
                  <a:pt x="354" y="594"/>
                </a:lnTo>
                <a:lnTo>
                  <a:pt x="317" y="593"/>
                </a:lnTo>
                <a:lnTo>
                  <a:pt x="292" y="586"/>
                </a:lnTo>
                <a:lnTo>
                  <a:pt x="262" y="586"/>
                </a:lnTo>
                <a:lnTo>
                  <a:pt x="238" y="582"/>
                </a:lnTo>
                <a:lnTo>
                  <a:pt x="230" y="586"/>
                </a:lnTo>
                <a:lnTo>
                  <a:pt x="230" y="593"/>
                </a:lnTo>
                <a:lnTo>
                  <a:pt x="228" y="597"/>
                </a:lnTo>
                <a:lnTo>
                  <a:pt x="227" y="599"/>
                </a:lnTo>
                <a:lnTo>
                  <a:pt x="206" y="599"/>
                </a:lnTo>
                <a:lnTo>
                  <a:pt x="190" y="597"/>
                </a:lnTo>
                <a:lnTo>
                  <a:pt x="170" y="591"/>
                </a:lnTo>
                <a:lnTo>
                  <a:pt x="149" y="586"/>
                </a:lnTo>
                <a:lnTo>
                  <a:pt x="131" y="586"/>
                </a:lnTo>
                <a:lnTo>
                  <a:pt x="96" y="586"/>
                </a:lnTo>
                <a:lnTo>
                  <a:pt x="82" y="586"/>
                </a:lnTo>
                <a:lnTo>
                  <a:pt x="76" y="602"/>
                </a:lnTo>
                <a:lnTo>
                  <a:pt x="76" y="629"/>
                </a:lnTo>
                <a:lnTo>
                  <a:pt x="49" y="629"/>
                </a:lnTo>
                <a:lnTo>
                  <a:pt x="23" y="626"/>
                </a:lnTo>
                <a:lnTo>
                  <a:pt x="0" y="623"/>
                </a:lnTo>
                <a:lnTo>
                  <a:pt x="9" y="545"/>
                </a:lnTo>
                <a:lnTo>
                  <a:pt x="20" y="477"/>
                </a:lnTo>
                <a:lnTo>
                  <a:pt x="28" y="427"/>
                </a:lnTo>
                <a:lnTo>
                  <a:pt x="33" y="391"/>
                </a:lnTo>
                <a:lnTo>
                  <a:pt x="41" y="329"/>
                </a:lnTo>
                <a:lnTo>
                  <a:pt x="46" y="294"/>
                </a:lnTo>
                <a:lnTo>
                  <a:pt x="50" y="245"/>
                </a:lnTo>
                <a:lnTo>
                  <a:pt x="60" y="192"/>
                </a:lnTo>
                <a:lnTo>
                  <a:pt x="68" y="138"/>
                </a:lnTo>
                <a:lnTo>
                  <a:pt x="74" y="97"/>
                </a:lnTo>
                <a:lnTo>
                  <a:pt x="77" y="54"/>
                </a:lnTo>
                <a:lnTo>
                  <a:pt x="87" y="0"/>
                </a:lnTo>
                <a:close/>
              </a:path>
            </a:pathLst>
          </a:custGeom>
          <a:solidFill>
            <a:schemeClr val="accent6">
              <a:lumMod val="60000"/>
              <a:lumOff val="40000"/>
            </a:schemeClr>
          </a:solidFill>
          <a:ln w="0" algn="ctr">
            <a:solidFill>
              <a:srgbClr val="808080"/>
            </a:solidFill>
            <a:round/>
            <a:headEnd/>
            <a:tailEnd/>
          </a:ln>
        </p:spPr>
        <p:txBody>
          <a:bodyPr lIns="101798" tIns="50899" rIns="101798" bIns="50899"/>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endParaRPr>
          </a:p>
        </p:txBody>
      </p:sp>
      <p:sp>
        <p:nvSpPr>
          <p:cNvPr id="29" name="State: New Jersey"/>
          <p:cNvSpPr>
            <a:spLocks/>
          </p:cNvSpPr>
          <p:nvPr/>
        </p:nvSpPr>
        <p:spPr bwMode="auto">
          <a:xfrm>
            <a:off x="6638731" y="3274215"/>
            <a:ext cx="186621" cy="376859"/>
          </a:xfrm>
          <a:custGeom>
            <a:avLst/>
            <a:gdLst>
              <a:gd name="T0" fmla="*/ 2147483647 w 125"/>
              <a:gd name="T1" fmla="*/ 2147483647 h 245"/>
              <a:gd name="T2" fmla="*/ 2147483647 w 125"/>
              <a:gd name="T3" fmla="*/ 2147483647 h 245"/>
              <a:gd name="T4" fmla="*/ 2147483647 w 125"/>
              <a:gd name="T5" fmla="*/ 2147483647 h 245"/>
              <a:gd name="T6" fmla="*/ 2147483647 w 125"/>
              <a:gd name="T7" fmla="*/ 2147483647 h 245"/>
              <a:gd name="T8" fmla="*/ 2147483647 w 125"/>
              <a:gd name="T9" fmla="*/ 2147483647 h 245"/>
              <a:gd name="T10" fmla="*/ 2147483647 w 125"/>
              <a:gd name="T11" fmla="*/ 2147483647 h 245"/>
              <a:gd name="T12" fmla="*/ 2147483647 w 125"/>
              <a:gd name="T13" fmla="*/ 2147483647 h 245"/>
              <a:gd name="T14" fmla="*/ 2147483647 w 125"/>
              <a:gd name="T15" fmla="*/ 2147483647 h 245"/>
              <a:gd name="T16" fmla="*/ 2147483647 w 125"/>
              <a:gd name="T17" fmla="*/ 2147483647 h 245"/>
              <a:gd name="T18" fmla="*/ 2147483647 w 125"/>
              <a:gd name="T19" fmla="*/ 2147483647 h 245"/>
              <a:gd name="T20" fmla="*/ 2147483647 w 125"/>
              <a:gd name="T21" fmla="*/ 2147483647 h 245"/>
              <a:gd name="T22" fmla="*/ 2147483647 w 125"/>
              <a:gd name="T23" fmla="*/ 2147483647 h 245"/>
              <a:gd name="T24" fmla="*/ 2147483647 w 125"/>
              <a:gd name="T25" fmla="*/ 2147483647 h 245"/>
              <a:gd name="T26" fmla="*/ 2147483647 w 125"/>
              <a:gd name="T27" fmla="*/ 2147483647 h 245"/>
              <a:gd name="T28" fmla="*/ 2147483647 w 125"/>
              <a:gd name="T29" fmla="*/ 2147483647 h 245"/>
              <a:gd name="T30" fmla="*/ 2147483647 w 125"/>
              <a:gd name="T31" fmla="*/ 2147483647 h 245"/>
              <a:gd name="T32" fmla="*/ 2147483647 w 125"/>
              <a:gd name="T33" fmla="*/ 2147483647 h 245"/>
              <a:gd name="T34" fmla="*/ 2147483647 w 125"/>
              <a:gd name="T35" fmla="*/ 2147483647 h 245"/>
              <a:gd name="T36" fmla="*/ 2147483647 w 125"/>
              <a:gd name="T37" fmla="*/ 2147483647 h 245"/>
              <a:gd name="T38" fmla="*/ 2147483647 w 125"/>
              <a:gd name="T39" fmla="*/ 2147483647 h 245"/>
              <a:gd name="T40" fmla="*/ 2147483647 w 125"/>
              <a:gd name="T41" fmla="*/ 2147483647 h 245"/>
              <a:gd name="T42" fmla="*/ 2147483647 w 125"/>
              <a:gd name="T43" fmla="*/ 2147483647 h 245"/>
              <a:gd name="T44" fmla="*/ 2147483647 w 125"/>
              <a:gd name="T45" fmla="*/ 2147483647 h 245"/>
              <a:gd name="T46" fmla="*/ 2147483647 w 125"/>
              <a:gd name="T47" fmla="*/ 2147483647 h 245"/>
              <a:gd name="T48" fmla="*/ 2147483647 w 125"/>
              <a:gd name="T49" fmla="*/ 2147483647 h 245"/>
              <a:gd name="T50" fmla="*/ 2147483647 w 125"/>
              <a:gd name="T51" fmla="*/ 2147483647 h 245"/>
              <a:gd name="T52" fmla="*/ 2147483647 w 125"/>
              <a:gd name="T53" fmla="*/ 2147483647 h 245"/>
              <a:gd name="T54" fmla="*/ 2147483647 w 125"/>
              <a:gd name="T55" fmla="*/ 2147483647 h 245"/>
              <a:gd name="T56" fmla="*/ 2147483647 w 125"/>
              <a:gd name="T57" fmla="*/ 2147483647 h 245"/>
              <a:gd name="T58" fmla="*/ 2147483647 w 125"/>
              <a:gd name="T59" fmla="*/ 2147483647 h 245"/>
              <a:gd name="T60" fmla="*/ 2147483647 w 125"/>
              <a:gd name="T61" fmla="*/ 2147483647 h 245"/>
              <a:gd name="T62" fmla="*/ 2147483647 w 125"/>
              <a:gd name="T63" fmla="*/ 2147483647 h 245"/>
              <a:gd name="T64" fmla="*/ 2147483647 w 125"/>
              <a:gd name="T65" fmla="*/ 2147483647 h 245"/>
              <a:gd name="T66" fmla="*/ 2147483647 w 125"/>
              <a:gd name="T67" fmla="*/ 2147483647 h 245"/>
              <a:gd name="T68" fmla="*/ 2147483647 w 125"/>
              <a:gd name="T69" fmla="*/ 2147483647 h 245"/>
              <a:gd name="T70" fmla="*/ 2147483647 w 125"/>
              <a:gd name="T71" fmla="*/ 2147483647 h 245"/>
              <a:gd name="T72" fmla="*/ 2147483647 w 125"/>
              <a:gd name="T73" fmla="*/ 2147483647 h 245"/>
              <a:gd name="T74" fmla="*/ 2147483647 w 125"/>
              <a:gd name="T75" fmla="*/ 2147483647 h 245"/>
              <a:gd name="T76" fmla="*/ 2147483647 w 125"/>
              <a:gd name="T77" fmla="*/ 2147483647 h 245"/>
              <a:gd name="T78" fmla="*/ 2147483647 w 125"/>
              <a:gd name="T79" fmla="*/ 2147483647 h 245"/>
              <a:gd name="T80" fmla="*/ 2147483647 w 125"/>
              <a:gd name="T81" fmla="*/ 2147483647 h 245"/>
              <a:gd name="T82" fmla="*/ 2147483647 w 125"/>
              <a:gd name="T83" fmla="*/ 2147483647 h 245"/>
              <a:gd name="T84" fmla="*/ 2147483647 w 125"/>
              <a:gd name="T85" fmla="*/ 2147483647 h 245"/>
              <a:gd name="T86" fmla="*/ 2147483647 w 125"/>
              <a:gd name="T87" fmla="*/ 2147483647 h 245"/>
              <a:gd name="T88" fmla="*/ 2147483647 w 125"/>
              <a:gd name="T89" fmla="*/ 2147483647 h 245"/>
              <a:gd name="T90" fmla="*/ 2147483647 w 125"/>
              <a:gd name="T91" fmla="*/ 2147483647 h 245"/>
              <a:gd name="T92" fmla="*/ 2147483647 w 125"/>
              <a:gd name="T93" fmla="*/ 2147483647 h 245"/>
              <a:gd name="T94" fmla="*/ 2147483647 w 125"/>
              <a:gd name="T95" fmla="*/ 0 h 24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25"/>
              <a:gd name="T145" fmla="*/ 0 h 245"/>
              <a:gd name="T146" fmla="*/ 125 w 125"/>
              <a:gd name="T147" fmla="*/ 245 h 24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25" h="245">
                <a:moveTo>
                  <a:pt x="102" y="22"/>
                </a:moveTo>
                <a:lnTo>
                  <a:pt x="103" y="32"/>
                </a:lnTo>
                <a:lnTo>
                  <a:pt x="103" y="43"/>
                </a:lnTo>
                <a:lnTo>
                  <a:pt x="105" y="49"/>
                </a:lnTo>
                <a:lnTo>
                  <a:pt x="102" y="56"/>
                </a:lnTo>
                <a:lnTo>
                  <a:pt x="94" y="62"/>
                </a:lnTo>
                <a:lnTo>
                  <a:pt x="90" y="70"/>
                </a:lnTo>
                <a:lnTo>
                  <a:pt x="94" y="80"/>
                </a:lnTo>
                <a:lnTo>
                  <a:pt x="102" y="88"/>
                </a:lnTo>
                <a:lnTo>
                  <a:pt x="111" y="89"/>
                </a:lnTo>
                <a:lnTo>
                  <a:pt x="114" y="94"/>
                </a:lnTo>
                <a:lnTo>
                  <a:pt x="119" y="99"/>
                </a:lnTo>
                <a:lnTo>
                  <a:pt x="124" y="102"/>
                </a:lnTo>
                <a:lnTo>
                  <a:pt x="125" y="119"/>
                </a:lnTo>
                <a:lnTo>
                  <a:pt x="124" y="130"/>
                </a:lnTo>
                <a:lnTo>
                  <a:pt x="122" y="140"/>
                </a:lnTo>
                <a:lnTo>
                  <a:pt x="118" y="143"/>
                </a:lnTo>
                <a:lnTo>
                  <a:pt x="114" y="150"/>
                </a:lnTo>
                <a:lnTo>
                  <a:pt x="116" y="156"/>
                </a:lnTo>
                <a:lnTo>
                  <a:pt x="116" y="161"/>
                </a:lnTo>
                <a:lnTo>
                  <a:pt x="116" y="165"/>
                </a:lnTo>
                <a:lnTo>
                  <a:pt x="119" y="170"/>
                </a:lnTo>
                <a:lnTo>
                  <a:pt x="119" y="175"/>
                </a:lnTo>
                <a:lnTo>
                  <a:pt x="116" y="180"/>
                </a:lnTo>
                <a:lnTo>
                  <a:pt x="113" y="183"/>
                </a:lnTo>
                <a:lnTo>
                  <a:pt x="110" y="194"/>
                </a:lnTo>
                <a:lnTo>
                  <a:pt x="110" y="197"/>
                </a:lnTo>
                <a:lnTo>
                  <a:pt x="102" y="211"/>
                </a:lnTo>
                <a:lnTo>
                  <a:pt x="100" y="218"/>
                </a:lnTo>
                <a:lnTo>
                  <a:pt x="97" y="226"/>
                </a:lnTo>
                <a:lnTo>
                  <a:pt x="97" y="232"/>
                </a:lnTo>
                <a:lnTo>
                  <a:pt x="90" y="238"/>
                </a:lnTo>
                <a:lnTo>
                  <a:pt x="84" y="245"/>
                </a:lnTo>
                <a:lnTo>
                  <a:pt x="75" y="245"/>
                </a:lnTo>
                <a:lnTo>
                  <a:pt x="65" y="242"/>
                </a:lnTo>
                <a:lnTo>
                  <a:pt x="54" y="237"/>
                </a:lnTo>
                <a:lnTo>
                  <a:pt x="44" y="232"/>
                </a:lnTo>
                <a:lnTo>
                  <a:pt x="35" y="229"/>
                </a:lnTo>
                <a:lnTo>
                  <a:pt x="27" y="226"/>
                </a:lnTo>
                <a:lnTo>
                  <a:pt x="21" y="223"/>
                </a:lnTo>
                <a:lnTo>
                  <a:pt x="13" y="215"/>
                </a:lnTo>
                <a:lnTo>
                  <a:pt x="5" y="210"/>
                </a:lnTo>
                <a:lnTo>
                  <a:pt x="0" y="207"/>
                </a:lnTo>
                <a:lnTo>
                  <a:pt x="5" y="200"/>
                </a:lnTo>
                <a:lnTo>
                  <a:pt x="6" y="196"/>
                </a:lnTo>
                <a:lnTo>
                  <a:pt x="8" y="189"/>
                </a:lnTo>
                <a:lnTo>
                  <a:pt x="11" y="188"/>
                </a:lnTo>
                <a:lnTo>
                  <a:pt x="13" y="183"/>
                </a:lnTo>
                <a:lnTo>
                  <a:pt x="19" y="178"/>
                </a:lnTo>
                <a:lnTo>
                  <a:pt x="24" y="173"/>
                </a:lnTo>
                <a:lnTo>
                  <a:pt x="32" y="169"/>
                </a:lnTo>
                <a:lnTo>
                  <a:pt x="35" y="165"/>
                </a:lnTo>
                <a:lnTo>
                  <a:pt x="35" y="161"/>
                </a:lnTo>
                <a:lnTo>
                  <a:pt x="38" y="156"/>
                </a:lnTo>
                <a:lnTo>
                  <a:pt x="41" y="151"/>
                </a:lnTo>
                <a:lnTo>
                  <a:pt x="44" y="146"/>
                </a:lnTo>
                <a:lnTo>
                  <a:pt x="49" y="142"/>
                </a:lnTo>
                <a:lnTo>
                  <a:pt x="52" y="137"/>
                </a:lnTo>
                <a:lnTo>
                  <a:pt x="54" y="134"/>
                </a:lnTo>
                <a:lnTo>
                  <a:pt x="54" y="129"/>
                </a:lnTo>
                <a:lnTo>
                  <a:pt x="51" y="126"/>
                </a:lnTo>
                <a:lnTo>
                  <a:pt x="44" y="121"/>
                </a:lnTo>
                <a:lnTo>
                  <a:pt x="41" y="118"/>
                </a:lnTo>
                <a:lnTo>
                  <a:pt x="36" y="113"/>
                </a:lnTo>
                <a:lnTo>
                  <a:pt x="35" y="111"/>
                </a:lnTo>
                <a:lnTo>
                  <a:pt x="30" y="108"/>
                </a:lnTo>
                <a:lnTo>
                  <a:pt x="25" y="107"/>
                </a:lnTo>
                <a:lnTo>
                  <a:pt x="24" y="100"/>
                </a:lnTo>
                <a:lnTo>
                  <a:pt x="22" y="97"/>
                </a:lnTo>
                <a:lnTo>
                  <a:pt x="21" y="96"/>
                </a:lnTo>
                <a:lnTo>
                  <a:pt x="19" y="96"/>
                </a:lnTo>
                <a:lnTo>
                  <a:pt x="17" y="94"/>
                </a:lnTo>
                <a:lnTo>
                  <a:pt x="11" y="91"/>
                </a:lnTo>
                <a:lnTo>
                  <a:pt x="6" y="86"/>
                </a:lnTo>
                <a:lnTo>
                  <a:pt x="5" y="80"/>
                </a:lnTo>
                <a:lnTo>
                  <a:pt x="6" y="72"/>
                </a:lnTo>
                <a:lnTo>
                  <a:pt x="6" y="70"/>
                </a:lnTo>
                <a:lnTo>
                  <a:pt x="9" y="70"/>
                </a:lnTo>
                <a:lnTo>
                  <a:pt x="13" y="67"/>
                </a:lnTo>
                <a:lnTo>
                  <a:pt x="14" y="65"/>
                </a:lnTo>
                <a:lnTo>
                  <a:pt x="14" y="59"/>
                </a:lnTo>
                <a:lnTo>
                  <a:pt x="11" y="57"/>
                </a:lnTo>
                <a:lnTo>
                  <a:pt x="9" y="53"/>
                </a:lnTo>
                <a:lnTo>
                  <a:pt x="6" y="46"/>
                </a:lnTo>
                <a:lnTo>
                  <a:pt x="9" y="40"/>
                </a:lnTo>
                <a:lnTo>
                  <a:pt x="11" y="38"/>
                </a:lnTo>
                <a:lnTo>
                  <a:pt x="13" y="34"/>
                </a:lnTo>
                <a:lnTo>
                  <a:pt x="16" y="30"/>
                </a:lnTo>
                <a:lnTo>
                  <a:pt x="19" y="24"/>
                </a:lnTo>
                <a:lnTo>
                  <a:pt x="19" y="19"/>
                </a:lnTo>
                <a:lnTo>
                  <a:pt x="21" y="16"/>
                </a:lnTo>
                <a:lnTo>
                  <a:pt x="22" y="8"/>
                </a:lnTo>
                <a:lnTo>
                  <a:pt x="25" y="5"/>
                </a:lnTo>
                <a:lnTo>
                  <a:pt x="29" y="0"/>
                </a:lnTo>
                <a:lnTo>
                  <a:pt x="102" y="22"/>
                </a:lnTo>
                <a:close/>
              </a:path>
            </a:pathLst>
          </a:custGeom>
          <a:solidFill>
            <a:schemeClr val="accent6">
              <a:lumMod val="60000"/>
              <a:lumOff val="40000"/>
            </a:schemeClr>
          </a:solidFill>
          <a:ln w="0" algn="ctr">
            <a:solidFill>
              <a:srgbClr val="808080"/>
            </a:solidFill>
            <a:round/>
            <a:headEnd/>
            <a:tailEnd/>
          </a:ln>
        </p:spPr>
        <p:txBody>
          <a:bodyPr lIns="101798" tIns="50899" rIns="101798" bIns="50899"/>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endParaRPr>
          </a:p>
        </p:txBody>
      </p:sp>
      <p:sp>
        <p:nvSpPr>
          <p:cNvPr id="30" name="State: New Hampshire"/>
          <p:cNvSpPr>
            <a:spLocks/>
          </p:cNvSpPr>
          <p:nvPr/>
        </p:nvSpPr>
        <p:spPr bwMode="auto">
          <a:xfrm>
            <a:off x="6861180" y="2505108"/>
            <a:ext cx="209014" cy="466075"/>
          </a:xfrm>
          <a:custGeom>
            <a:avLst/>
            <a:gdLst>
              <a:gd name="T0" fmla="*/ 2147483647 w 140"/>
              <a:gd name="T1" fmla="*/ 2147483647 h 303"/>
              <a:gd name="T2" fmla="*/ 2147483647 w 140"/>
              <a:gd name="T3" fmla="*/ 2147483647 h 303"/>
              <a:gd name="T4" fmla="*/ 2147483647 w 140"/>
              <a:gd name="T5" fmla="*/ 2147483647 h 303"/>
              <a:gd name="T6" fmla="*/ 2147483647 w 140"/>
              <a:gd name="T7" fmla="*/ 2147483647 h 303"/>
              <a:gd name="T8" fmla="*/ 2147483647 w 140"/>
              <a:gd name="T9" fmla="*/ 0 h 303"/>
              <a:gd name="T10" fmla="*/ 2147483647 w 140"/>
              <a:gd name="T11" fmla="*/ 2147483647 h 303"/>
              <a:gd name="T12" fmla="*/ 2147483647 w 140"/>
              <a:gd name="T13" fmla="*/ 2147483647 h 303"/>
              <a:gd name="T14" fmla="*/ 2147483647 w 140"/>
              <a:gd name="T15" fmla="*/ 2147483647 h 303"/>
              <a:gd name="T16" fmla="*/ 2147483647 w 140"/>
              <a:gd name="T17" fmla="*/ 2147483647 h 303"/>
              <a:gd name="T18" fmla="*/ 2147483647 w 140"/>
              <a:gd name="T19" fmla="*/ 2147483647 h 303"/>
              <a:gd name="T20" fmla="*/ 2147483647 w 140"/>
              <a:gd name="T21" fmla="*/ 2147483647 h 303"/>
              <a:gd name="T22" fmla="*/ 2147483647 w 140"/>
              <a:gd name="T23" fmla="*/ 2147483647 h 303"/>
              <a:gd name="T24" fmla="*/ 2147483647 w 140"/>
              <a:gd name="T25" fmla="*/ 2147483647 h 303"/>
              <a:gd name="T26" fmla="*/ 2147483647 w 140"/>
              <a:gd name="T27" fmla="*/ 2147483647 h 303"/>
              <a:gd name="T28" fmla="*/ 2147483647 w 140"/>
              <a:gd name="T29" fmla="*/ 2147483647 h 303"/>
              <a:gd name="T30" fmla="*/ 2147483647 w 140"/>
              <a:gd name="T31" fmla="*/ 2147483647 h 303"/>
              <a:gd name="T32" fmla="*/ 2147483647 w 140"/>
              <a:gd name="T33" fmla="*/ 2147483647 h 303"/>
              <a:gd name="T34" fmla="*/ 2147483647 w 140"/>
              <a:gd name="T35" fmla="*/ 2147483647 h 303"/>
              <a:gd name="T36" fmla="*/ 2147483647 w 140"/>
              <a:gd name="T37" fmla="*/ 2147483647 h 303"/>
              <a:gd name="T38" fmla="*/ 2147483647 w 140"/>
              <a:gd name="T39" fmla="*/ 2147483647 h 303"/>
              <a:gd name="T40" fmla="*/ 2147483647 w 140"/>
              <a:gd name="T41" fmla="*/ 2147483647 h 303"/>
              <a:gd name="T42" fmla="*/ 2147483647 w 140"/>
              <a:gd name="T43" fmla="*/ 2147483647 h 303"/>
              <a:gd name="T44" fmla="*/ 2147483647 w 140"/>
              <a:gd name="T45" fmla="*/ 2147483647 h 303"/>
              <a:gd name="T46" fmla="*/ 2147483647 w 140"/>
              <a:gd name="T47" fmla="*/ 2147483647 h 303"/>
              <a:gd name="T48" fmla="*/ 2147483647 w 140"/>
              <a:gd name="T49" fmla="*/ 2147483647 h 303"/>
              <a:gd name="T50" fmla="*/ 2147483647 w 140"/>
              <a:gd name="T51" fmla="*/ 2147483647 h 303"/>
              <a:gd name="T52" fmla="*/ 2147483647 w 140"/>
              <a:gd name="T53" fmla="*/ 2147483647 h 303"/>
              <a:gd name="T54" fmla="*/ 2147483647 w 140"/>
              <a:gd name="T55" fmla="*/ 2147483647 h 303"/>
              <a:gd name="T56" fmla="*/ 2147483647 w 140"/>
              <a:gd name="T57" fmla="*/ 2147483647 h 303"/>
              <a:gd name="T58" fmla="*/ 2147483647 w 140"/>
              <a:gd name="T59" fmla="*/ 2147483647 h 303"/>
              <a:gd name="T60" fmla="*/ 0 w 140"/>
              <a:gd name="T61" fmla="*/ 2147483647 h 303"/>
              <a:gd name="T62" fmla="*/ 2147483647 w 140"/>
              <a:gd name="T63" fmla="*/ 2147483647 h 303"/>
              <a:gd name="T64" fmla="*/ 2147483647 w 140"/>
              <a:gd name="T65" fmla="*/ 2147483647 h 303"/>
              <a:gd name="T66" fmla="*/ 2147483647 w 140"/>
              <a:gd name="T67" fmla="*/ 2147483647 h 303"/>
              <a:gd name="T68" fmla="*/ 2147483647 w 140"/>
              <a:gd name="T69" fmla="*/ 2147483647 h 303"/>
              <a:gd name="T70" fmla="*/ 2147483647 w 140"/>
              <a:gd name="T71" fmla="*/ 2147483647 h 303"/>
              <a:gd name="T72" fmla="*/ 2147483647 w 140"/>
              <a:gd name="T73" fmla="*/ 2147483647 h 303"/>
              <a:gd name="T74" fmla="*/ 2147483647 w 140"/>
              <a:gd name="T75" fmla="*/ 2147483647 h 303"/>
              <a:gd name="T76" fmla="*/ 2147483647 w 140"/>
              <a:gd name="T77" fmla="*/ 2147483647 h 303"/>
              <a:gd name="T78" fmla="*/ 2147483647 w 140"/>
              <a:gd name="T79" fmla="*/ 2147483647 h 303"/>
              <a:gd name="T80" fmla="*/ 2147483647 w 140"/>
              <a:gd name="T81" fmla="*/ 2147483647 h 303"/>
              <a:gd name="T82" fmla="*/ 2147483647 w 140"/>
              <a:gd name="T83" fmla="*/ 2147483647 h 303"/>
              <a:gd name="T84" fmla="*/ 2147483647 w 140"/>
              <a:gd name="T85" fmla="*/ 2147483647 h 303"/>
              <a:gd name="T86" fmla="*/ 2147483647 w 140"/>
              <a:gd name="T87" fmla="*/ 2147483647 h 303"/>
              <a:gd name="T88" fmla="*/ 2147483647 w 140"/>
              <a:gd name="T89" fmla="*/ 2147483647 h 303"/>
              <a:gd name="T90" fmla="*/ 2147483647 w 140"/>
              <a:gd name="T91" fmla="*/ 2147483647 h 303"/>
              <a:gd name="T92" fmla="*/ 2147483647 w 140"/>
              <a:gd name="T93" fmla="*/ 2147483647 h 30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40"/>
              <a:gd name="T142" fmla="*/ 0 h 303"/>
              <a:gd name="T143" fmla="*/ 140 w 140"/>
              <a:gd name="T144" fmla="*/ 303 h 30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40" h="303">
                <a:moveTo>
                  <a:pt x="23" y="36"/>
                </a:moveTo>
                <a:lnTo>
                  <a:pt x="23" y="28"/>
                </a:lnTo>
                <a:lnTo>
                  <a:pt x="23" y="19"/>
                </a:lnTo>
                <a:lnTo>
                  <a:pt x="24" y="14"/>
                </a:lnTo>
                <a:lnTo>
                  <a:pt x="27" y="11"/>
                </a:lnTo>
                <a:lnTo>
                  <a:pt x="32" y="8"/>
                </a:lnTo>
                <a:lnTo>
                  <a:pt x="35" y="5"/>
                </a:lnTo>
                <a:lnTo>
                  <a:pt x="38" y="3"/>
                </a:lnTo>
                <a:lnTo>
                  <a:pt x="43" y="1"/>
                </a:lnTo>
                <a:lnTo>
                  <a:pt x="46" y="0"/>
                </a:lnTo>
                <a:lnTo>
                  <a:pt x="50" y="0"/>
                </a:lnTo>
                <a:lnTo>
                  <a:pt x="51" y="8"/>
                </a:lnTo>
                <a:lnTo>
                  <a:pt x="53" y="14"/>
                </a:lnTo>
                <a:lnTo>
                  <a:pt x="56" y="24"/>
                </a:lnTo>
                <a:lnTo>
                  <a:pt x="59" y="35"/>
                </a:lnTo>
                <a:lnTo>
                  <a:pt x="64" y="44"/>
                </a:lnTo>
                <a:lnTo>
                  <a:pt x="69" y="59"/>
                </a:lnTo>
                <a:lnTo>
                  <a:pt x="72" y="70"/>
                </a:lnTo>
                <a:lnTo>
                  <a:pt x="77" y="81"/>
                </a:lnTo>
                <a:lnTo>
                  <a:pt x="80" y="95"/>
                </a:lnTo>
                <a:lnTo>
                  <a:pt x="86" y="106"/>
                </a:lnTo>
                <a:lnTo>
                  <a:pt x="86" y="117"/>
                </a:lnTo>
                <a:lnTo>
                  <a:pt x="91" y="127"/>
                </a:lnTo>
                <a:lnTo>
                  <a:pt x="94" y="140"/>
                </a:lnTo>
                <a:lnTo>
                  <a:pt x="96" y="149"/>
                </a:lnTo>
                <a:lnTo>
                  <a:pt x="102" y="163"/>
                </a:lnTo>
                <a:lnTo>
                  <a:pt x="105" y="171"/>
                </a:lnTo>
                <a:lnTo>
                  <a:pt x="108" y="182"/>
                </a:lnTo>
                <a:lnTo>
                  <a:pt x="112" y="194"/>
                </a:lnTo>
                <a:lnTo>
                  <a:pt x="115" y="198"/>
                </a:lnTo>
                <a:lnTo>
                  <a:pt x="121" y="206"/>
                </a:lnTo>
                <a:lnTo>
                  <a:pt x="129" y="214"/>
                </a:lnTo>
                <a:lnTo>
                  <a:pt x="134" y="219"/>
                </a:lnTo>
                <a:lnTo>
                  <a:pt x="139" y="229"/>
                </a:lnTo>
                <a:lnTo>
                  <a:pt x="140" y="236"/>
                </a:lnTo>
                <a:lnTo>
                  <a:pt x="140" y="248"/>
                </a:lnTo>
                <a:lnTo>
                  <a:pt x="137" y="251"/>
                </a:lnTo>
                <a:lnTo>
                  <a:pt x="134" y="254"/>
                </a:lnTo>
                <a:lnTo>
                  <a:pt x="129" y="259"/>
                </a:lnTo>
                <a:lnTo>
                  <a:pt x="123" y="263"/>
                </a:lnTo>
                <a:lnTo>
                  <a:pt x="116" y="273"/>
                </a:lnTo>
                <a:lnTo>
                  <a:pt x="112" y="278"/>
                </a:lnTo>
                <a:lnTo>
                  <a:pt x="105" y="279"/>
                </a:lnTo>
                <a:lnTo>
                  <a:pt x="99" y="281"/>
                </a:lnTo>
                <a:lnTo>
                  <a:pt x="86" y="283"/>
                </a:lnTo>
                <a:lnTo>
                  <a:pt x="72" y="287"/>
                </a:lnTo>
                <a:lnTo>
                  <a:pt x="15" y="303"/>
                </a:lnTo>
                <a:lnTo>
                  <a:pt x="10" y="294"/>
                </a:lnTo>
                <a:lnTo>
                  <a:pt x="8" y="287"/>
                </a:lnTo>
                <a:lnTo>
                  <a:pt x="7" y="283"/>
                </a:lnTo>
                <a:lnTo>
                  <a:pt x="10" y="279"/>
                </a:lnTo>
                <a:lnTo>
                  <a:pt x="11" y="275"/>
                </a:lnTo>
                <a:lnTo>
                  <a:pt x="10" y="270"/>
                </a:lnTo>
                <a:lnTo>
                  <a:pt x="10" y="263"/>
                </a:lnTo>
                <a:lnTo>
                  <a:pt x="10" y="259"/>
                </a:lnTo>
                <a:lnTo>
                  <a:pt x="7" y="246"/>
                </a:lnTo>
                <a:lnTo>
                  <a:pt x="5" y="238"/>
                </a:lnTo>
                <a:lnTo>
                  <a:pt x="3" y="235"/>
                </a:lnTo>
                <a:lnTo>
                  <a:pt x="3" y="232"/>
                </a:lnTo>
                <a:lnTo>
                  <a:pt x="3" y="225"/>
                </a:lnTo>
                <a:lnTo>
                  <a:pt x="2" y="221"/>
                </a:lnTo>
                <a:lnTo>
                  <a:pt x="0" y="216"/>
                </a:lnTo>
                <a:lnTo>
                  <a:pt x="2" y="208"/>
                </a:lnTo>
                <a:lnTo>
                  <a:pt x="2" y="205"/>
                </a:lnTo>
                <a:lnTo>
                  <a:pt x="5" y="198"/>
                </a:lnTo>
                <a:lnTo>
                  <a:pt x="5" y="189"/>
                </a:lnTo>
                <a:lnTo>
                  <a:pt x="7" y="179"/>
                </a:lnTo>
                <a:lnTo>
                  <a:pt x="10" y="174"/>
                </a:lnTo>
                <a:lnTo>
                  <a:pt x="11" y="165"/>
                </a:lnTo>
                <a:lnTo>
                  <a:pt x="11" y="157"/>
                </a:lnTo>
                <a:lnTo>
                  <a:pt x="11" y="149"/>
                </a:lnTo>
                <a:lnTo>
                  <a:pt x="11" y="141"/>
                </a:lnTo>
                <a:lnTo>
                  <a:pt x="8" y="136"/>
                </a:lnTo>
                <a:lnTo>
                  <a:pt x="7" y="133"/>
                </a:lnTo>
                <a:lnTo>
                  <a:pt x="5" y="128"/>
                </a:lnTo>
                <a:lnTo>
                  <a:pt x="8" y="124"/>
                </a:lnTo>
                <a:lnTo>
                  <a:pt x="11" y="120"/>
                </a:lnTo>
                <a:lnTo>
                  <a:pt x="18" y="113"/>
                </a:lnTo>
                <a:lnTo>
                  <a:pt x="21" y="108"/>
                </a:lnTo>
                <a:lnTo>
                  <a:pt x="26" y="105"/>
                </a:lnTo>
                <a:lnTo>
                  <a:pt x="29" y="97"/>
                </a:lnTo>
                <a:lnTo>
                  <a:pt x="32" y="89"/>
                </a:lnTo>
                <a:lnTo>
                  <a:pt x="32" y="82"/>
                </a:lnTo>
                <a:lnTo>
                  <a:pt x="32" y="81"/>
                </a:lnTo>
                <a:lnTo>
                  <a:pt x="29" y="76"/>
                </a:lnTo>
                <a:lnTo>
                  <a:pt x="24" y="71"/>
                </a:lnTo>
                <a:lnTo>
                  <a:pt x="21" y="68"/>
                </a:lnTo>
                <a:lnTo>
                  <a:pt x="21" y="63"/>
                </a:lnTo>
                <a:lnTo>
                  <a:pt x="23" y="60"/>
                </a:lnTo>
                <a:lnTo>
                  <a:pt x="26" y="57"/>
                </a:lnTo>
                <a:lnTo>
                  <a:pt x="27" y="52"/>
                </a:lnTo>
                <a:lnTo>
                  <a:pt x="27" y="46"/>
                </a:lnTo>
                <a:lnTo>
                  <a:pt x="26" y="43"/>
                </a:lnTo>
                <a:lnTo>
                  <a:pt x="23" y="36"/>
                </a:lnTo>
                <a:close/>
              </a:path>
            </a:pathLst>
          </a:custGeom>
          <a:solidFill>
            <a:schemeClr val="accent6">
              <a:lumMod val="20000"/>
              <a:lumOff val="80000"/>
            </a:schemeClr>
          </a:solidFill>
          <a:ln w="0" algn="ctr">
            <a:solidFill>
              <a:schemeClr val="bg1">
                <a:lumMod val="50000"/>
              </a:schemeClr>
            </a:solidFill>
            <a:round/>
            <a:headEnd/>
            <a:tailEnd/>
          </a:ln>
        </p:spPr>
        <p:txBody>
          <a:bodyPr lIns="101798" tIns="50899" rIns="101798" bIns="50899"/>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endParaRPr>
          </a:p>
        </p:txBody>
      </p:sp>
      <p:sp>
        <p:nvSpPr>
          <p:cNvPr id="31" name="State: Nevada"/>
          <p:cNvSpPr>
            <a:spLocks/>
          </p:cNvSpPr>
          <p:nvPr/>
        </p:nvSpPr>
        <p:spPr bwMode="auto">
          <a:xfrm>
            <a:off x="1111788" y="3009641"/>
            <a:ext cx="837551" cy="1349003"/>
          </a:xfrm>
          <a:custGeom>
            <a:avLst/>
            <a:gdLst>
              <a:gd name="T0" fmla="*/ 0 w 561"/>
              <a:gd name="T1" fmla="*/ 2147483647 h 877"/>
              <a:gd name="T2" fmla="*/ 2147483647 w 561"/>
              <a:gd name="T3" fmla="*/ 2147483647 h 877"/>
              <a:gd name="T4" fmla="*/ 2147483647 w 561"/>
              <a:gd name="T5" fmla="*/ 2147483647 h 877"/>
              <a:gd name="T6" fmla="*/ 2147483647 w 561"/>
              <a:gd name="T7" fmla="*/ 2147483647 h 877"/>
              <a:gd name="T8" fmla="*/ 2147483647 w 561"/>
              <a:gd name="T9" fmla="*/ 2147483647 h 877"/>
              <a:gd name="T10" fmla="*/ 2147483647 w 561"/>
              <a:gd name="T11" fmla="*/ 2147483647 h 877"/>
              <a:gd name="T12" fmla="*/ 2147483647 w 561"/>
              <a:gd name="T13" fmla="*/ 2147483647 h 877"/>
              <a:gd name="T14" fmla="*/ 2147483647 w 561"/>
              <a:gd name="T15" fmla="*/ 2147483647 h 877"/>
              <a:gd name="T16" fmla="*/ 2147483647 w 561"/>
              <a:gd name="T17" fmla="*/ 2147483647 h 877"/>
              <a:gd name="T18" fmla="*/ 2147483647 w 561"/>
              <a:gd name="T19" fmla="*/ 2147483647 h 877"/>
              <a:gd name="T20" fmla="*/ 2147483647 w 561"/>
              <a:gd name="T21" fmla="*/ 2147483647 h 877"/>
              <a:gd name="T22" fmla="*/ 2147483647 w 561"/>
              <a:gd name="T23" fmla="*/ 2147483647 h 877"/>
              <a:gd name="T24" fmla="*/ 2147483647 w 561"/>
              <a:gd name="T25" fmla="*/ 2147483647 h 877"/>
              <a:gd name="T26" fmla="*/ 2147483647 w 561"/>
              <a:gd name="T27" fmla="*/ 2147483647 h 877"/>
              <a:gd name="T28" fmla="*/ 2147483647 w 561"/>
              <a:gd name="T29" fmla="*/ 2147483647 h 877"/>
              <a:gd name="T30" fmla="*/ 2147483647 w 561"/>
              <a:gd name="T31" fmla="*/ 2147483647 h 877"/>
              <a:gd name="T32" fmla="*/ 2147483647 w 561"/>
              <a:gd name="T33" fmla="*/ 2147483647 h 877"/>
              <a:gd name="T34" fmla="*/ 2147483647 w 561"/>
              <a:gd name="T35" fmla="*/ 2147483647 h 877"/>
              <a:gd name="T36" fmla="*/ 2147483647 w 561"/>
              <a:gd name="T37" fmla="*/ 2147483647 h 877"/>
              <a:gd name="T38" fmla="*/ 2147483647 w 561"/>
              <a:gd name="T39" fmla="*/ 2147483647 h 877"/>
              <a:gd name="T40" fmla="*/ 2147483647 w 561"/>
              <a:gd name="T41" fmla="*/ 2147483647 h 877"/>
              <a:gd name="T42" fmla="*/ 2147483647 w 561"/>
              <a:gd name="T43" fmla="*/ 2147483647 h 877"/>
              <a:gd name="T44" fmla="*/ 2147483647 w 561"/>
              <a:gd name="T45" fmla="*/ 2147483647 h 877"/>
              <a:gd name="T46" fmla="*/ 2147483647 w 561"/>
              <a:gd name="T47" fmla="*/ 2147483647 h 877"/>
              <a:gd name="T48" fmla="*/ 2147483647 w 561"/>
              <a:gd name="T49" fmla="*/ 2147483647 h 877"/>
              <a:gd name="T50" fmla="*/ 2147483647 w 561"/>
              <a:gd name="T51" fmla="*/ 2147483647 h 877"/>
              <a:gd name="T52" fmla="*/ 2147483647 w 561"/>
              <a:gd name="T53" fmla="*/ 2147483647 h 877"/>
              <a:gd name="T54" fmla="*/ 2147483647 w 561"/>
              <a:gd name="T55" fmla="*/ 2147483647 h 877"/>
              <a:gd name="T56" fmla="*/ 2147483647 w 561"/>
              <a:gd name="T57" fmla="*/ 2147483647 h 877"/>
              <a:gd name="T58" fmla="*/ 2147483647 w 561"/>
              <a:gd name="T59" fmla="*/ 2147483647 h 877"/>
              <a:gd name="T60" fmla="*/ 2147483647 w 561"/>
              <a:gd name="T61" fmla="*/ 2147483647 h 877"/>
              <a:gd name="T62" fmla="*/ 2147483647 w 561"/>
              <a:gd name="T63" fmla="*/ 2147483647 h 877"/>
              <a:gd name="T64" fmla="*/ 2147483647 w 561"/>
              <a:gd name="T65" fmla="*/ 2147483647 h 87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61"/>
              <a:gd name="T100" fmla="*/ 0 h 877"/>
              <a:gd name="T101" fmla="*/ 561 w 561"/>
              <a:gd name="T102" fmla="*/ 877 h 87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61" h="877">
                <a:moveTo>
                  <a:pt x="94" y="0"/>
                </a:moveTo>
                <a:lnTo>
                  <a:pt x="0" y="321"/>
                </a:lnTo>
                <a:lnTo>
                  <a:pt x="26" y="360"/>
                </a:lnTo>
                <a:lnTo>
                  <a:pt x="150" y="562"/>
                </a:lnTo>
                <a:lnTo>
                  <a:pt x="194" y="632"/>
                </a:lnTo>
                <a:lnTo>
                  <a:pt x="345" y="873"/>
                </a:lnTo>
                <a:lnTo>
                  <a:pt x="347" y="877"/>
                </a:lnTo>
                <a:lnTo>
                  <a:pt x="350" y="875"/>
                </a:lnTo>
                <a:lnTo>
                  <a:pt x="350" y="867"/>
                </a:lnTo>
                <a:lnTo>
                  <a:pt x="353" y="862"/>
                </a:lnTo>
                <a:lnTo>
                  <a:pt x="358" y="859"/>
                </a:lnTo>
                <a:lnTo>
                  <a:pt x="359" y="846"/>
                </a:lnTo>
                <a:lnTo>
                  <a:pt x="361" y="832"/>
                </a:lnTo>
                <a:lnTo>
                  <a:pt x="359" y="815"/>
                </a:lnTo>
                <a:lnTo>
                  <a:pt x="361" y="797"/>
                </a:lnTo>
                <a:lnTo>
                  <a:pt x="363" y="789"/>
                </a:lnTo>
                <a:lnTo>
                  <a:pt x="366" y="786"/>
                </a:lnTo>
                <a:lnTo>
                  <a:pt x="366" y="776"/>
                </a:lnTo>
                <a:lnTo>
                  <a:pt x="364" y="772"/>
                </a:lnTo>
                <a:lnTo>
                  <a:pt x="367" y="764"/>
                </a:lnTo>
                <a:lnTo>
                  <a:pt x="374" y="756"/>
                </a:lnTo>
                <a:lnTo>
                  <a:pt x="378" y="757"/>
                </a:lnTo>
                <a:lnTo>
                  <a:pt x="385" y="759"/>
                </a:lnTo>
                <a:lnTo>
                  <a:pt x="386" y="762"/>
                </a:lnTo>
                <a:lnTo>
                  <a:pt x="396" y="764"/>
                </a:lnTo>
                <a:lnTo>
                  <a:pt x="401" y="767"/>
                </a:lnTo>
                <a:lnTo>
                  <a:pt x="405" y="772"/>
                </a:lnTo>
                <a:lnTo>
                  <a:pt x="409" y="776"/>
                </a:lnTo>
                <a:lnTo>
                  <a:pt x="417" y="776"/>
                </a:lnTo>
                <a:lnTo>
                  <a:pt x="423" y="772"/>
                </a:lnTo>
                <a:lnTo>
                  <a:pt x="429" y="765"/>
                </a:lnTo>
                <a:lnTo>
                  <a:pt x="432" y="757"/>
                </a:lnTo>
                <a:lnTo>
                  <a:pt x="431" y="746"/>
                </a:lnTo>
                <a:lnTo>
                  <a:pt x="431" y="740"/>
                </a:lnTo>
                <a:lnTo>
                  <a:pt x="431" y="729"/>
                </a:lnTo>
                <a:lnTo>
                  <a:pt x="436" y="722"/>
                </a:lnTo>
                <a:lnTo>
                  <a:pt x="439" y="711"/>
                </a:lnTo>
                <a:lnTo>
                  <a:pt x="439" y="703"/>
                </a:lnTo>
                <a:lnTo>
                  <a:pt x="444" y="697"/>
                </a:lnTo>
                <a:lnTo>
                  <a:pt x="444" y="688"/>
                </a:lnTo>
                <a:lnTo>
                  <a:pt x="448" y="662"/>
                </a:lnTo>
                <a:lnTo>
                  <a:pt x="451" y="638"/>
                </a:lnTo>
                <a:lnTo>
                  <a:pt x="456" y="619"/>
                </a:lnTo>
                <a:lnTo>
                  <a:pt x="463" y="595"/>
                </a:lnTo>
                <a:lnTo>
                  <a:pt x="467" y="565"/>
                </a:lnTo>
                <a:lnTo>
                  <a:pt x="472" y="537"/>
                </a:lnTo>
                <a:lnTo>
                  <a:pt x="475" y="518"/>
                </a:lnTo>
                <a:lnTo>
                  <a:pt x="480" y="497"/>
                </a:lnTo>
                <a:lnTo>
                  <a:pt x="485" y="475"/>
                </a:lnTo>
                <a:lnTo>
                  <a:pt x="488" y="454"/>
                </a:lnTo>
                <a:lnTo>
                  <a:pt x="494" y="433"/>
                </a:lnTo>
                <a:lnTo>
                  <a:pt x="498" y="411"/>
                </a:lnTo>
                <a:lnTo>
                  <a:pt x="502" y="390"/>
                </a:lnTo>
                <a:lnTo>
                  <a:pt x="507" y="371"/>
                </a:lnTo>
                <a:lnTo>
                  <a:pt x="509" y="352"/>
                </a:lnTo>
                <a:lnTo>
                  <a:pt x="515" y="332"/>
                </a:lnTo>
                <a:lnTo>
                  <a:pt x="520" y="308"/>
                </a:lnTo>
                <a:lnTo>
                  <a:pt x="523" y="284"/>
                </a:lnTo>
                <a:lnTo>
                  <a:pt x="528" y="263"/>
                </a:lnTo>
                <a:lnTo>
                  <a:pt x="534" y="239"/>
                </a:lnTo>
                <a:lnTo>
                  <a:pt x="539" y="217"/>
                </a:lnTo>
                <a:lnTo>
                  <a:pt x="542" y="200"/>
                </a:lnTo>
                <a:lnTo>
                  <a:pt x="547" y="178"/>
                </a:lnTo>
                <a:lnTo>
                  <a:pt x="552" y="158"/>
                </a:lnTo>
                <a:lnTo>
                  <a:pt x="555" y="139"/>
                </a:lnTo>
                <a:lnTo>
                  <a:pt x="561" y="122"/>
                </a:lnTo>
                <a:lnTo>
                  <a:pt x="94" y="0"/>
                </a:lnTo>
                <a:close/>
              </a:path>
            </a:pathLst>
          </a:custGeom>
          <a:solidFill>
            <a:schemeClr val="accent6">
              <a:lumMod val="60000"/>
              <a:lumOff val="40000"/>
            </a:schemeClr>
          </a:solidFill>
          <a:ln w="0" algn="ctr">
            <a:solidFill>
              <a:srgbClr val="808080"/>
            </a:solidFill>
            <a:round/>
            <a:headEnd/>
            <a:tailEnd/>
          </a:ln>
        </p:spPr>
        <p:txBody>
          <a:bodyPr lIns="101798" tIns="50899" rIns="101798" bIns="50899"/>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endParaRPr>
          </a:p>
        </p:txBody>
      </p:sp>
      <p:sp>
        <p:nvSpPr>
          <p:cNvPr id="32" name="State: Nebraska"/>
          <p:cNvSpPr>
            <a:spLocks/>
          </p:cNvSpPr>
          <p:nvPr/>
        </p:nvSpPr>
        <p:spPr bwMode="auto">
          <a:xfrm>
            <a:off x="3118333" y="3231144"/>
            <a:ext cx="1057015" cy="556829"/>
          </a:xfrm>
          <a:custGeom>
            <a:avLst/>
            <a:gdLst>
              <a:gd name="T0" fmla="*/ 2147483647 w 708"/>
              <a:gd name="T1" fmla="*/ 2147483647 h 362"/>
              <a:gd name="T2" fmla="*/ 2147483647 w 708"/>
              <a:gd name="T3" fmla="*/ 2147483647 h 362"/>
              <a:gd name="T4" fmla="*/ 2147483647 w 708"/>
              <a:gd name="T5" fmla="*/ 2147483647 h 362"/>
              <a:gd name="T6" fmla="*/ 2147483647 w 708"/>
              <a:gd name="T7" fmla="*/ 2147483647 h 362"/>
              <a:gd name="T8" fmla="*/ 2147483647 w 708"/>
              <a:gd name="T9" fmla="*/ 2147483647 h 362"/>
              <a:gd name="T10" fmla="*/ 2147483647 w 708"/>
              <a:gd name="T11" fmla="*/ 2147483647 h 362"/>
              <a:gd name="T12" fmla="*/ 2147483647 w 708"/>
              <a:gd name="T13" fmla="*/ 2147483647 h 362"/>
              <a:gd name="T14" fmla="*/ 2147483647 w 708"/>
              <a:gd name="T15" fmla="*/ 2147483647 h 362"/>
              <a:gd name="T16" fmla="*/ 2147483647 w 708"/>
              <a:gd name="T17" fmla="*/ 2147483647 h 362"/>
              <a:gd name="T18" fmla="*/ 2147483647 w 708"/>
              <a:gd name="T19" fmla="*/ 2147483647 h 362"/>
              <a:gd name="T20" fmla="*/ 2147483647 w 708"/>
              <a:gd name="T21" fmla="*/ 2147483647 h 362"/>
              <a:gd name="T22" fmla="*/ 2147483647 w 708"/>
              <a:gd name="T23" fmla="*/ 2147483647 h 362"/>
              <a:gd name="T24" fmla="*/ 2147483647 w 708"/>
              <a:gd name="T25" fmla="*/ 2147483647 h 362"/>
              <a:gd name="T26" fmla="*/ 2147483647 w 708"/>
              <a:gd name="T27" fmla="*/ 2147483647 h 362"/>
              <a:gd name="T28" fmla="*/ 2147483647 w 708"/>
              <a:gd name="T29" fmla="*/ 2147483647 h 362"/>
              <a:gd name="T30" fmla="*/ 2147483647 w 708"/>
              <a:gd name="T31" fmla="*/ 2147483647 h 362"/>
              <a:gd name="T32" fmla="*/ 2147483647 w 708"/>
              <a:gd name="T33" fmla="*/ 2147483647 h 362"/>
              <a:gd name="T34" fmla="*/ 2147483647 w 708"/>
              <a:gd name="T35" fmla="*/ 2147483647 h 362"/>
              <a:gd name="T36" fmla="*/ 2147483647 w 708"/>
              <a:gd name="T37" fmla="*/ 2147483647 h 362"/>
              <a:gd name="T38" fmla="*/ 2147483647 w 708"/>
              <a:gd name="T39" fmla="*/ 2147483647 h 362"/>
              <a:gd name="T40" fmla="*/ 2147483647 w 708"/>
              <a:gd name="T41" fmla="*/ 2147483647 h 362"/>
              <a:gd name="T42" fmla="*/ 2147483647 w 708"/>
              <a:gd name="T43" fmla="*/ 2147483647 h 362"/>
              <a:gd name="T44" fmla="*/ 2147483647 w 708"/>
              <a:gd name="T45" fmla="*/ 2147483647 h 362"/>
              <a:gd name="T46" fmla="*/ 2147483647 w 708"/>
              <a:gd name="T47" fmla="*/ 2147483647 h 362"/>
              <a:gd name="T48" fmla="*/ 2147483647 w 708"/>
              <a:gd name="T49" fmla="*/ 2147483647 h 362"/>
              <a:gd name="T50" fmla="*/ 2147483647 w 708"/>
              <a:gd name="T51" fmla="*/ 2147483647 h 362"/>
              <a:gd name="T52" fmla="*/ 2147483647 w 708"/>
              <a:gd name="T53" fmla="*/ 2147483647 h 362"/>
              <a:gd name="T54" fmla="*/ 2147483647 w 708"/>
              <a:gd name="T55" fmla="*/ 2147483647 h 362"/>
              <a:gd name="T56" fmla="*/ 2147483647 w 708"/>
              <a:gd name="T57" fmla="*/ 2147483647 h 362"/>
              <a:gd name="T58" fmla="*/ 2147483647 w 708"/>
              <a:gd name="T59" fmla="*/ 2147483647 h 362"/>
              <a:gd name="T60" fmla="*/ 2147483647 w 708"/>
              <a:gd name="T61" fmla="*/ 2147483647 h 362"/>
              <a:gd name="T62" fmla="*/ 2147483647 w 708"/>
              <a:gd name="T63" fmla="*/ 0 h 36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08"/>
              <a:gd name="T97" fmla="*/ 0 h 362"/>
              <a:gd name="T98" fmla="*/ 708 w 708"/>
              <a:gd name="T99" fmla="*/ 362 h 36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08" h="362">
                <a:moveTo>
                  <a:pt x="22" y="0"/>
                </a:moveTo>
                <a:lnTo>
                  <a:pt x="464" y="29"/>
                </a:lnTo>
                <a:lnTo>
                  <a:pt x="473" y="38"/>
                </a:lnTo>
                <a:lnTo>
                  <a:pt x="486" y="49"/>
                </a:lnTo>
                <a:lnTo>
                  <a:pt x="497" y="56"/>
                </a:lnTo>
                <a:lnTo>
                  <a:pt x="505" y="56"/>
                </a:lnTo>
                <a:lnTo>
                  <a:pt x="513" y="52"/>
                </a:lnTo>
                <a:lnTo>
                  <a:pt x="514" y="49"/>
                </a:lnTo>
                <a:lnTo>
                  <a:pt x="522" y="44"/>
                </a:lnTo>
                <a:lnTo>
                  <a:pt x="535" y="44"/>
                </a:lnTo>
                <a:lnTo>
                  <a:pt x="549" y="43"/>
                </a:lnTo>
                <a:lnTo>
                  <a:pt x="562" y="48"/>
                </a:lnTo>
                <a:lnTo>
                  <a:pt x="573" y="52"/>
                </a:lnTo>
                <a:lnTo>
                  <a:pt x="584" y="60"/>
                </a:lnTo>
                <a:lnTo>
                  <a:pt x="594" y="63"/>
                </a:lnTo>
                <a:lnTo>
                  <a:pt x="602" y="67"/>
                </a:lnTo>
                <a:lnTo>
                  <a:pt x="610" y="75"/>
                </a:lnTo>
                <a:lnTo>
                  <a:pt x="610" y="81"/>
                </a:lnTo>
                <a:lnTo>
                  <a:pt x="618" y="84"/>
                </a:lnTo>
                <a:lnTo>
                  <a:pt x="624" y="87"/>
                </a:lnTo>
                <a:lnTo>
                  <a:pt x="630" y="97"/>
                </a:lnTo>
                <a:lnTo>
                  <a:pt x="630" y="105"/>
                </a:lnTo>
                <a:lnTo>
                  <a:pt x="637" y="110"/>
                </a:lnTo>
                <a:lnTo>
                  <a:pt x="635" y="121"/>
                </a:lnTo>
                <a:lnTo>
                  <a:pt x="640" y="130"/>
                </a:lnTo>
                <a:lnTo>
                  <a:pt x="642" y="138"/>
                </a:lnTo>
                <a:lnTo>
                  <a:pt x="646" y="143"/>
                </a:lnTo>
                <a:lnTo>
                  <a:pt x="648" y="148"/>
                </a:lnTo>
                <a:lnTo>
                  <a:pt x="649" y="156"/>
                </a:lnTo>
                <a:lnTo>
                  <a:pt x="654" y="160"/>
                </a:lnTo>
                <a:lnTo>
                  <a:pt x="653" y="168"/>
                </a:lnTo>
                <a:lnTo>
                  <a:pt x="653" y="184"/>
                </a:lnTo>
                <a:lnTo>
                  <a:pt x="654" y="191"/>
                </a:lnTo>
                <a:lnTo>
                  <a:pt x="656" y="195"/>
                </a:lnTo>
                <a:lnTo>
                  <a:pt x="661" y="199"/>
                </a:lnTo>
                <a:lnTo>
                  <a:pt x="665" y="203"/>
                </a:lnTo>
                <a:lnTo>
                  <a:pt x="664" y="214"/>
                </a:lnTo>
                <a:lnTo>
                  <a:pt x="665" y="229"/>
                </a:lnTo>
                <a:lnTo>
                  <a:pt x="664" y="233"/>
                </a:lnTo>
                <a:lnTo>
                  <a:pt x="665" y="243"/>
                </a:lnTo>
                <a:lnTo>
                  <a:pt x="669" y="246"/>
                </a:lnTo>
                <a:lnTo>
                  <a:pt x="672" y="256"/>
                </a:lnTo>
                <a:lnTo>
                  <a:pt x="673" y="265"/>
                </a:lnTo>
                <a:lnTo>
                  <a:pt x="672" y="272"/>
                </a:lnTo>
                <a:lnTo>
                  <a:pt x="670" y="280"/>
                </a:lnTo>
                <a:lnTo>
                  <a:pt x="670" y="286"/>
                </a:lnTo>
                <a:lnTo>
                  <a:pt x="676" y="292"/>
                </a:lnTo>
                <a:lnTo>
                  <a:pt x="680" y="299"/>
                </a:lnTo>
                <a:lnTo>
                  <a:pt x="678" y="303"/>
                </a:lnTo>
                <a:lnTo>
                  <a:pt x="681" y="308"/>
                </a:lnTo>
                <a:lnTo>
                  <a:pt x="684" y="316"/>
                </a:lnTo>
                <a:lnTo>
                  <a:pt x="684" y="324"/>
                </a:lnTo>
                <a:lnTo>
                  <a:pt x="686" y="329"/>
                </a:lnTo>
                <a:lnTo>
                  <a:pt x="689" y="332"/>
                </a:lnTo>
                <a:lnTo>
                  <a:pt x="696" y="338"/>
                </a:lnTo>
                <a:lnTo>
                  <a:pt x="700" y="345"/>
                </a:lnTo>
                <a:lnTo>
                  <a:pt x="703" y="348"/>
                </a:lnTo>
                <a:lnTo>
                  <a:pt x="707" y="354"/>
                </a:lnTo>
                <a:lnTo>
                  <a:pt x="708" y="357"/>
                </a:lnTo>
                <a:lnTo>
                  <a:pt x="708" y="362"/>
                </a:lnTo>
                <a:lnTo>
                  <a:pt x="154" y="342"/>
                </a:lnTo>
                <a:lnTo>
                  <a:pt x="163" y="233"/>
                </a:lnTo>
                <a:lnTo>
                  <a:pt x="0" y="218"/>
                </a:lnTo>
                <a:lnTo>
                  <a:pt x="22" y="0"/>
                </a:lnTo>
                <a:close/>
              </a:path>
            </a:pathLst>
          </a:custGeom>
          <a:solidFill>
            <a:schemeClr val="bg1">
              <a:lumMod val="95000"/>
            </a:schemeClr>
          </a:solidFill>
          <a:ln w="0" algn="ctr">
            <a:solidFill>
              <a:schemeClr val="bg1">
                <a:lumMod val="50000"/>
              </a:schemeClr>
            </a:solidFill>
            <a:round/>
            <a:headEnd/>
            <a:tailEnd/>
          </a:ln>
        </p:spPr>
        <p:txBody>
          <a:bodyPr lIns="101798" tIns="50899" rIns="101798" bIns="50899"/>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endParaRPr>
          </a:p>
        </p:txBody>
      </p:sp>
      <p:sp>
        <p:nvSpPr>
          <p:cNvPr id="33" name="State: Montana"/>
          <p:cNvSpPr>
            <a:spLocks/>
          </p:cNvSpPr>
          <p:nvPr/>
        </p:nvSpPr>
        <p:spPr bwMode="auto">
          <a:xfrm>
            <a:off x="1953817" y="1975968"/>
            <a:ext cx="1306340" cy="924459"/>
          </a:xfrm>
          <a:custGeom>
            <a:avLst/>
            <a:gdLst>
              <a:gd name="T0" fmla="*/ 2147483647 w 875"/>
              <a:gd name="T1" fmla="*/ 2147483647 h 601"/>
              <a:gd name="T2" fmla="*/ 2147483647 w 875"/>
              <a:gd name="T3" fmla="*/ 2147483647 h 601"/>
              <a:gd name="T4" fmla="*/ 2147483647 w 875"/>
              <a:gd name="T5" fmla="*/ 2147483647 h 601"/>
              <a:gd name="T6" fmla="*/ 2147483647 w 875"/>
              <a:gd name="T7" fmla="*/ 2147483647 h 601"/>
              <a:gd name="T8" fmla="*/ 2147483647 w 875"/>
              <a:gd name="T9" fmla="*/ 2147483647 h 601"/>
              <a:gd name="T10" fmla="*/ 2147483647 w 875"/>
              <a:gd name="T11" fmla="*/ 2147483647 h 601"/>
              <a:gd name="T12" fmla="*/ 2147483647 w 875"/>
              <a:gd name="T13" fmla="*/ 2147483647 h 601"/>
              <a:gd name="T14" fmla="*/ 2147483647 w 875"/>
              <a:gd name="T15" fmla="*/ 2147483647 h 601"/>
              <a:gd name="T16" fmla="*/ 2147483647 w 875"/>
              <a:gd name="T17" fmla="*/ 2147483647 h 601"/>
              <a:gd name="T18" fmla="*/ 2147483647 w 875"/>
              <a:gd name="T19" fmla="*/ 2147483647 h 601"/>
              <a:gd name="T20" fmla="*/ 2147483647 w 875"/>
              <a:gd name="T21" fmla="*/ 2147483647 h 601"/>
              <a:gd name="T22" fmla="*/ 2147483647 w 875"/>
              <a:gd name="T23" fmla="*/ 2147483647 h 601"/>
              <a:gd name="T24" fmla="*/ 2147483647 w 875"/>
              <a:gd name="T25" fmla="*/ 2147483647 h 601"/>
              <a:gd name="T26" fmla="*/ 2147483647 w 875"/>
              <a:gd name="T27" fmla="*/ 2147483647 h 601"/>
              <a:gd name="T28" fmla="*/ 2147483647 w 875"/>
              <a:gd name="T29" fmla="*/ 2147483647 h 601"/>
              <a:gd name="T30" fmla="*/ 2147483647 w 875"/>
              <a:gd name="T31" fmla="*/ 2147483647 h 601"/>
              <a:gd name="T32" fmla="*/ 2147483647 w 875"/>
              <a:gd name="T33" fmla="*/ 2147483647 h 601"/>
              <a:gd name="T34" fmla="*/ 2147483647 w 875"/>
              <a:gd name="T35" fmla="*/ 2147483647 h 601"/>
              <a:gd name="T36" fmla="*/ 2147483647 w 875"/>
              <a:gd name="T37" fmla="*/ 2147483647 h 601"/>
              <a:gd name="T38" fmla="*/ 2147483647 w 875"/>
              <a:gd name="T39" fmla="*/ 2147483647 h 601"/>
              <a:gd name="T40" fmla="*/ 2147483647 w 875"/>
              <a:gd name="T41" fmla="*/ 2147483647 h 601"/>
              <a:gd name="T42" fmla="*/ 2147483647 w 875"/>
              <a:gd name="T43" fmla="*/ 2147483647 h 601"/>
              <a:gd name="T44" fmla="*/ 2147483647 w 875"/>
              <a:gd name="T45" fmla="*/ 2147483647 h 601"/>
              <a:gd name="T46" fmla="*/ 2147483647 w 875"/>
              <a:gd name="T47" fmla="*/ 2147483647 h 601"/>
              <a:gd name="T48" fmla="*/ 2147483647 w 875"/>
              <a:gd name="T49" fmla="*/ 2147483647 h 601"/>
              <a:gd name="T50" fmla="*/ 2147483647 w 875"/>
              <a:gd name="T51" fmla="*/ 2147483647 h 601"/>
              <a:gd name="T52" fmla="*/ 2147483647 w 875"/>
              <a:gd name="T53" fmla="*/ 2147483647 h 601"/>
              <a:gd name="T54" fmla="*/ 2147483647 w 875"/>
              <a:gd name="T55" fmla="*/ 2147483647 h 601"/>
              <a:gd name="T56" fmla="*/ 2147483647 w 875"/>
              <a:gd name="T57" fmla="*/ 2147483647 h 601"/>
              <a:gd name="T58" fmla="*/ 2147483647 w 875"/>
              <a:gd name="T59" fmla="*/ 2147483647 h 601"/>
              <a:gd name="T60" fmla="*/ 2147483647 w 875"/>
              <a:gd name="T61" fmla="*/ 2147483647 h 601"/>
              <a:gd name="T62" fmla="*/ 2147483647 w 875"/>
              <a:gd name="T63" fmla="*/ 2147483647 h 601"/>
              <a:gd name="T64" fmla="*/ 2147483647 w 875"/>
              <a:gd name="T65" fmla="*/ 2147483647 h 601"/>
              <a:gd name="T66" fmla="*/ 2147483647 w 875"/>
              <a:gd name="T67" fmla="*/ 2147483647 h 601"/>
              <a:gd name="T68" fmla="*/ 2147483647 w 875"/>
              <a:gd name="T69" fmla="*/ 2147483647 h 601"/>
              <a:gd name="T70" fmla="*/ 2147483647 w 875"/>
              <a:gd name="T71" fmla="*/ 2147483647 h 601"/>
              <a:gd name="T72" fmla="*/ 2147483647 w 875"/>
              <a:gd name="T73" fmla="*/ 2147483647 h 601"/>
              <a:gd name="T74" fmla="*/ 2147483647 w 875"/>
              <a:gd name="T75" fmla="*/ 2147483647 h 601"/>
              <a:gd name="T76" fmla="*/ 2147483647 w 875"/>
              <a:gd name="T77" fmla="*/ 2147483647 h 601"/>
              <a:gd name="T78" fmla="*/ 2147483647 w 875"/>
              <a:gd name="T79" fmla="*/ 2147483647 h 601"/>
              <a:gd name="T80" fmla="*/ 2147483647 w 875"/>
              <a:gd name="T81" fmla="*/ 2147483647 h 601"/>
              <a:gd name="T82" fmla="*/ 2147483647 w 875"/>
              <a:gd name="T83" fmla="*/ 2147483647 h 601"/>
              <a:gd name="T84" fmla="*/ 2147483647 w 875"/>
              <a:gd name="T85" fmla="*/ 2147483647 h 601"/>
              <a:gd name="T86" fmla="*/ 2147483647 w 875"/>
              <a:gd name="T87" fmla="*/ 2147483647 h 601"/>
              <a:gd name="T88" fmla="*/ 2147483647 w 875"/>
              <a:gd name="T89" fmla="*/ 2147483647 h 601"/>
              <a:gd name="T90" fmla="*/ 2147483647 w 875"/>
              <a:gd name="T91" fmla="*/ 2147483647 h 601"/>
              <a:gd name="T92" fmla="*/ 2147483647 w 875"/>
              <a:gd name="T93" fmla="*/ 2147483647 h 601"/>
              <a:gd name="T94" fmla="*/ 2147483647 w 875"/>
              <a:gd name="T95" fmla="*/ 2147483647 h 601"/>
              <a:gd name="T96" fmla="*/ 2147483647 w 875"/>
              <a:gd name="T97" fmla="*/ 2147483647 h 601"/>
              <a:gd name="T98" fmla="*/ 2147483647 w 875"/>
              <a:gd name="T99" fmla="*/ 0 h 60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75"/>
              <a:gd name="T151" fmla="*/ 0 h 601"/>
              <a:gd name="T152" fmla="*/ 875 w 875"/>
              <a:gd name="T153" fmla="*/ 601 h 60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75" h="601">
                <a:moveTo>
                  <a:pt x="27" y="2"/>
                </a:moveTo>
                <a:lnTo>
                  <a:pt x="25" y="19"/>
                </a:lnTo>
                <a:lnTo>
                  <a:pt x="21" y="37"/>
                </a:lnTo>
                <a:lnTo>
                  <a:pt x="16" y="51"/>
                </a:lnTo>
                <a:lnTo>
                  <a:pt x="9" y="62"/>
                </a:lnTo>
                <a:lnTo>
                  <a:pt x="8" y="69"/>
                </a:lnTo>
                <a:lnTo>
                  <a:pt x="9" y="77"/>
                </a:lnTo>
                <a:lnTo>
                  <a:pt x="8" y="86"/>
                </a:lnTo>
                <a:lnTo>
                  <a:pt x="5" y="94"/>
                </a:lnTo>
                <a:lnTo>
                  <a:pt x="1" y="99"/>
                </a:lnTo>
                <a:lnTo>
                  <a:pt x="0" y="113"/>
                </a:lnTo>
                <a:lnTo>
                  <a:pt x="6" y="121"/>
                </a:lnTo>
                <a:lnTo>
                  <a:pt x="9" y="129"/>
                </a:lnTo>
                <a:lnTo>
                  <a:pt x="16" y="139"/>
                </a:lnTo>
                <a:lnTo>
                  <a:pt x="19" y="148"/>
                </a:lnTo>
                <a:lnTo>
                  <a:pt x="17" y="156"/>
                </a:lnTo>
                <a:lnTo>
                  <a:pt x="14" y="159"/>
                </a:lnTo>
                <a:lnTo>
                  <a:pt x="14" y="164"/>
                </a:lnTo>
                <a:lnTo>
                  <a:pt x="14" y="167"/>
                </a:lnTo>
                <a:lnTo>
                  <a:pt x="9" y="174"/>
                </a:lnTo>
                <a:lnTo>
                  <a:pt x="9" y="177"/>
                </a:lnTo>
                <a:lnTo>
                  <a:pt x="14" y="185"/>
                </a:lnTo>
                <a:lnTo>
                  <a:pt x="19" y="191"/>
                </a:lnTo>
                <a:lnTo>
                  <a:pt x="21" y="196"/>
                </a:lnTo>
                <a:lnTo>
                  <a:pt x="25" y="201"/>
                </a:lnTo>
                <a:lnTo>
                  <a:pt x="33" y="207"/>
                </a:lnTo>
                <a:lnTo>
                  <a:pt x="36" y="216"/>
                </a:lnTo>
                <a:lnTo>
                  <a:pt x="41" y="229"/>
                </a:lnTo>
                <a:lnTo>
                  <a:pt x="46" y="237"/>
                </a:lnTo>
                <a:lnTo>
                  <a:pt x="51" y="245"/>
                </a:lnTo>
                <a:lnTo>
                  <a:pt x="52" y="253"/>
                </a:lnTo>
                <a:lnTo>
                  <a:pt x="57" y="261"/>
                </a:lnTo>
                <a:lnTo>
                  <a:pt x="60" y="267"/>
                </a:lnTo>
                <a:lnTo>
                  <a:pt x="65" y="274"/>
                </a:lnTo>
                <a:lnTo>
                  <a:pt x="68" y="280"/>
                </a:lnTo>
                <a:lnTo>
                  <a:pt x="71" y="285"/>
                </a:lnTo>
                <a:lnTo>
                  <a:pt x="78" y="285"/>
                </a:lnTo>
                <a:lnTo>
                  <a:pt x="81" y="280"/>
                </a:lnTo>
                <a:lnTo>
                  <a:pt x="87" y="283"/>
                </a:lnTo>
                <a:lnTo>
                  <a:pt x="87" y="290"/>
                </a:lnTo>
                <a:lnTo>
                  <a:pt x="84" y="297"/>
                </a:lnTo>
                <a:lnTo>
                  <a:pt x="81" y="301"/>
                </a:lnTo>
                <a:lnTo>
                  <a:pt x="81" y="305"/>
                </a:lnTo>
                <a:lnTo>
                  <a:pt x="79" y="312"/>
                </a:lnTo>
                <a:lnTo>
                  <a:pt x="76" y="317"/>
                </a:lnTo>
                <a:lnTo>
                  <a:pt x="73" y="321"/>
                </a:lnTo>
                <a:lnTo>
                  <a:pt x="71" y="328"/>
                </a:lnTo>
                <a:lnTo>
                  <a:pt x="68" y="334"/>
                </a:lnTo>
                <a:lnTo>
                  <a:pt x="63" y="336"/>
                </a:lnTo>
                <a:lnTo>
                  <a:pt x="63" y="342"/>
                </a:lnTo>
                <a:lnTo>
                  <a:pt x="65" y="348"/>
                </a:lnTo>
                <a:lnTo>
                  <a:pt x="65" y="356"/>
                </a:lnTo>
                <a:lnTo>
                  <a:pt x="65" y="364"/>
                </a:lnTo>
                <a:lnTo>
                  <a:pt x="63" y="367"/>
                </a:lnTo>
                <a:lnTo>
                  <a:pt x="57" y="372"/>
                </a:lnTo>
                <a:lnTo>
                  <a:pt x="54" y="374"/>
                </a:lnTo>
                <a:lnTo>
                  <a:pt x="52" y="380"/>
                </a:lnTo>
                <a:lnTo>
                  <a:pt x="52" y="386"/>
                </a:lnTo>
                <a:lnTo>
                  <a:pt x="49" y="391"/>
                </a:lnTo>
                <a:lnTo>
                  <a:pt x="48" y="394"/>
                </a:lnTo>
                <a:lnTo>
                  <a:pt x="49" y="399"/>
                </a:lnTo>
                <a:lnTo>
                  <a:pt x="54" y="404"/>
                </a:lnTo>
                <a:lnTo>
                  <a:pt x="59" y="410"/>
                </a:lnTo>
                <a:lnTo>
                  <a:pt x="63" y="412"/>
                </a:lnTo>
                <a:lnTo>
                  <a:pt x="67" y="409"/>
                </a:lnTo>
                <a:lnTo>
                  <a:pt x="71" y="407"/>
                </a:lnTo>
                <a:lnTo>
                  <a:pt x="76" y="407"/>
                </a:lnTo>
                <a:lnTo>
                  <a:pt x="81" y="402"/>
                </a:lnTo>
                <a:lnTo>
                  <a:pt x="86" y="399"/>
                </a:lnTo>
                <a:lnTo>
                  <a:pt x="90" y="396"/>
                </a:lnTo>
                <a:lnTo>
                  <a:pt x="97" y="401"/>
                </a:lnTo>
                <a:lnTo>
                  <a:pt x="100" y="407"/>
                </a:lnTo>
                <a:lnTo>
                  <a:pt x="102" y="413"/>
                </a:lnTo>
                <a:lnTo>
                  <a:pt x="100" y="445"/>
                </a:lnTo>
                <a:lnTo>
                  <a:pt x="105" y="452"/>
                </a:lnTo>
                <a:lnTo>
                  <a:pt x="105" y="456"/>
                </a:lnTo>
                <a:lnTo>
                  <a:pt x="106" y="461"/>
                </a:lnTo>
                <a:lnTo>
                  <a:pt x="110" y="464"/>
                </a:lnTo>
                <a:lnTo>
                  <a:pt x="113" y="469"/>
                </a:lnTo>
                <a:lnTo>
                  <a:pt x="114" y="477"/>
                </a:lnTo>
                <a:lnTo>
                  <a:pt x="113" y="483"/>
                </a:lnTo>
                <a:lnTo>
                  <a:pt x="110" y="490"/>
                </a:lnTo>
                <a:lnTo>
                  <a:pt x="110" y="493"/>
                </a:lnTo>
                <a:lnTo>
                  <a:pt x="113" y="498"/>
                </a:lnTo>
                <a:lnTo>
                  <a:pt x="116" y="504"/>
                </a:lnTo>
                <a:lnTo>
                  <a:pt x="121" y="506"/>
                </a:lnTo>
                <a:lnTo>
                  <a:pt x="127" y="507"/>
                </a:lnTo>
                <a:lnTo>
                  <a:pt x="130" y="512"/>
                </a:lnTo>
                <a:lnTo>
                  <a:pt x="135" y="518"/>
                </a:lnTo>
                <a:lnTo>
                  <a:pt x="135" y="526"/>
                </a:lnTo>
                <a:lnTo>
                  <a:pt x="133" y="531"/>
                </a:lnTo>
                <a:lnTo>
                  <a:pt x="130" y="534"/>
                </a:lnTo>
                <a:lnTo>
                  <a:pt x="133" y="539"/>
                </a:lnTo>
                <a:lnTo>
                  <a:pt x="135" y="542"/>
                </a:lnTo>
                <a:lnTo>
                  <a:pt x="137" y="550"/>
                </a:lnTo>
                <a:lnTo>
                  <a:pt x="138" y="553"/>
                </a:lnTo>
                <a:lnTo>
                  <a:pt x="141" y="556"/>
                </a:lnTo>
                <a:lnTo>
                  <a:pt x="143" y="560"/>
                </a:lnTo>
                <a:lnTo>
                  <a:pt x="146" y="560"/>
                </a:lnTo>
                <a:lnTo>
                  <a:pt x="148" y="556"/>
                </a:lnTo>
                <a:lnTo>
                  <a:pt x="149" y="552"/>
                </a:lnTo>
                <a:lnTo>
                  <a:pt x="154" y="549"/>
                </a:lnTo>
                <a:lnTo>
                  <a:pt x="159" y="547"/>
                </a:lnTo>
                <a:lnTo>
                  <a:pt x="164" y="549"/>
                </a:lnTo>
                <a:lnTo>
                  <a:pt x="168" y="552"/>
                </a:lnTo>
                <a:lnTo>
                  <a:pt x="171" y="556"/>
                </a:lnTo>
                <a:lnTo>
                  <a:pt x="176" y="560"/>
                </a:lnTo>
                <a:lnTo>
                  <a:pt x="184" y="555"/>
                </a:lnTo>
                <a:lnTo>
                  <a:pt x="191" y="550"/>
                </a:lnTo>
                <a:lnTo>
                  <a:pt x="192" y="547"/>
                </a:lnTo>
                <a:lnTo>
                  <a:pt x="195" y="545"/>
                </a:lnTo>
                <a:lnTo>
                  <a:pt x="200" y="552"/>
                </a:lnTo>
                <a:lnTo>
                  <a:pt x="203" y="553"/>
                </a:lnTo>
                <a:lnTo>
                  <a:pt x="208" y="555"/>
                </a:lnTo>
                <a:lnTo>
                  <a:pt x="214" y="553"/>
                </a:lnTo>
                <a:lnTo>
                  <a:pt x="219" y="552"/>
                </a:lnTo>
                <a:lnTo>
                  <a:pt x="222" y="553"/>
                </a:lnTo>
                <a:lnTo>
                  <a:pt x="224" y="558"/>
                </a:lnTo>
                <a:lnTo>
                  <a:pt x="230" y="556"/>
                </a:lnTo>
                <a:lnTo>
                  <a:pt x="237" y="558"/>
                </a:lnTo>
                <a:lnTo>
                  <a:pt x="241" y="558"/>
                </a:lnTo>
                <a:lnTo>
                  <a:pt x="246" y="558"/>
                </a:lnTo>
                <a:lnTo>
                  <a:pt x="246" y="561"/>
                </a:lnTo>
                <a:lnTo>
                  <a:pt x="249" y="561"/>
                </a:lnTo>
                <a:lnTo>
                  <a:pt x="253" y="556"/>
                </a:lnTo>
                <a:lnTo>
                  <a:pt x="256" y="552"/>
                </a:lnTo>
                <a:lnTo>
                  <a:pt x="259" y="544"/>
                </a:lnTo>
                <a:lnTo>
                  <a:pt x="262" y="541"/>
                </a:lnTo>
                <a:lnTo>
                  <a:pt x="265" y="542"/>
                </a:lnTo>
                <a:lnTo>
                  <a:pt x="268" y="547"/>
                </a:lnTo>
                <a:lnTo>
                  <a:pt x="270" y="550"/>
                </a:lnTo>
                <a:lnTo>
                  <a:pt x="272" y="556"/>
                </a:lnTo>
                <a:lnTo>
                  <a:pt x="272" y="561"/>
                </a:lnTo>
                <a:lnTo>
                  <a:pt x="273" y="564"/>
                </a:lnTo>
                <a:lnTo>
                  <a:pt x="278" y="566"/>
                </a:lnTo>
                <a:lnTo>
                  <a:pt x="283" y="566"/>
                </a:lnTo>
                <a:lnTo>
                  <a:pt x="294" y="520"/>
                </a:lnTo>
                <a:lnTo>
                  <a:pt x="828" y="601"/>
                </a:lnTo>
                <a:lnTo>
                  <a:pt x="875" y="162"/>
                </a:lnTo>
                <a:lnTo>
                  <a:pt x="723" y="140"/>
                </a:lnTo>
                <a:lnTo>
                  <a:pt x="653" y="131"/>
                </a:lnTo>
                <a:lnTo>
                  <a:pt x="566" y="118"/>
                </a:lnTo>
                <a:lnTo>
                  <a:pt x="464" y="100"/>
                </a:lnTo>
                <a:lnTo>
                  <a:pt x="397" y="86"/>
                </a:lnTo>
                <a:lnTo>
                  <a:pt x="321" y="70"/>
                </a:lnTo>
                <a:lnTo>
                  <a:pt x="248" y="54"/>
                </a:lnTo>
                <a:lnTo>
                  <a:pt x="173" y="39"/>
                </a:lnTo>
                <a:lnTo>
                  <a:pt x="116" y="23"/>
                </a:lnTo>
                <a:lnTo>
                  <a:pt x="57" y="7"/>
                </a:lnTo>
                <a:lnTo>
                  <a:pt x="27" y="0"/>
                </a:lnTo>
                <a:lnTo>
                  <a:pt x="27" y="2"/>
                </a:lnTo>
                <a:close/>
              </a:path>
            </a:pathLst>
          </a:custGeom>
          <a:solidFill>
            <a:schemeClr val="bg1">
              <a:lumMod val="95000"/>
            </a:schemeClr>
          </a:solidFill>
          <a:ln w="0" algn="ctr">
            <a:solidFill>
              <a:srgbClr val="808080"/>
            </a:solidFill>
            <a:round/>
            <a:headEnd/>
            <a:tailEnd/>
          </a:ln>
        </p:spPr>
        <p:txBody>
          <a:bodyPr lIns="101798" tIns="50899" rIns="101798" bIns="50899"/>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endParaRPr>
          </a:p>
        </p:txBody>
      </p:sp>
      <p:sp>
        <p:nvSpPr>
          <p:cNvPr id="34" name="State: Missouri"/>
          <p:cNvSpPr>
            <a:spLocks/>
          </p:cNvSpPr>
          <p:nvPr/>
        </p:nvSpPr>
        <p:spPr bwMode="auto">
          <a:xfrm>
            <a:off x="4139517" y="3701835"/>
            <a:ext cx="861439" cy="784483"/>
          </a:xfrm>
          <a:custGeom>
            <a:avLst/>
            <a:gdLst>
              <a:gd name="T0" fmla="*/ 2147483647 w 577"/>
              <a:gd name="T1" fmla="*/ 2147483647 h 510"/>
              <a:gd name="T2" fmla="*/ 2147483647 w 577"/>
              <a:gd name="T3" fmla="*/ 2147483647 h 510"/>
              <a:gd name="T4" fmla="*/ 2147483647 w 577"/>
              <a:gd name="T5" fmla="*/ 2147483647 h 510"/>
              <a:gd name="T6" fmla="*/ 2147483647 w 577"/>
              <a:gd name="T7" fmla="*/ 2147483647 h 510"/>
              <a:gd name="T8" fmla="*/ 2147483647 w 577"/>
              <a:gd name="T9" fmla="*/ 2147483647 h 510"/>
              <a:gd name="T10" fmla="*/ 2147483647 w 577"/>
              <a:gd name="T11" fmla="*/ 2147483647 h 510"/>
              <a:gd name="T12" fmla="*/ 2147483647 w 577"/>
              <a:gd name="T13" fmla="*/ 2147483647 h 510"/>
              <a:gd name="T14" fmla="*/ 2147483647 w 577"/>
              <a:gd name="T15" fmla="*/ 2147483647 h 510"/>
              <a:gd name="T16" fmla="*/ 2147483647 w 577"/>
              <a:gd name="T17" fmla="*/ 2147483647 h 510"/>
              <a:gd name="T18" fmla="*/ 2147483647 w 577"/>
              <a:gd name="T19" fmla="*/ 2147483647 h 510"/>
              <a:gd name="T20" fmla="*/ 2147483647 w 577"/>
              <a:gd name="T21" fmla="*/ 2147483647 h 510"/>
              <a:gd name="T22" fmla="*/ 2147483647 w 577"/>
              <a:gd name="T23" fmla="*/ 2147483647 h 510"/>
              <a:gd name="T24" fmla="*/ 2147483647 w 577"/>
              <a:gd name="T25" fmla="*/ 2147483647 h 510"/>
              <a:gd name="T26" fmla="*/ 2147483647 w 577"/>
              <a:gd name="T27" fmla="*/ 2147483647 h 510"/>
              <a:gd name="T28" fmla="*/ 2147483647 w 577"/>
              <a:gd name="T29" fmla="*/ 2147483647 h 510"/>
              <a:gd name="T30" fmla="*/ 2147483647 w 577"/>
              <a:gd name="T31" fmla="*/ 2147483647 h 510"/>
              <a:gd name="T32" fmla="*/ 2147483647 w 577"/>
              <a:gd name="T33" fmla="*/ 2147483647 h 510"/>
              <a:gd name="T34" fmla="*/ 2147483647 w 577"/>
              <a:gd name="T35" fmla="*/ 2147483647 h 510"/>
              <a:gd name="T36" fmla="*/ 2147483647 w 577"/>
              <a:gd name="T37" fmla="*/ 2147483647 h 510"/>
              <a:gd name="T38" fmla="*/ 2147483647 w 577"/>
              <a:gd name="T39" fmla="*/ 2147483647 h 510"/>
              <a:gd name="T40" fmla="*/ 2147483647 w 577"/>
              <a:gd name="T41" fmla="*/ 2147483647 h 510"/>
              <a:gd name="T42" fmla="*/ 2147483647 w 577"/>
              <a:gd name="T43" fmla="*/ 2147483647 h 510"/>
              <a:gd name="T44" fmla="*/ 2147483647 w 577"/>
              <a:gd name="T45" fmla="*/ 2147483647 h 510"/>
              <a:gd name="T46" fmla="*/ 2147483647 w 577"/>
              <a:gd name="T47" fmla="*/ 2147483647 h 510"/>
              <a:gd name="T48" fmla="*/ 2147483647 w 577"/>
              <a:gd name="T49" fmla="*/ 2147483647 h 510"/>
              <a:gd name="T50" fmla="*/ 2147483647 w 577"/>
              <a:gd name="T51" fmla="*/ 2147483647 h 510"/>
              <a:gd name="T52" fmla="*/ 2147483647 w 577"/>
              <a:gd name="T53" fmla="*/ 2147483647 h 510"/>
              <a:gd name="T54" fmla="*/ 2147483647 w 577"/>
              <a:gd name="T55" fmla="*/ 2147483647 h 510"/>
              <a:gd name="T56" fmla="*/ 2147483647 w 577"/>
              <a:gd name="T57" fmla="*/ 2147483647 h 510"/>
              <a:gd name="T58" fmla="*/ 2147483647 w 577"/>
              <a:gd name="T59" fmla="*/ 2147483647 h 510"/>
              <a:gd name="T60" fmla="*/ 2147483647 w 577"/>
              <a:gd name="T61" fmla="*/ 2147483647 h 510"/>
              <a:gd name="T62" fmla="*/ 2147483647 w 577"/>
              <a:gd name="T63" fmla="*/ 2147483647 h 510"/>
              <a:gd name="T64" fmla="*/ 2147483647 w 577"/>
              <a:gd name="T65" fmla="*/ 2147483647 h 510"/>
              <a:gd name="T66" fmla="*/ 2147483647 w 577"/>
              <a:gd name="T67" fmla="*/ 2147483647 h 510"/>
              <a:gd name="T68" fmla="*/ 2147483647 w 577"/>
              <a:gd name="T69" fmla="*/ 2147483647 h 510"/>
              <a:gd name="T70" fmla="*/ 2147483647 w 577"/>
              <a:gd name="T71" fmla="*/ 2147483647 h 510"/>
              <a:gd name="T72" fmla="*/ 2147483647 w 577"/>
              <a:gd name="T73" fmla="*/ 2147483647 h 510"/>
              <a:gd name="T74" fmla="*/ 2147483647 w 577"/>
              <a:gd name="T75" fmla="*/ 2147483647 h 510"/>
              <a:gd name="T76" fmla="*/ 2147483647 w 577"/>
              <a:gd name="T77" fmla="*/ 2147483647 h 510"/>
              <a:gd name="T78" fmla="*/ 2147483647 w 577"/>
              <a:gd name="T79" fmla="*/ 2147483647 h 510"/>
              <a:gd name="T80" fmla="*/ 2147483647 w 577"/>
              <a:gd name="T81" fmla="*/ 2147483647 h 510"/>
              <a:gd name="T82" fmla="*/ 2147483647 w 577"/>
              <a:gd name="T83" fmla="*/ 2147483647 h 510"/>
              <a:gd name="T84" fmla="*/ 2147483647 w 577"/>
              <a:gd name="T85" fmla="*/ 2147483647 h 510"/>
              <a:gd name="T86" fmla="*/ 2147483647 w 577"/>
              <a:gd name="T87" fmla="*/ 2147483647 h 510"/>
              <a:gd name="T88" fmla="*/ 2147483647 w 577"/>
              <a:gd name="T89" fmla="*/ 2147483647 h 510"/>
              <a:gd name="T90" fmla="*/ 2147483647 w 577"/>
              <a:gd name="T91" fmla="*/ 2147483647 h 510"/>
              <a:gd name="T92" fmla="*/ 2147483647 w 577"/>
              <a:gd name="T93" fmla="*/ 2147483647 h 510"/>
              <a:gd name="T94" fmla="*/ 2147483647 w 577"/>
              <a:gd name="T95" fmla="*/ 2147483647 h 510"/>
              <a:gd name="T96" fmla="*/ 2147483647 w 577"/>
              <a:gd name="T97" fmla="*/ 2147483647 h 510"/>
              <a:gd name="T98" fmla="*/ 2147483647 w 577"/>
              <a:gd name="T99" fmla="*/ 2147483647 h 510"/>
              <a:gd name="T100" fmla="*/ 2147483647 w 577"/>
              <a:gd name="T101" fmla="*/ 2147483647 h 510"/>
              <a:gd name="T102" fmla="*/ 2147483647 w 577"/>
              <a:gd name="T103" fmla="*/ 2147483647 h 510"/>
              <a:gd name="T104" fmla="*/ 2147483647 w 577"/>
              <a:gd name="T105" fmla="*/ 2147483647 h 51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7"/>
              <a:gd name="T160" fmla="*/ 0 h 510"/>
              <a:gd name="T161" fmla="*/ 577 w 577"/>
              <a:gd name="T162" fmla="*/ 510 h 51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7" h="510">
                <a:moveTo>
                  <a:pt x="0" y="6"/>
                </a:moveTo>
                <a:lnTo>
                  <a:pt x="334" y="0"/>
                </a:lnTo>
                <a:lnTo>
                  <a:pt x="337" y="5"/>
                </a:lnTo>
                <a:lnTo>
                  <a:pt x="340" y="9"/>
                </a:lnTo>
                <a:lnTo>
                  <a:pt x="342" y="11"/>
                </a:lnTo>
                <a:lnTo>
                  <a:pt x="345" y="14"/>
                </a:lnTo>
                <a:lnTo>
                  <a:pt x="350" y="19"/>
                </a:lnTo>
                <a:lnTo>
                  <a:pt x="353" y="21"/>
                </a:lnTo>
                <a:lnTo>
                  <a:pt x="354" y="27"/>
                </a:lnTo>
                <a:lnTo>
                  <a:pt x="358" y="25"/>
                </a:lnTo>
                <a:lnTo>
                  <a:pt x="356" y="32"/>
                </a:lnTo>
                <a:lnTo>
                  <a:pt x="353" y="36"/>
                </a:lnTo>
                <a:lnTo>
                  <a:pt x="354" y="44"/>
                </a:lnTo>
                <a:lnTo>
                  <a:pt x="354" y="51"/>
                </a:lnTo>
                <a:lnTo>
                  <a:pt x="353" y="55"/>
                </a:lnTo>
                <a:lnTo>
                  <a:pt x="356" y="60"/>
                </a:lnTo>
                <a:lnTo>
                  <a:pt x="358" y="67"/>
                </a:lnTo>
                <a:lnTo>
                  <a:pt x="359" y="75"/>
                </a:lnTo>
                <a:lnTo>
                  <a:pt x="362" y="81"/>
                </a:lnTo>
                <a:lnTo>
                  <a:pt x="364" y="87"/>
                </a:lnTo>
                <a:lnTo>
                  <a:pt x="367" y="94"/>
                </a:lnTo>
                <a:lnTo>
                  <a:pt x="367" y="97"/>
                </a:lnTo>
                <a:lnTo>
                  <a:pt x="377" y="108"/>
                </a:lnTo>
                <a:lnTo>
                  <a:pt x="383" y="113"/>
                </a:lnTo>
                <a:lnTo>
                  <a:pt x="389" y="117"/>
                </a:lnTo>
                <a:lnTo>
                  <a:pt x="394" y="122"/>
                </a:lnTo>
                <a:lnTo>
                  <a:pt x="399" y="129"/>
                </a:lnTo>
                <a:lnTo>
                  <a:pt x="408" y="135"/>
                </a:lnTo>
                <a:lnTo>
                  <a:pt x="413" y="140"/>
                </a:lnTo>
                <a:lnTo>
                  <a:pt x="421" y="146"/>
                </a:lnTo>
                <a:lnTo>
                  <a:pt x="423" y="154"/>
                </a:lnTo>
                <a:lnTo>
                  <a:pt x="424" y="160"/>
                </a:lnTo>
                <a:lnTo>
                  <a:pt x="424" y="167"/>
                </a:lnTo>
                <a:lnTo>
                  <a:pt x="426" y="173"/>
                </a:lnTo>
                <a:lnTo>
                  <a:pt x="427" y="178"/>
                </a:lnTo>
                <a:lnTo>
                  <a:pt x="432" y="183"/>
                </a:lnTo>
                <a:lnTo>
                  <a:pt x="437" y="186"/>
                </a:lnTo>
                <a:lnTo>
                  <a:pt x="443" y="183"/>
                </a:lnTo>
                <a:lnTo>
                  <a:pt x="450" y="178"/>
                </a:lnTo>
                <a:lnTo>
                  <a:pt x="456" y="175"/>
                </a:lnTo>
                <a:lnTo>
                  <a:pt x="462" y="178"/>
                </a:lnTo>
                <a:lnTo>
                  <a:pt x="467" y="181"/>
                </a:lnTo>
                <a:lnTo>
                  <a:pt x="472" y="184"/>
                </a:lnTo>
                <a:lnTo>
                  <a:pt x="477" y="190"/>
                </a:lnTo>
                <a:lnTo>
                  <a:pt x="475" y="197"/>
                </a:lnTo>
                <a:lnTo>
                  <a:pt x="472" y="203"/>
                </a:lnTo>
                <a:lnTo>
                  <a:pt x="470" y="211"/>
                </a:lnTo>
                <a:lnTo>
                  <a:pt x="469" y="218"/>
                </a:lnTo>
                <a:lnTo>
                  <a:pt x="466" y="224"/>
                </a:lnTo>
                <a:lnTo>
                  <a:pt x="462" y="229"/>
                </a:lnTo>
                <a:lnTo>
                  <a:pt x="459" y="237"/>
                </a:lnTo>
                <a:lnTo>
                  <a:pt x="458" y="241"/>
                </a:lnTo>
                <a:lnTo>
                  <a:pt x="458" y="248"/>
                </a:lnTo>
                <a:lnTo>
                  <a:pt x="458" y="252"/>
                </a:lnTo>
                <a:lnTo>
                  <a:pt x="459" y="257"/>
                </a:lnTo>
                <a:lnTo>
                  <a:pt x="462" y="260"/>
                </a:lnTo>
                <a:lnTo>
                  <a:pt x="470" y="267"/>
                </a:lnTo>
                <a:lnTo>
                  <a:pt x="477" y="276"/>
                </a:lnTo>
                <a:lnTo>
                  <a:pt x="489" y="283"/>
                </a:lnTo>
                <a:lnTo>
                  <a:pt x="497" y="287"/>
                </a:lnTo>
                <a:lnTo>
                  <a:pt x="505" y="292"/>
                </a:lnTo>
                <a:lnTo>
                  <a:pt x="513" y="299"/>
                </a:lnTo>
                <a:lnTo>
                  <a:pt x="523" y="305"/>
                </a:lnTo>
                <a:lnTo>
                  <a:pt x="531" y="311"/>
                </a:lnTo>
                <a:lnTo>
                  <a:pt x="536" y="318"/>
                </a:lnTo>
                <a:lnTo>
                  <a:pt x="536" y="326"/>
                </a:lnTo>
                <a:lnTo>
                  <a:pt x="536" y="330"/>
                </a:lnTo>
                <a:lnTo>
                  <a:pt x="539" y="335"/>
                </a:lnTo>
                <a:lnTo>
                  <a:pt x="542" y="338"/>
                </a:lnTo>
                <a:lnTo>
                  <a:pt x="545" y="343"/>
                </a:lnTo>
                <a:lnTo>
                  <a:pt x="543" y="348"/>
                </a:lnTo>
                <a:lnTo>
                  <a:pt x="540" y="353"/>
                </a:lnTo>
                <a:lnTo>
                  <a:pt x="537" y="359"/>
                </a:lnTo>
                <a:lnTo>
                  <a:pt x="540" y="364"/>
                </a:lnTo>
                <a:lnTo>
                  <a:pt x="543" y="368"/>
                </a:lnTo>
                <a:lnTo>
                  <a:pt x="548" y="375"/>
                </a:lnTo>
                <a:lnTo>
                  <a:pt x="551" y="381"/>
                </a:lnTo>
                <a:lnTo>
                  <a:pt x="559" y="384"/>
                </a:lnTo>
                <a:lnTo>
                  <a:pt x="569" y="386"/>
                </a:lnTo>
                <a:lnTo>
                  <a:pt x="574" y="392"/>
                </a:lnTo>
                <a:lnTo>
                  <a:pt x="577" y="400"/>
                </a:lnTo>
                <a:lnTo>
                  <a:pt x="575" y="410"/>
                </a:lnTo>
                <a:lnTo>
                  <a:pt x="574" y="416"/>
                </a:lnTo>
                <a:lnTo>
                  <a:pt x="570" y="422"/>
                </a:lnTo>
                <a:lnTo>
                  <a:pt x="567" y="429"/>
                </a:lnTo>
                <a:lnTo>
                  <a:pt x="558" y="435"/>
                </a:lnTo>
                <a:lnTo>
                  <a:pt x="551" y="437"/>
                </a:lnTo>
                <a:lnTo>
                  <a:pt x="550" y="443"/>
                </a:lnTo>
                <a:lnTo>
                  <a:pt x="545" y="451"/>
                </a:lnTo>
                <a:lnTo>
                  <a:pt x="543" y="457"/>
                </a:lnTo>
                <a:lnTo>
                  <a:pt x="540" y="462"/>
                </a:lnTo>
                <a:lnTo>
                  <a:pt x="539" y="476"/>
                </a:lnTo>
                <a:lnTo>
                  <a:pt x="537" y="486"/>
                </a:lnTo>
                <a:lnTo>
                  <a:pt x="534" y="492"/>
                </a:lnTo>
                <a:lnTo>
                  <a:pt x="531" y="499"/>
                </a:lnTo>
                <a:lnTo>
                  <a:pt x="531" y="503"/>
                </a:lnTo>
                <a:lnTo>
                  <a:pt x="531" y="510"/>
                </a:lnTo>
                <a:lnTo>
                  <a:pt x="524" y="502"/>
                </a:lnTo>
                <a:lnTo>
                  <a:pt x="521" y="502"/>
                </a:lnTo>
                <a:lnTo>
                  <a:pt x="512" y="502"/>
                </a:lnTo>
                <a:lnTo>
                  <a:pt x="469" y="502"/>
                </a:lnTo>
                <a:lnTo>
                  <a:pt x="475" y="494"/>
                </a:lnTo>
                <a:lnTo>
                  <a:pt x="483" y="484"/>
                </a:lnTo>
                <a:lnTo>
                  <a:pt x="489" y="481"/>
                </a:lnTo>
                <a:lnTo>
                  <a:pt x="496" y="469"/>
                </a:lnTo>
                <a:lnTo>
                  <a:pt x="497" y="462"/>
                </a:lnTo>
                <a:lnTo>
                  <a:pt x="494" y="457"/>
                </a:lnTo>
                <a:lnTo>
                  <a:pt x="489" y="453"/>
                </a:lnTo>
                <a:lnTo>
                  <a:pt x="488" y="449"/>
                </a:lnTo>
                <a:lnTo>
                  <a:pt x="486" y="446"/>
                </a:lnTo>
                <a:lnTo>
                  <a:pt x="94" y="459"/>
                </a:lnTo>
                <a:lnTo>
                  <a:pt x="99" y="170"/>
                </a:lnTo>
                <a:lnTo>
                  <a:pt x="94" y="168"/>
                </a:lnTo>
                <a:lnTo>
                  <a:pt x="87" y="167"/>
                </a:lnTo>
                <a:lnTo>
                  <a:pt x="80" y="162"/>
                </a:lnTo>
                <a:lnTo>
                  <a:pt x="75" y="159"/>
                </a:lnTo>
                <a:lnTo>
                  <a:pt x="73" y="154"/>
                </a:lnTo>
                <a:lnTo>
                  <a:pt x="75" y="149"/>
                </a:lnTo>
                <a:lnTo>
                  <a:pt x="72" y="148"/>
                </a:lnTo>
                <a:lnTo>
                  <a:pt x="70" y="141"/>
                </a:lnTo>
                <a:lnTo>
                  <a:pt x="68" y="138"/>
                </a:lnTo>
                <a:lnTo>
                  <a:pt x="62" y="135"/>
                </a:lnTo>
                <a:lnTo>
                  <a:pt x="60" y="130"/>
                </a:lnTo>
                <a:lnTo>
                  <a:pt x="57" y="127"/>
                </a:lnTo>
                <a:lnTo>
                  <a:pt x="51" y="125"/>
                </a:lnTo>
                <a:lnTo>
                  <a:pt x="51" y="121"/>
                </a:lnTo>
                <a:lnTo>
                  <a:pt x="54" y="117"/>
                </a:lnTo>
                <a:lnTo>
                  <a:pt x="57" y="114"/>
                </a:lnTo>
                <a:lnTo>
                  <a:pt x="60" y="109"/>
                </a:lnTo>
                <a:lnTo>
                  <a:pt x="60" y="105"/>
                </a:lnTo>
                <a:lnTo>
                  <a:pt x="64" y="102"/>
                </a:lnTo>
                <a:lnTo>
                  <a:pt x="70" y="100"/>
                </a:lnTo>
                <a:lnTo>
                  <a:pt x="72" y="102"/>
                </a:lnTo>
                <a:lnTo>
                  <a:pt x="73" y="98"/>
                </a:lnTo>
                <a:lnTo>
                  <a:pt x="75" y="94"/>
                </a:lnTo>
                <a:lnTo>
                  <a:pt x="73" y="90"/>
                </a:lnTo>
                <a:lnTo>
                  <a:pt x="70" y="89"/>
                </a:lnTo>
                <a:lnTo>
                  <a:pt x="68" y="86"/>
                </a:lnTo>
                <a:lnTo>
                  <a:pt x="68" y="82"/>
                </a:lnTo>
                <a:lnTo>
                  <a:pt x="65" y="79"/>
                </a:lnTo>
                <a:lnTo>
                  <a:pt x="62" y="82"/>
                </a:lnTo>
                <a:lnTo>
                  <a:pt x="59" y="87"/>
                </a:lnTo>
                <a:lnTo>
                  <a:pt x="54" y="87"/>
                </a:lnTo>
                <a:lnTo>
                  <a:pt x="49" y="87"/>
                </a:lnTo>
                <a:lnTo>
                  <a:pt x="45" y="84"/>
                </a:lnTo>
                <a:lnTo>
                  <a:pt x="40" y="81"/>
                </a:lnTo>
                <a:lnTo>
                  <a:pt x="32" y="71"/>
                </a:lnTo>
                <a:lnTo>
                  <a:pt x="30" y="68"/>
                </a:lnTo>
                <a:lnTo>
                  <a:pt x="29" y="63"/>
                </a:lnTo>
                <a:lnTo>
                  <a:pt x="30" y="60"/>
                </a:lnTo>
                <a:lnTo>
                  <a:pt x="25" y="54"/>
                </a:lnTo>
                <a:lnTo>
                  <a:pt x="21" y="49"/>
                </a:lnTo>
                <a:lnTo>
                  <a:pt x="18" y="43"/>
                </a:lnTo>
                <a:lnTo>
                  <a:pt x="11" y="40"/>
                </a:lnTo>
                <a:lnTo>
                  <a:pt x="6" y="36"/>
                </a:lnTo>
                <a:lnTo>
                  <a:pt x="6" y="32"/>
                </a:lnTo>
                <a:lnTo>
                  <a:pt x="6" y="25"/>
                </a:lnTo>
                <a:lnTo>
                  <a:pt x="3" y="19"/>
                </a:lnTo>
                <a:lnTo>
                  <a:pt x="2" y="13"/>
                </a:lnTo>
                <a:lnTo>
                  <a:pt x="0" y="9"/>
                </a:lnTo>
                <a:lnTo>
                  <a:pt x="0" y="6"/>
                </a:lnTo>
                <a:close/>
              </a:path>
            </a:pathLst>
          </a:custGeom>
          <a:solidFill>
            <a:schemeClr val="accent6">
              <a:lumMod val="20000"/>
              <a:lumOff val="80000"/>
            </a:schemeClr>
          </a:solidFill>
          <a:ln w="0" algn="ctr">
            <a:solidFill>
              <a:schemeClr val="bg1">
                <a:lumMod val="50000"/>
              </a:schemeClr>
            </a:solidFill>
            <a:round/>
            <a:headEnd/>
            <a:tailEnd/>
          </a:ln>
        </p:spPr>
        <p:txBody>
          <a:bodyPr lIns="101798" tIns="50899" rIns="101798" bIns="50899"/>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endParaRPr>
          </a:p>
        </p:txBody>
      </p:sp>
      <p:sp>
        <p:nvSpPr>
          <p:cNvPr id="35" name="State: Mississippi"/>
          <p:cNvSpPr>
            <a:spLocks/>
          </p:cNvSpPr>
          <p:nvPr/>
        </p:nvSpPr>
        <p:spPr bwMode="auto">
          <a:xfrm>
            <a:off x="4694892" y="4618601"/>
            <a:ext cx="459832" cy="821399"/>
          </a:xfrm>
          <a:custGeom>
            <a:avLst/>
            <a:gdLst>
              <a:gd name="T0" fmla="*/ 2147483647 w 308"/>
              <a:gd name="T1" fmla="*/ 2147483647 h 534"/>
              <a:gd name="T2" fmla="*/ 2147483647 w 308"/>
              <a:gd name="T3" fmla="*/ 2147483647 h 534"/>
              <a:gd name="T4" fmla="*/ 2147483647 w 308"/>
              <a:gd name="T5" fmla="*/ 2147483647 h 534"/>
              <a:gd name="T6" fmla="*/ 2147483647 w 308"/>
              <a:gd name="T7" fmla="*/ 2147483647 h 534"/>
              <a:gd name="T8" fmla="*/ 2147483647 w 308"/>
              <a:gd name="T9" fmla="*/ 2147483647 h 534"/>
              <a:gd name="T10" fmla="*/ 2147483647 w 308"/>
              <a:gd name="T11" fmla="*/ 2147483647 h 534"/>
              <a:gd name="T12" fmla="*/ 2147483647 w 308"/>
              <a:gd name="T13" fmla="*/ 2147483647 h 534"/>
              <a:gd name="T14" fmla="*/ 2147483647 w 308"/>
              <a:gd name="T15" fmla="*/ 2147483647 h 534"/>
              <a:gd name="T16" fmla="*/ 2147483647 w 308"/>
              <a:gd name="T17" fmla="*/ 2147483647 h 534"/>
              <a:gd name="T18" fmla="*/ 2147483647 w 308"/>
              <a:gd name="T19" fmla="*/ 2147483647 h 534"/>
              <a:gd name="T20" fmla="*/ 2147483647 w 308"/>
              <a:gd name="T21" fmla="*/ 2147483647 h 534"/>
              <a:gd name="T22" fmla="*/ 2147483647 w 308"/>
              <a:gd name="T23" fmla="*/ 2147483647 h 534"/>
              <a:gd name="T24" fmla="*/ 2147483647 w 308"/>
              <a:gd name="T25" fmla="*/ 2147483647 h 534"/>
              <a:gd name="T26" fmla="*/ 2147483647 w 308"/>
              <a:gd name="T27" fmla="*/ 2147483647 h 534"/>
              <a:gd name="T28" fmla="*/ 0 w 308"/>
              <a:gd name="T29" fmla="*/ 2147483647 h 534"/>
              <a:gd name="T30" fmla="*/ 2147483647 w 308"/>
              <a:gd name="T31" fmla="*/ 2147483647 h 534"/>
              <a:gd name="T32" fmla="*/ 2147483647 w 308"/>
              <a:gd name="T33" fmla="*/ 2147483647 h 534"/>
              <a:gd name="T34" fmla="*/ 2147483647 w 308"/>
              <a:gd name="T35" fmla="*/ 2147483647 h 534"/>
              <a:gd name="T36" fmla="*/ 2147483647 w 308"/>
              <a:gd name="T37" fmla="*/ 2147483647 h 534"/>
              <a:gd name="T38" fmla="*/ 2147483647 w 308"/>
              <a:gd name="T39" fmla="*/ 2147483647 h 534"/>
              <a:gd name="T40" fmla="*/ 2147483647 w 308"/>
              <a:gd name="T41" fmla="*/ 2147483647 h 534"/>
              <a:gd name="T42" fmla="*/ 2147483647 w 308"/>
              <a:gd name="T43" fmla="*/ 2147483647 h 534"/>
              <a:gd name="T44" fmla="*/ 2147483647 w 308"/>
              <a:gd name="T45" fmla="*/ 2147483647 h 534"/>
              <a:gd name="T46" fmla="*/ 2147483647 w 308"/>
              <a:gd name="T47" fmla="*/ 2147483647 h 534"/>
              <a:gd name="T48" fmla="*/ 2147483647 w 308"/>
              <a:gd name="T49" fmla="*/ 2147483647 h 534"/>
              <a:gd name="T50" fmla="*/ 2147483647 w 308"/>
              <a:gd name="T51" fmla="*/ 2147483647 h 534"/>
              <a:gd name="T52" fmla="*/ 2147483647 w 308"/>
              <a:gd name="T53" fmla="*/ 2147483647 h 534"/>
              <a:gd name="T54" fmla="*/ 2147483647 w 308"/>
              <a:gd name="T55" fmla="*/ 2147483647 h 534"/>
              <a:gd name="T56" fmla="*/ 2147483647 w 308"/>
              <a:gd name="T57" fmla="*/ 2147483647 h 534"/>
              <a:gd name="T58" fmla="*/ 2147483647 w 308"/>
              <a:gd name="T59" fmla="*/ 2147483647 h 534"/>
              <a:gd name="T60" fmla="*/ 2147483647 w 308"/>
              <a:gd name="T61" fmla="*/ 2147483647 h 534"/>
              <a:gd name="T62" fmla="*/ 2147483647 w 308"/>
              <a:gd name="T63" fmla="*/ 2147483647 h 534"/>
              <a:gd name="T64" fmla="*/ 2147483647 w 308"/>
              <a:gd name="T65" fmla="*/ 2147483647 h 534"/>
              <a:gd name="T66" fmla="*/ 2147483647 w 308"/>
              <a:gd name="T67" fmla="*/ 2147483647 h 534"/>
              <a:gd name="T68" fmla="*/ 2147483647 w 308"/>
              <a:gd name="T69" fmla="*/ 2147483647 h 534"/>
              <a:gd name="T70" fmla="*/ 2147483647 w 308"/>
              <a:gd name="T71" fmla="*/ 2147483647 h 534"/>
              <a:gd name="T72" fmla="*/ 2147483647 w 308"/>
              <a:gd name="T73" fmla="*/ 2147483647 h 534"/>
              <a:gd name="T74" fmla="*/ 2147483647 w 308"/>
              <a:gd name="T75" fmla="*/ 2147483647 h 534"/>
              <a:gd name="T76" fmla="*/ 2147483647 w 308"/>
              <a:gd name="T77" fmla="*/ 2147483647 h 534"/>
              <a:gd name="T78" fmla="*/ 2147483647 w 308"/>
              <a:gd name="T79" fmla="*/ 2147483647 h 534"/>
              <a:gd name="T80" fmla="*/ 2147483647 w 308"/>
              <a:gd name="T81" fmla="*/ 2147483647 h 534"/>
              <a:gd name="T82" fmla="*/ 2147483647 w 308"/>
              <a:gd name="T83" fmla="*/ 2147483647 h 534"/>
              <a:gd name="T84" fmla="*/ 2147483647 w 308"/>
              <a:gd name="T85" fmla="*/ 2147483647 h 534"/>
              <a:gd name="T86" fmla="*/ 2147483647 w 308"/>
              <a:gd name="T87" fmla="*/ 2147483647 h 534"/>
              <a:gd name="T88" fmla="*/ 2147483647 w 308"/>
              <a:gd name="T89" fmla="*/ 2147483647 h 534"/>
              <a:gd name="T90" fmla="*/ 2147483647 w 308"/>
              <a:gd name="T91" fmla="*/ 2147483647 h 53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08"/>
              <a:gd name="T139" fmla="*/ 0 h 534"/>
              <a:gd name="T140" fmla="*/ 308 w 308"/>
              <a:gd name="T141" fmla="*/ 534 h 53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08" h="534">
                <a:moveTo>
                  <a:pt x="110" y="10"/>
                </a:moveTo>
                <a:lnTo>
                  <a:pt x="140" y="8"/>
                </a:lnTo>
                <a:lnTo>
                  <a:pt x="175" y="8"/>
                </a:lnTo>
                <a:lnTo>
                  <a:pt x="197" y="6"/>
                </a:lnTo>
                <a:lnTo>
                  <a:pt x="234" y="3"/>
                </a:lnTo>
                <a:lnTo>
                  <a:pt x="264" y="2"/>
                </a:lnTo>
                <a:lnTo>
                  <a:pt x="288" y="0"/>
                </a:lnTo>
                <a:lnTo>
                  <a:pt x="296" y="3"/>
                </a:lnTo>
                <a:lnTo>
                  <a:pt x="299" y="8"/>
                </a:lnTo>
                <a:lnTo>
                  <a:pt x="302" y="13"/>
                </a:lnTo>
                <a:lnTo>
                  <a:pt x="307" y="16"/>
                </a:lnTo>
                <a:lnTo>
                  <a:pt x="308" y="512"/>
                </a:lnTo>
                <a:lnTo>
                  <a:pt x="253" y="513"/>
                </a:lnTo>
                <a:lnTo>
                  <a:pt x="246" y="516"/>
                </a:lnTo>
                <a:lnTo>
                  <a:pt x="245" y="518"/>
                </a:lnTo>
                <a:lnTo>
                  <a:pt x="240" y="523"/>
                </a:lnTo>
                <a:lnTo>
                  <a:pt x="235" y="526"/>
                </a:lnTo>
                <a:lnTo>
                  <a:pt x="230" y="526"/>
                </a:lnTo>
                <a:lnTo>
                  <a:pt x="227" y="523"/>
                </a:lnTo>
                <a:lnTo>
                  <a:pt x="221" y="521"/>
                </a:lnTo>
                <a:lnTo>
                  <a:pt x="218" y="521"/>
                </a:lnTo>
                <a:lnTo>
                  <a:pt x="215" y="523"/>
                </a:lnTo>
                <a:lnTo>
                  <a:pt x="211" y="527"/>
                </a:lnTo>
                <a:lnTo>
                  <a:pt x="205" y="531"/>
                </a:lnTo>
                <a:lnTo>
                  <a:pt x="202" y="534"/>
                </a:lnTo>
                <a:lnTo>
                  <a:pt x="194" y="534"/>
                </a:lnTo>
                <a:lnTo>
                  <a:pt x="191" y="529"/>
                </a:lnTo>
                <a:lnTo>
                  <a:pt x="191" y="523"/>
                </a:lnTo>
                <a:lnTo>
                  <a:pt x="192" y="516"/>
                </a:lnTo>
                <a:lnTo>
                  <a:pt x="189" y="510"/>
                </a:lnTo>
                <a:lnTo>
                  <a:pt x="184" y="504"/>
                </a:lnTo>
                <a:lnTo>
                  <a:pt x="176" y="497"/>
                </a:lnTo>
                <a:lnTo>
                  <a:pt x="173" y="492"/>
                </a:lnTo>
                <a:lnTo>
                  <a:pt x="172" y="485"/>
                </a:lnTo>
                <a:lnTo>
                  <a:pt x="173" y="480"/>
                </a:lnTo>
                <a:lnTo>
                  <a:pt x="173" y="473"/>
                </a:lnTo>
                <a:lnTo>
                  <a:pt x="178" y="469"/>
                </a:lnTo>
                <a:lnTo>
                  <a:pt x="181" y="461"/>
                </a:lnTo>
                <a:lnTo>
                  <a:pt x="183" y="454"/>
                </a:lnTo>
                <a:lnTo>
                  <a:pt x="11" y="458"/>
                </a:lnTo>
                <a:lnTo>
                  <a:pt x="11" y="451"/>
                </a:lnTo>
                <a:lnTo>
                  <a:pt x="8" y="446"/>
                </a:lnTo>
                <a:lnTo>
                  <a:pt x="3" y="443"/>
                </a:lnTo>
                <a:lnTo>
                  <a:pt x="0" y="440"/>
                </a:lnTo>
                <a:lnTo>
                  <a:pt x="0" y="437"/>
                </a:lnTo>
                <a:lnTo>
                  <a:pt x="2" y="434"/>
                </a:lnTo>
                <a:lnTo>
                  <a:pt x="5" y="431"/>
                </a:lnTo>
                <a:lnTo>
                  <a:pt x="10" y="427"/>
                </a:lnTo>
                <a:lnTo>
                  <a:pt x="13" y="423"/>
                </a:lnTo>
                <a:lnTo>
                  <a:pt x="14" y="418"/>
                </a:lnTo>
                <a:lnTo>
                  <a:pt x="16" y="413"/>
                </a:lnTo>
                <a:lnTo>
                  <a:pt x="13" y="408"/>
                </a:lnTo>
                <a:lnTo>
                  <a:pt x="11" y="405"/>
                </a:lnTo>
                <a:lnTo>
                  <a:pt x="11" y="402"/>
                </a:lnTo>
                <a:lnTo>
                  <a:pt x="16" y="399"/>
                </a:lnTo>
                <a:lnTo>
                  <a:pt x="19" y="397"/>
                </a:lnTo>
                <a:lnTo>
                  <a:pt x="22" y="391"/>
                </a:lnTo>
                <a:lnTo>
                  <a:pt x="22" y="388"/>
                </a:lnTo>
                <a:lnTo>
                  <a:pt x="22" y="381"/>
                </a:lnTo>
                <a:lnTo>
                  <a:pt x="24" y="372"/>
                </a:lnTo>
                <a:lnTo>
                  <a:pt x="27" y="367"/>
                </a:lnTo>
                <a:lnTo>
                  <a:pt x="29" y="362"/>
                </a:lnTo>
                <a:lnTo>
                  <a:pt x="33" y="361"/>
                </a:lnTo>
                <a:lnTo>
                  <a:pt x="38" y="357"/>
                </a:lnTo>
                <a:lnTo>
                  <a:pt x="43" y="351"/>
                </a:lnTo>
                <a:lnTo>
                  <a:pt x="48" y="346"/>
                </a:lnTo>
                <a:lnTo>
                  <a:pt x="51" y="340"/>
                </a:lnTo>
                <a:lnTo>
                  <a:pt x="51" y="335"/>
                </a:lnTo>
                <a:lnTo>
                  <a:pt x="52" y="332"/>
                </a:lnTo>
                <a:lnTo>
                  <a:pt x="56" y="327"/>
                </a:lnTo>
                <a:lnTo>
                  <a:pt x="62" y="319"/>
                </a:lnTo>
                <a:lnTo>
                  <a:pt x="65" y="313"/>
                </a:lnTo>
                <a:lnTo>
                  <a:pt x="65" y="310"/>
                </a:lnTo>
                <a:lnTo>
                  <a:pt x="62" y="307"/>
                </a:lnTo>
                <a:lnTo>
                  <a:pt x="57" y="302"/>
                </a:lnTo>
                <a:lnTo>
                  <a:pt x="52" y="300"/>
                </a:lnTo>
                <a:lnTo>
                  <a:pt x="48" y="292"/>
                </a:lnTo>
                <a:lnTo>
                  <a:pt x="45" y="292"/>
                </a:lnTo>
                <a:lnTo>
                  <a:pt x="43" y="283"/>
                </a:lnTo>
                <a:lnTo>
                  <a:pt x="40" y="278"/>
                </a:lnTo>
                <a:lnTo>
                  <a:pt x="40" y="273"/>
                </a:lnTo>
                <a:lnTo>
                  <a:pt x="46" y="272"/>
                </a:lnTo>
                <a:lnTo>
                  <a:pt x="48" y="268"/>
                </a:lnTo>
                <a:lnTo>
                  <a:pt x="43" y="267"/>
                </a:lnTo>
                <a:lnTo>
                  <a:pt x="40" y="264"/>
                </a:lnTo>
                <a:lnTo>
                  <a:pt x="41" y="257"/>
                </a:lnTo>
                <a:lnTo>
                  <a:pt x="41" y="254"/>
                </a:lnTo>
                <a:lnTo>
                  <a:pt x="41" y="249"/>
                </a:lnTo>
                <a:lnTo>
                  <a:pt x="48" y="246"/>
                </a:lnTo>
                <a:lnTo>
                  <a:pt x="46" y="243"/>
                </a:lnTo>
                <a:lnTo>
                  <a:pt x="41" y="240"/>
                </a:lnTo>
                <a:lnTo>
                  <a:pt x="40" y="234"/>
                </a:lnTo>
                <a:lnTo>
                  <a:pt x="40" y="230"/>
                </a:lnTo>
                <a:lnTo>
                  <a:pt x="40" y="227"/>
                </a:lnTo>
                <a:lnTo>
                  <a:pt x="43" y="222"/>
                </a:lnTo>
                <a:lnTo>
                  <a:pt x="45" y="219"/>
                </a:lnTo>
                <a:lnTo>
                  <a:pt x="45" y="214"/>
                </a:lnTo>
                <a:lnTo>
                  <a:pt x="46" y="207"/>
                </a:lnTo>
                <a:lnTo>
                  <a:pt x="41" y="205"/>
                </a:lnTo>
                <a:lnTo>
                  <a:pt x="38" y="202"/>
                </a:lnTo>
                <a:lnTo>
                  <a:pt x="38" y="195"/>
                </a:lnTo>
                <a:lnTo>
                  <a:pt x="40" y="192"/>
                </a:lnTo>
                <a:lnTo>
                  <a:pt x="41" y="187"/>
                </a:lnTo>
                <a:lnTo>
                  <a:pt x="38" y="184"/>
                </a:lnTo>
                <a:lnTo>
                  <a:pt x="35" y="180"/>
                </a:lnTo>
                <a:lnTo>
                  <a:pt x="33" y="175"/>
                </a:lnTo>
                <a:lnTo>
                  <a:pt x="33" y="168"/>
                </a:lnTo>
                <a:lnTo>
                  <a:pt x="33" y="162"/>
                </a:lnTo>
                <a:lnTo>
                  <a:pt x="38" y="152"/>
                </a:lnTo>
                <a:lnTo>
                  <a:pt x="43" y="146"/>
                </a:lnTo>
                <a:lnTo>
                  <a:pt x="46" y="140"/>
                </a:lnTo>
                <a:lnTo>
                  <a:pt x="48" y="133"/>
                </a:lnTo>
                <a:lnTo>
                  <a:pt x="48" y="127"/>
                </a:lnTo>
                <a:lnTo>
                  <a:pt x="51" y="121"/>
                </a:lnTo>
                <a:lnTo>
                  <a:pt x="54" y="116"/>
                </a:lnTo>
                <a:lnTo>
                  <a:pt x="59" y="106"/>
                </a:lnTo>
                <a:lnTo>
                  <a:pt x="62" y="102"/>
                </a:lnTo>
                <a:lnTo>
                  <a:pt x="67" y="94"/>
                </a:lnTo>
                <a:lnTo>
                  <a:pt x="68" y="86"/>
                </a:lnTo>
                <a:lnTo>
                  <a:pt x="72" y="81"/>
                </a:lnTo>
                <a:lnTo>
                  <a:pt x="78" y="79"/>
                </a:lnTo>
                <a:lnTo>
                  <a:pt x="84" y="76"/>
                </a:lnTo>
                <a:lnTo>
                  <a:pt x="86" y="70"/>
                </a:lnTo>
                <a:lnTo>
                  <a:pt x="86" y="64"/>
                </a:lnTo>
                <a:lnTo>
                  <a:pt x="83" y="57"/>
                </a:lnTo>
                <a:lnTo>
                  <a:pt x="83" y="51"/>
                </a:lnTo>
                <a:lnTo>
                  <a:pt x="86" y="46"/>
                </a:lnTo>
                <a:lnTo>
                  <a:pt x="89" y="43"/>
                </a:lnTo>
                <a:lnTo>
                  <a:pt x="94" y="40"/>
                </a:lnTo>
                <a:lnTo>
                  <a:pt x="95" y="37"/>
                </a:lnTo>
                <a:lnTo>
                  <a:pt x="97" y="30"/>
                </a:lnTo>
                <a:lnTo>
                  <a:pt x="103" y="27"/>
                </a:lnTo>
                <a:lnTo>
                  <a:pt x="108" y="25"/>
                </a:lnTo>
                <a:lnTo>
                  <a:pt x="110" y="21"/>
                </a:lnTo>
                <a:lnTo>
                  <a:pt x="110" y="17"/>
                </a:lnTo>
                <a:lnTo>
                  <a:pt x="110" y="13"/>
                </a:lnTo>
                <a:lnTo>
                  <a:pt x="110" y="8"/>
                </a:lnTo>
                <a:lnTo>
                  <a:pt x="110" y="10"/>
                </a:lnTo>
                <a:close/>
              </a:path>
            </a:pathLst>
          </a:custGeom>
          <a:solidFill>
            <a:schemeClr val="bg1">
              <a:lumMod val="95000"/>
            </a:schemeClr>
          </a:solidFill>
          <a:ln w="0" algn="ctr">
            <a:solidFill>
              <a:srgbClr val="808080"/>
            </a:solidFill>
            <a:round/>
            <a:headEnd/>
            <a:tailEnd/>
          </a:ln>
        </p:spPr>
        <p:txBody>
          <a:bodyPr lIns="101798" tIns="50899" rIns="101798" bIns="50899"/>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endParaRPr>
          </a:p>
        </p:txBody>
      </p:sp>
      <p:sp>
        <p:nvSpPr>
          <p:cNvPr id="36" name="State: Minnesota"/>
          <p:cNvSpPr>
            <a:spLocks/>
          </p:cNvSpPr>
          <p:nvPr/>
        </p:nvSpPr>
        <p:spPr bwMode="auto">
          <a:xfrm>
            <a:off x="3981256" y="2209772"/>
            <a:ext cx="809184" cy="996754"/>
          </a:xfrm>
          <a:custGeom>
            <a:avLst/>
            <a:gdLst>
              <a:gd name="T0" fmla="*/ 2147483647 w 542"/>
              <a:gd name="T1" fmla="*/ 2147483647 h 648"/>
              <a:gd name="T2" fmla="*/ 2147483647 w 542"/>
              <a:gd name="T3" fmla="*/ 2147483647 h 648"/>
              <a:gd name="T4" fmla="*/ 2147483647 w 542"/>
              <a:gd name="T5" fmla="*/ 2147483647 h 648"/>
              <a:gd name="T6" fmla="*/ 2147483647 w 542"/>
              <a:gd name="T7" fmla="*/ 2147483647 h 648"/>
              <a:gd name="T8" fmla="*/ 2147483647 w 542"/>
              <a:gd name="T9" fmla="*/ 2147483647 h 648"/>
              <a:gd name="T10" fmla="*/ 2147483647 w 542"/>
              <a:gd name="T11" fmla="*/ 2147483647 h 648"/>
              <a:gd name="T12" fmla="*/ 2147483647 w 542"/>
              <a:gd name="T13" fmla="*/ 2147483647 h 648"/>
              <a:gd name="T14" fmla="*/ 2147483647 w 542"/>
              <a:gd name="T15" fmla="*/ 2147483647 h 648"/>
              <a:gd name="T16" fmla="*/ 2147483647 w 542"/>
              <a:gd name="T17" fmla="*/ 2147483647 h 648"/>
              <a:gd name="T18" fmla="*/ 2147483647 w 542"/>
              <a:gd name="T19" fmla="*/ 2147483647 h 648"/>
              <a:gd name="T20" fmla="*/ 2147483647 w 542"/>
              <a:gd name="T21" fmla="*/ 2147483647 h 648"/>
              <a:gd name="T22" fmla="*/ 2147483647 w 542"/>
              <a:gd name="T23" fmla="*/ 2147483647 h 648"/>
              <a:gd name="T24" fmla="*/ 2147483647 w 542"/>
              <a:gd name="T25" fmla="*/ 2147483647 h 648"/>
              <a:gd name="T26" fmla="*/ 2147483647 w 542"/>
              <a:gd name="T27" fmla="*/ 2147483647 h 648"/>
              <a:gd name="T28" fmla="*/ 2147483647 w 542"/>
              <a:gd name="T29" fmla="*/ 2147483647 h 648"/>
              <a:gd name="T30" fmla="*/ 2147483647 w 542"/>
              <a:gd name="T31" fmla="*/ 2147483647 h 648"/>
              <a:gd name="T32" fmla="*/ 2147483647 w 542"/>
              <a:gd name="T33" fmla="*/ 2147483647 h 648"/>
              <a:gd name="T34" fmla="*/ 2147483647 w 542"/>
              <a:gd name="T35" fmla="*/ 2147483647 h 648"/>
              <a:gd name="T36" fmla="*/ 2147483647 w 542"/>
              <a:gd name="T37" fmla="*/ 2147483647 h 648"/>
              <a:gd name="T38" fmla="*/ 2147483647 w 542"/>
              <a:gd name="T39" fmla="*/ 2147483647 h 648"/>
              <a:gd name="T40" fmla="*/ 2147483647 w 542"/>
              <a:gd name="T41" fmla="*/ 2147483647 h 648"/>
              <a:gd name="T42" fmla="*/ 2147483647 w 542"/>
              <a:gd name="T43" fmla="*/ 2147483647 h 648"/>
              <a:gd name="T44" fmla="*/ 2147483647 w 542"/>
              <a:gd name="T45" fmla="*/ 2147483647 h 648"/>
              <a:gd name="T46" fmla="*/ 2147483647 w 542"/>
              <a:gd name="T47" fmla="*/ 2147483647 h 648"/>
              <a:gd name="T48" fmla="*/ 2147483647 w 542"/>
              <a:gd name="T49" fmla="*/ 2147483647 h 648"/>
              <a:gd name="T50" fmla="*/ 2147483647 w 542"/>
              <a:gd name="T51" fmla="*/ 2147483647 h 648"/>
              <a:gd name="T52" fmla="*/ 2147483647 w 542"/>
              <a:gd name="T53" fmla="*/ 2147483647 h 648"/>
              <a:gd name="T54" fmla="*/ 2147483647 w 542"/>
              <a:gd name="T55" fmla="*/ 2147483647 h 648"/>
              <a:gd name="T56" fmla="*/ 2147483647 w 542"/>
              <a:gd name="T57" fmla="*/ 2147483647 h 648"/>
              <a:gd name="T58" fmla="*/ 2147483647 w 542"/>
              <a:gd name="T59" fmla="*/ 2147483647 h 648"/>
              <a:gd name="T60" fmla="*/ 2147483647 w 542"/>
              <a:gd name="T61" fmla="*/ 2147483647 h 648"/>
              <a:gd name="T62" fmla="*/ 2147483647 w 542"/>
              <a:gd name="T63" fmla="*/ 2147483647 h 648"/>
              <a:gd name="T64" fmla="*/ 2147483647 w 542"/>
              <a:gd name="T65" fmla="*/ 2147483647 h 648"/>
              <a:gd name="T66" fmla="*/ 2147483647 w 542"/>
              <a:gd name="T67" fmla="*/ 2147483647 h 648"/>
              <a:gd name="T68" fmla="*/ 2147483647 w 542"/>
              <a:gd name="T69" fmla="*/ 2147483647 h 648"/>
              <a:gd name="T70" fmla="*/ 2147483647 w 542"/>
              <a:gd name="T71" fmla="*/ 2147483647 h 648"/>
              <a:gd name="T72" fmla="*/ 2147483647 w 542"/>
              <a:gd name="T73" fmla="*/ 2147483647 h 648"/>
              <a:gd name="T74" fmla="*/ 2147483647 w 542"/>
              <a:gd name="T75" fmla="*/ 2147483647 h 648"/>
              <a:gd name="T76" fmla="*/ 2147483647 w 542"/>
              <a:gd name="T77" fmla="*/ 2147483647 h 648"/>
              <a:gd name="T78" fmla="*/ 2147483647 w 542"/>
              <a:gd name="T79" fmla="*/ 2147483647 h 648"/>
              <a:gd name="T80" fmla="*/ 2147483647 w 542"/>
              <a:gd name="T81" fmla="*/ 2147483647 h 648"/>
              <a:gd name="T82" fmla="*/ 2147483647 w 542"/>
              <a:gd name="T83" fmla="*/ 2147483647 h 648"/>
              <a:gd name="T84" fmla="*/ 2147483647 w 542"/>
              <a:gd name="T85" fmla="*/ 2147483647 h 648"/>
              <a:gd name="T86" fmla="*/ 2147483647 w 542"/>
              <a:gd name="T87" fmla="*/ 2147483647 h 648"/>
              <a:gd name="T88" fmla="*/ 2147483647 w 542"/>
              <a:gd name="T89" fmla="*/ 2147483647 h 648"/>
              <a:gd name="T90" fmla="*/ 2147483647 w 542"/>
              <a:gd name="T91" fmla="*/ 2147483647 h 648"/>
              <a:gd name="T92" fmla="*/ 2147483647 w 542"/>
              <a:gd name="T93" fmla="*/ 2147483647 h 648"/>
              <a:gd name="T94" fmla="*/ 2147483647 w 542"/>
              <a:gd name="T95" fmla="*/ 2147483647 h 648"/>
              <a:gd name="T96" fmla="*/ 2147483647 w 542"/>
              <a:gd name="T97" fmla="*/ 2147483647 h 6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42"/>
              <a:gd name="T148" fmla="*/ 0 h 648"/>
              <a:gd name="T149" fmla="*/ 542 w 542"/>
              <a:gd name="T150" fmla="*/ 648 h 6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42" h="648">
                <a:moveTo>
                  <a:pt x="150" y="47"/>
                </a:moveTo>
                <a:lnTo>
                  <a:pt x="151" y="0"/>
                </a:lnTo>
                <a:lnTo>
                  <a:pt x="157" y="1"/>
                </a:lnTo>
                <a:lnTo>
                  <a:pt x="164" y="1"/>
                </a:lnTo>
                <a:lnTo>
                  <a:pt x="167" y="5"/>
                </a:lnTo>
                <a:lnTo>
                  <a:pt x="170" y="11"/>
                </a:lnTo>
                <a:lnTo>
                  <a:pt x="172" y="17"/>
                </a:lnTo>
                <a:lnTo>
                  <a:pt x="173" y="24"/>
                </a:lnTo>
                <a:lnTo>
                  <a:pt x="175" y="32"/>
                </a:lnTo>
                <a:lnTo>
                  <a:pt x="178" y="38"/>
                </a:lnTo>
                <a:lnTo>
                  <a:pt x="180" y="44"/>
                </a:lnTo>
                <a:lnTo>
                  <a:pt x="186" y="52"/>
                </a:lnTo>
                <a:lnTo>
                  <a:pt x="188" y="62"/>
                </a:lnTo>
                <a:lnTo>
                  <a:pt x="192" y="66"/>
                </a:lnTo>
                <a:lnTo>
                  <a:pt x="192" y="73"/>
                </a:lnTo>
                <a:lnTo>
                  <a:pt x="205" y="74"/>
                </a:lnTo>
                <a:lnTo>
                  <a:pt x="210" y="78"/>
                </a:lnTo>
                <a:lnTo>
                  <a:pt x="218" y="74"/>
                </a:lnTo>
                <a:lnTo>
                  <a:pt x="224" y="73"/>
                </a:lnTo>
                <a:lnTo>
                  <a:pt x="229" y="74"/>
                </a:lnTo>
                <a:lnTo>
                  <a:pt x="235" y="76"/>
                </a:lnTo>
                <a:lnTo>
                  <a:pt x="242" y="79"/>
                </a:lnTo>
                <a:lnTo>
                  <a:pt x="246" y="81"/>
                </a:lnTo>
                <a:lnTo>
                  <a:pt x="253" y="84"/>
                </a:lnTo>
                <a:lnTo>
                  <a:pt x="256" y="87"/>
                </a:lnTo>
                <a:lnTo>
                  <a:pt x="261" y="90"/>
                </a:lnTo>
                <a:lnTo>
                  <a:pt x="265" y="90"/>
                </a:lnTo>
                <a:lnTo>
                  <a:pt x="273" y="89"/>
                </a:lnTo>
                <a:lnTo>
                  <a:pt x="280" y="87"/>
                </a:lnTo>
                <a:lnTo>
                  <a:pt x="285" y="82"/>
                </a:lnTo>
                <a:lnTo>
                  <a:pt x="289" y="79"/>
                </a:lnTo>
                <a:lnTo>
                  <a:pt x="293" y="82"/>
                </a:lnTo>
                <a:lnTo>
                  <a:pt x="296" y="84"/>
                </a:lnTo>
                <a:lnTo>
                  <a:pt x="305" y="82"/>
                </a:lnTo>
                <a:lnTo>
                  <a:pt x="315" y="84"/>
                </a:lnTo>
                <a:lnTo>
                  <a:pt x="324" y="82"/>
                </a:lnTo>
                <a:lnTo>
                  <a:pt x="332" y="87"/>
                </a:lnTo>
                <a:lnTo>
                  <a:pt x="343" y="93"/>
                </a:lnTo>
                <a:lnTo>
                  <a:pt x="351" y="98"/>
                </a:lnTo>
                <a:lnTo>
                  <a:pt x="353" y="103"/>
                </a:lnTo>
                <a:lnTo>
                  <a:pt x="361" y="106"/>
                </a:lnTo>
                <a:lnTo>
                  <a:pt x="367" y="109"/>
                </a:lnTo>
                <a:lnTo>
                  <a:pt x="374" y="111"/>
                </a:lnTo>
                <a:lnTo>
                  <a:pt x="380" y="116"/>
                </a:lnTo>
                <a:lnTo>
                  <a:pt x="383" y="119"/>
                </a:lnTo>
                <a:lnTo>
                  <a:pt x="389" y="122"/>
                </a:lnTo>
                <a:lnTo>
                  <a:pt x="399" y="122"/>
                </a:lnTo>
                <a:lnTo>
                  <a:pt x="404" y="128"/>
                </a:lnTo>
                <a:lnTo>
                  <a:pt x="408" y="135"/>
                </a:lnTo>
                <a:lnTo>
                  <a:pt x="416" y="138"/>
                </a:lnTo>
                <a:lnTo>
                  <a:pt x="426" y="141"/>
                </a:lnTo>
                <a:lnTo>
                  <a:pt x="429" y="144"/>
                </a:lnTo>
                <a:lnTo>
                  <a:pt x="434" y="143"/>
                </a:lnTo>
                <a:lnTo>
                  <a:pt x="440" y="140"/>
                </a:lnTo>
                <a:lnTo>
                  <a:pt x="445" y="136"/>
                </a:lnTo>
                <a:lnTo>
                  <a:pt x="450" y="132"/>
                </a:lnTo>
                <a:lnTo>
                  <a:pt x="458" y="128"/>
                </a:lnTo>
                <a:lnTo>
                  <a:pt x="463" y="128"/>
                </a:lnTo>
                <a:lnTo>
                  <a:pt x="467" y="130"/>
                </a:lnTo>
                <a:lnTo>
                  <a:pt x="472" y="133"/>
                </a:lnTo>
                <a:lnTo>
                  <a:pt x="477" y="136"/>
                </a:lnTo>
                <a:lnTo>
                  <a:pt x="485" y="140"/>
                </a:lnTo>
                <a:lnTo>
                  <a:pt x="490" y="141"/>
                </a:lnTo>
                <a:lnTo>
                  <a:pt x="497" y="141"/>
                </a:lnTo>
                <a:lnTo>
                  <a:pt x="507" y="140"/>
                </a:lnTo>
                <a:lnTo>
                  <a:pt x="513" y="136"/>
                </a:lnTo>
                <a:lnTo>
                  <a:pt x="518" y="136"/>
                </a:lnTo>
                <a:lnTo>
                  <a:pt x="520" y="138"/>
                </a:lnTo>
                <a:lnTo>
                  <a:pt x="523" y="141"/>
                </a:lnTo>
                <a:lnTo>
                  <a:pt x="528" y="141"/>
                </a:lnTo>
                <a:lnTo>
                  <a:pt x="536" y="144"/>
                </a:lnTo>
                <a:lnTo>
                  <a:pt x="540" y="146"/>
                </a:lnTo>
                <a:lnTo>
                  <a:pt x="542" y="147"/>
                </a:lnTo>
                <a:lnTo>
                  <a:pt x="536" y="155"/>
                </a:lnTo>
                <a:lnTo>
                  <a:pt x="531" y="160"/>
                </a:lnTo>
                <a:lnTo>
                  <a:pt x="523" y="167"/>
                </a:lnTo>
                <a:lnTo>
                  <a:pt x="515" y="174"/>
                </a:lnTo>
                <a:lnTo>
                  <a:pt x="502" y="179"/>
                </a:lnTo>
                <a:lnTo>
                  <a:pt x="491" y="186"/>
                </a:lnTo>
                <a:lnTo>
                  <a:pt x="480" y="198"/>
                </a:lnTo>
                <a:lnTo>
                  <a:pt x="467" y="209"/>
                </a:lnTo>
                <a:lnTo>
                  <a:pt x="455" y="222"/>
                </a:lnTo>
                <a:lnTo>
                  <a:pt x="442" y="233"/>
                </a:lnTo>
                <a:lnTo>
                  <a:pt x="429" y="244"/>
                </a:lnTo>
                <a:lnTo>
                  <a:pt x="410" y="262"/>
                </a:lnTo>
                <a:lnTo>
                  <a:pt x="399" y="275"/>
                </a:lnTo>
                <a:lnTo>
                  <a:pt x="388" y="284"/>
                </a:lnTo>
                <a:lnTo>
                  <a:pt x="377" y="294"/>
                </a:lnTo>
                <a:lnTo>
                  <a:pt x="370" y="297"/>
                </a:lnTo>
                <a:lnTo>
                  <a:pt x="364" y="300"/>
                </a:lnTo>
                <a:lnTo>
                  <a:pt x="366" y="362"/>
                </a:lnTo>
                <a:lnTo>
                  <a:pt x="358" y="368"/>
                </a:lnTo>
                <a:lnTo>
                  <a:pt x="351" y="373"/>
                </a:lnTo>
                <a:lnTo>
                  <a:pt x="342" y="379"/>
                </a:lnTo>
                <a:lnTo>
                  <a:pt x="334" y="384"/>
                </a:lnTo>
                <a:lnTo>
                  <a:pt x="329" y="394"/>
                </a:lnTo>
                <a:lnTo>
                  <a:pt x="324" y="399"/>
                </a:lnTo>
                <a:lnTo>
                  <a:pt x="323" y="405"/>
                </a:lnTo>
                <a:lnTo>
                  <a:pt x="320" y="413"/>
                </a:lnTo>
                <a:lnTo>
                  <a:pt x="320" y="421"/>
                </a:lnTo>
                <a:lnTo>
                  <a:pt x="324" y="424"/>
                </a:lnTo>
                <a:lnTo>
                  <a:pt x="331" y="427"/>
                </a:lnTo>
                <a:lnTo>
                  <a:pt x="335" y="437"/>
                </a:lnTo>
                <a:lnTo>
                  <a:pt x="335" y="445"/>
                </a:lnTo>
                <a:lnTo>
                  <a:pt x="332" y="454"/>
                </a:lnTo>
                <a:lnTo>
                  <a:pt x="332" y="464"/>
                </a:lnTo>
                <a:lnTo>
                  <a:pt x="335" y="470"/>
                </a:lnTo>
                <a:lnTo>
                  <a:pt x="334" y="475"/>
                </a:lnTo>
                <a:lnTo>
                  <a:pt x="329" y="480"/>
                </a:lnTo>
                <a:lnTo>
                  <a:pt x="329" y="486"/>
                </a:lnTo>
                <a:lnTo>
                  <a:pt x="334" y="489"/>
                </a:lnTo>
                <a:lnTo>
                  <a:pt x="335" y="494"/>
                </a:lnTo>
                <a:lnTo>
                  <a:pt x="332" y="502"/>
                </a:lnTo>
                <a:lnTo>
                  <a:pt x="331" y="507"/>
                </a:lnTo>
                <a:lnTo>
                  <a:pt x="331" y="513"/>
                </a:lnTo>
                <a:lnTo>
                  <a:pt x="334" y="518"/>
                </a:lnTo>
                <a:lnTo>
                  <a:pt x="340" y="524"/>
                </a:lnTo>
                <a:lnTo>
                  <a:pt x="347" y="526"/>
                </a:lnTo>
                <a:lnTo>
                  <a:pt x="351" y="529"/>
                </a:lnTo>
                <a:lnTo>
                  <a:pt x="356" y="530"/>
                </a:lnTo>
                <a:lnTo>
                  <a:pt x="358" y="535"/>
                </a:lnTo>
                <a:lnTo>
                  <a:pt x="362" y="538"/>
                </a:lnTo>
                <a:lnTo>
                  <a:pt x="369" y="538"/>
                </a:lnTo>
                <a:lnTo>
                  <a:pt x="377" y="540"/>
                </a:lnTo>
                <a:lnTo>
                  <a:pt x="385" y="545"/>
                </a:lnTo>
                <a:lnTo>
                  <a:pt x="393" y="549"/>
                </a:lnTo>
                <a:lnTo>
                  <a:pt x="399" y="556"/>
                </a:lnTo>
                <a:lnTo>
                  <a:pt x="402" y="561"/>
                </a:lnTo>
                <a:lnTo>
                  <a:pt x="407" y="570"/>
                </a:lnTo>
                <a:lnTo>
                  <a:pt x="413" y="578"/>
                </a:lnTo>
                <a:lnTo>
                  <a:pt x="418" y="583"/>
                </a:lnTo>
                <a:lnTo>
                  <a:pt x="421" y="583"/>
                </a:lnTo>
                <a:lnTo>
                  <a:pt x="432" y="589"/>
                </a:lnTo>
                <a:lnTo>
                  <a:pt x="436" y="592"/>
                </a:lnTo>
                <a:lnTo>
                  <a:pt x="442" y="599"/>
                </a:lnTo>
                <a:lnTo>
                  <a:pt x="448" y="605"/>
                </a:lnTo>
                <a:lnTo>
                  <a:pt x="451" y="610"/>
                </a:lnTo>
                <a:lnTo>
                  <a:pt x="456" y="616"/>
                </a:lnTo>
                <a:lnTo>
                  <a:pt x="459" y="623"/>
                </a:lnTo>
                <a:lnTo>
                  <a:pt x="461" y="632"/>
                </a:lnTo>
                <a:lnTo>
                  <a:pt x="461" y="640"/>
                </a:lnTo>
                <a:lnTo>
                  <a:pt x="461" y="646"/>
                </a:lnTo>
                <a:lnTo>
                  <a:pt x="46" y="648"/>
                </a:lnTo>
                <a:lnTo>
                  <a:pt x="49" y="454"/>
                </a:lnTo>
                <a:lnTo>
                  <a:pt x="46" y="449"/>
                </a:lnTo>
                <a:lnTo>
                  <a:pt x="41" y="445"/>
                </a:lnTo>
                <a:lnTo>
                  <a:pt x="35" y="440"/>
                </a:lnTo>
                <a:lnTo>
                  <a:pt x="29" y="437"/>
                </a:lnTo>
                <a:lnTo>
                  <a:pt x="24" y="432"/>
                </a:lnTo>
                <a:lnTo>
                  <a:pt x="19" y="426"/>
                </a:lnTo>
                <a:lnTo>
                  <a:pt x="18" y="421"/>
                </a:lnTo>
                <a:lnTo>
                  <a:pt x="16" y="416"/>
                </a:lnTo>
                <a:lnTo>
                  <a:pt x="19" y="413"/>
                </a:lnTo>
                <a:lnTo>
                  <a:pt x="22" y="410"/>
                </a:lnTo>
                <a:lnTo>
                  <a:pt x="27" y="405"/>
                </a:lnTo>
                <a:lnTo>
                  <a:pt x="32" y="402"/>
                </a:lnTo>
                <a:lnTo>
                  <a:pt x="38" y="399"/>
                </a:lnTo>
                <a:lnTo>
                  <a:pt x="43" y="391"/>
                </a:lnTo>
                <a:lnTo>
                  <a:pt x="43" y="384"/>
                </a:lnTo>
                <a:lnTo>
                  <a:pt x="41" y="340"/>
                </a:lnTo>
                <a:lnTo>
                  <a:pt x="38" y="332"/>
                </a:lnTo>
                <a:lnTo>
                  <a:pt x="32" y="325"/>
                </a:lnTo>
                <a:lnTo>
                  <a:pt x="29" y="319"/>
                </a:lnTo>
                <a:lnTo>
                  <a:pt x="26" y="313"/>
                </a:lnTo>
                <a:lnTo>
                  <a:pt x="22" y="306"/>
                </a:lnTo>
                <a:lnTo>
                  <a:pt x="22" y="297"/>
                </a:lnTo>
                <a:lnTo>
                  <a:pt x="24" y="292"/>
                </a:lnTo>
                <a:lnTo>
                  <a:pt x="29" y="286"/>
                </a:lnTo>
                <a:lnTo>
                  <a:pt x="34" y="279"/>
                </a:lnTo>
                <a:lnTo>
                  <a:pt x="30" y="270"/>
                </a:lnTo>
                <a:lnTo>
                  <a:pt x="26" y="256"/>
                </a:lnTo>
                <a:lnTo>
                  <a:pt x="24" y="244"/>
                </a:lnTo>
                <a:lnTo>
                  <a:pt x="21" y="232"/>
                </a:lnTo>
                <a:lnTo>
                  <a:pt x="19" y="211"/>
                </a:lnTo>
                <a:lnTo>
                  <a:pt x="16" y="194"/>
                </a:lnTo>
                <a:lnTo>
                  <a:pt x="13" y="186"/>
                </a:lnTo>
                <a:lnTo>
                  <a:pt x="10" y="178"/>
                </a:lnTo>
                <a:lnTo>
                  <a:pt x="10" y="173"/>
                </a:lnTo>
                <a:lnTo>
                  <a:pt x="11" y="167"/>
                </a:lnTo>
                <a:lnTo>
                  <a:pt x="13" y="159"/>
                </a:lnTo>
                <a:lnTo>
                  <a:pt x="13" y="149"/>
                </a:lnTo>
                <a:lnTo>
                  <a:pt x="8" y="138"/>
                </a:lnTo>
                <a:lnTo>
                  <a:pt x="8" y="130"/>
                </a:lnTo>
                <a:lnTo>
                  <a:pt x="10" y="124"/>
                </a:lnTo>
                <a:lnTo>
                  <a:pt x="10" y="116"/>
                </a:lnTo>
                <a:lnTo>
                  <a:pt x="10" y="113"/>
                </a:lnTo>
                <a:lnTo>
                  <a:pt x="7" y="109"/>
                </a:lnTo>
                <a:lnTo>
                  <a:pt x="3" y="105"/>
                </a:lnTo>
                <a:lnTo>
                  <a:pt x="3" y="100"/>
                </a:lnTo>
                <a:lnTo>
                  <a:pt x="2" y="93"/>
                </a:lnTo>
                <a:lnTo>
                  <a:pt x="3" y="87"/>
                </a:lnTo>
                <a:lnTo>
                  <a:pt x="8" y="82"/>
                </a:lnTo>
                <a:lnTo>
                  <a:pt x="11" y="78"/>
                </a:lnTo>
                <a:lnTo>
                  <a:pt x="10" y="70"/>
                </a:lnTo>
                <a:lnTo>
                  <a:pt x="8" y="63"/>
                </a:lnTo>
                <a:lnTo>
                  <a:pt x="7" y="60"/>
                </a:lnTo>
                <a:lnTo>
                  <a:pt x="3" y="54"/>
                </a:lnTo>
                <a:lnTo>
                  <a:pt x="0" y="47"/>
                </a:lnTo>
                <a:lnTo>
                  <a:pt x="150" y="47"/>
                </a:lnTo>
                <a:close/>
              </a:path>
            </a:pathLst>
          </a:custGeom>
          <a:solidFill>
            <a:schemeClr val="accent4">
              <a:lumMod val="20000"/>
              <a:lumOff val="80000"/>
            </a:schemeClr>
          </a:solidFill>
          <a:ln w="0" algn="ctr">
            <a:solidFill>
              <a:srgbClr val="808080"/>
            </a:solidFill>
            <a:round/>
            <a:headEnd/>
            <a:tailEnd/>
          </a:ln>
        </p:spPr>
        <p:txBody>
          <a:bodyPr lIns="101798" tIns="50899" rIns="101798" bIns="50899"/>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endParaRPr>
          </a:p>
        </p:txBody>
      </p:sp>
      <p:grpSp>
        <p:nvGrpSpPr>
          <p:cNvPr id="37" name="State: Michigan"/>
          <p:cNvGrpSpPr/>
          <p:nvPr/>
        </p:nvGrpSpPr>
        <p:grpSpPr>
          <a:xfrm>
            <a:off x="4753121" y="2497416"/>
            <a:ext cx="959972" cy="958300"/>
            <a:chOff x="5351726" y="2497415"/>
            <a:chExt cx="959972" cy="958300"/>
          </a:xfrm>
          <a:solidFill>
            <a:schemeClr val="bg1">
              <a:lumMod val="95000"/>
            </a:schemeClr>
          </a:solidFill>
        </p:grpSpPr>
        <p:sp>
          <p:nvSpPr>
            <p:cNvPr id="38" name="Freeform 37"/>
            <p:cNvSpPr>
              <a:spLocks/>
            </p:cNvSpPr>
            <p:nvPr/>
          </p:nvSpPr>
          <p:spPr bwMode="auto">
            <a:xfrm>
              <a:off x="5807077" y="2758910"/>
              <a:ext cx="504621" cy="696805"/>
            </a:xfrm>
            <a:custGeom>
              <a:avLst/>
              <a:gdLst>
                <a:gd name="T0" fmla="*/ 2147483647 w 338"/>
                <a:gd name="T1" fmla="*/ 2147483647 h 453"/>
                <a:gd name="T2" fmla="*/ 2147483647 w 338"/>
                <a:gd name="T3" fmla="*/ 2147483647 h 453"/>
                <a:gd name="T4" fmla="*/ 2147483647 w 338"/>
                <a:gd name="T5" fmla="*/ 2147483647 h 453"/>
                <a:gd name="T6" fmla="*/ 2147483647 w 338"/>
                <a:gd name="T7" fmla="*/ 2147483647 h 453"/>
                <a:gd name="T8" fmla="*/ 2147483647 w 338"/>
                <a:gd name="T9" fmla="*/ 2147483647 h 453"/>
                <a:gd name="T10" fmla="*/ 2147483647 w 338"/>
                <a:gd name="T11" fmla="*/ 2147483647 h 453"/>
                <a:gd name="T12" fmla="*/ 2147483647 w 338"/>
                <a:gd name="T13" fmla="*/ 2147483647 h 453"/>
                <a:gd name="T14" fmla="*/ 2147483647 w 338"/>
                <a:gd name="T15" fmla="*/ 2147483647 h 453"/>
                <a:gd name="T16" fmla="*/ 2147483647 w 338"/>
                <a:gd name="T17" fmla="*/ 2147483647 h 453"/>
                <a:gd name="T18" fmla="*/ 2147483647 w 338"/>
                <a:gd name="T19" fmla="*/ 2147483647 h 453"/>
                <a:gd name="T20" fmla="*/ 2147483647 w 338"/>
                <a:gd name="T21" fmla="*/ 2147483647 h 453"/>
                <a:gd name="T22" fmla="*/ 2147483647 w 338"/>
                <a:gd name="T23" fmla="*/ 2147483647 h 453"/>
                <a:gd name="T24" fmla="*/ 2147483647 w 338"/>
                <a:gd name="T25" fmla="*/ 2147483647 h 453"/>
                <a:gd name="T26" fmla="*/ 2147483647 w 338"/>
                <a:gd name="T27" fmla="*/ 2147483647 h 453"/>
                <a:gd name="T28" fmla="*/ 2147483647 w 338"/>
                <a:gd name="T29" fmla="*/ 2147483647 h 453"/>
                <a:gd name="T30" fmla="*/ 2147483647 w 338"/>
                <a:gd name="T31" fmla="*/ 2147483647 h 453"/>
                <a:gd name="T32" fmla="*/ 2147483647 w 338"/>
                <a:gd name="T33" fmla="*/ 2147483647 h 453"/>
                <a:gd name="T34" fmla="*/ 2147483647 w 338"/>
                <a:gd name="T35" fmla="*/ 2147483647 h 453"/>
                <a:gd name="T36" fmla="*/ 2147483647 w 338"/>
                <a:gd name="T37" fmla="*/ 2147483647 h 453"/>
                <a:gd name="T38" fmla="*/ 2147483647 w 338"/>
                <a:gd name="T39" fmla="*/ 2147483647 h 453"/>
                <a:gd name="T40" fmla="*/ 2147483647 w 338"/>
                <a:gd name="T41" fmla="*/ 2147483647 h 453"/>
                <a:gd name="T42" fmla="*/ 2147483647 w 338"/>
                <a:gd name="T43" fmla="*/ 2147483647 h 453"/>
                <a:gd name="T44" fmla="*/ 2147483647 w 338"/>
                <a:gd name="T45" fmla="*/ 2147483647 h 453"/>
                <a:gd name="T46" fmla="*/ 2147483647 w 338"/>
                <a:gd name="T47" fmla="*/ 2147483647 h 453"/>
                <a:gd name="T48" fmla="*/ 2147483647 w 338"/>
                <a:gd name="T49" fmla="*/ 2147483647 h 453"/>
                <a:gd name="T50" fmla="*/ 2147483647 w 338"/>
                <a:gd name="T51" fmla="*/ 2147483647 h 453"/>
                <a:gd name="T52" fmla="*/ 2147483647 w 338"/>
                <a:gd name="T53" fmla="*/ 2147483647 h 453"/>
                <a:gd name="T54" fmla="*/ 2147483647 w 338"/>
                <a:gd name="T55" fmla="*/ 2147483647 h 453"/>
                <a:gd name="T56" fmla="*/ 2147483647 w 338"/>
                <a:gd name="T57" fmla="*/ 2147483647 h 453"/>
                <a:gd name="T58" fmla="*/ 2147483647 w 338"/>
                <a:gd name="T59" fmla="*/ 2147483647 h 453"/>
                <a:gd name="T60" fmla="*/ 2147483647 w 338"/>
                <a:gd name="T61" fmla="*/ 2147483647 h 453"/>
                <a:gd name="T62" fmla="*/ 2147483647 w 338"/>
                <a:gd name="T63" fmla="*/ 2147483647 h 453"/>
                <a:gd name="T64" fmla="*/ 2147483647 w 338"/>
                <a:gd name="T65" fmla="*/ 2147483647 h 453"/>
                <a:gd name="T66" fmla="*/ 2147483647 w 338"/>
                <a:gd name="T67" fmla="*/ 2147483647 h 453"/>
                <a:gd name="T68" fmla="*/ 2147483647 w 338"/>
                <a:gd name="T69" fmla="*/ 2147483647 h 453"/>
                <a:gd name="T70" fmla="*/ 2147483647 w 338"/>
                <a:gd name="T71" fmla="*/ 2147483647 h 453"/>
                <a:gd name="T72" fmla="*/ 2147483647 w 338"/>
                <a:gd name="T73" fmla="*/ 2147483647 h 453"/>
                <a:gd name="T74" fmla="*/ 0 w 338"/>
                <a:gd name="T75" fmla="*/ 2147483647 h 453"/>
                <a:gd name="T76" fmla="*/ 2147483647 w 338"/>
                <a:gd name="T77" fmla="*/ 2147483647 h 453"/>
                <a:gd name="T78" fmla="*/ 2147483647 w 338"/>
                <a:gd name="T79" fmla="*/ 2147483647 h 453"/>
                <a:gd name="T80" fmla="*/ 2147483647 w 338"/>
                <a:gd name="T81" fmla="*/ 2147483647 h 453"/>
                <a:gd name="T82" fmla="*/ 2147483647 w 338"/>
                <a:gd name="T83" fmla="*/ 2147483647 h 453"/>
                <a:gd name="T84" fmla="*/ 2147483647 w 338"/>
                <a:gd name="T85" fmla="*/ 2147483647 h 453"/>
                <a:gd name="T86" fmla="*/ 2147483647 w 338"/>
                <a:gd name="T87" fmla="*/ 2147483647 h 453"/>
                <a:gd name="T88" fmla="*/ 2147483647 w 338"/>
                <a:gd name="T89" fmla="*/ 2147483647 h 453"/>
                <a:gd name="T90" fmla="*/ 2147483647 w 338"/>
                <a:gd name="T91" fmla="*/ 2147483647 h 453"/>
                <a:gd name="T92" fmla="*/ 2147483647 w 338"/>
                <a:gd name="T93" fmla="*/ 2147483647 h 453"/>
                <a:gd name="T94" fmla="*/ 2147483647 w 338"/>
                <a:gd name="T95" fmla="*/ 2147483647 h 453"/>
                <a:gd name="T96" fmla="*/ 2147483647 w 338"/>
                <a:gd name="T97" fmla="*/ 2147483647 h 453"/>
                <a:gd name="T98" fmla="*/ 2147483647 w 338"/>
                <a:gd name="T99" fmla="*/ 2147483647 h 453"/>
                <a:gd name="T100" fmla="*/ 2147483647 w 338"/>
                <a:gd name="T101" fmla="*/ 2147483647 h 453"/>
                <a:gd name="T102" fmla="*/ 2147483647 w 338"/>
                <a:gd name="T103" fmla="*/ 2147483647 h 453"/>
                <a:gd name="T104" fmla="*/ 2147483647 w 338"/>
                <a:gd name="T105" fmla="*/ 2147483647 h 453"/>
                <a:gd name="T106" fmla="*/ 2147483647 w 338"/>
                <a:gd name="T107" fmla="*/ 2147483647 h 45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38"/>
                <a:gd name="T163" fmla="*/ 0 h 453"/>
                <a:gd name="T164" fmla="*/ 338 w 338"/>
                <a:gd name="T165" fmla="*/ 453 h 45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38" h="453">
                  <a:moveTo>
                    <a:pt x="108" y="3"/>
                  </a:moveTo>
                  <a:lnTo>
                    <a:pt x="116" y="5"/>
                  </a:lnTo>
                  <a:lnTo>
                    <a:pt x="121" y="0"/>
                  </a:lnTo>
                  <a:lnTo>
                    <a:pt x="127" y="2"/>
                  </a:lnTo>
                  <a:lnTo>
                    <a:pt x="132" y="5"/>
                  </a:lnTo>
                  <a:lnTo>
                    <a:pt x="140" y="3"/>
                  </a:lnTo>
                  <a:lnTo>
                    <a:pt x="144" y="6"/>
                  </a:lnTo>
                  <a:lnTo>
                    <a:pt x="148" y="3"/>
                  </a:lnTo>
                  <a:lnTo>
                    <a:pt x="151" y="3"/>
                  </a:lnTo>
                  <a:lnTo>
                    <a:pt x="156" y="5"/>
                  </a:lnTo>
                  <a:lnTo>
                    <a:pt x="162" y="9"/>
                  </a:lnTo>
                  <a:lnTo>
                    <a:pt x="165" y="11"/>
                  </a:lnTo>
                  <a:lnTo>
                    <a:pt x="170" y="16"/>
                  </a:lnTo>
                  <a:lnTo>
                    <a:pt x="175" y="17"/>
                  </a:lnTo>
                  <a:lnTo>
                    <a:pt x="181" y="19"/>
                  </a:lnTo>
                  <a:lnTo>
                    <a:pt x="184" y="22"/>
                  </a:lnTo>
                  <a:lnTo>
                    <a:pt x="190" y="22"/>
                  </a:lnTo>
                  <a:lnTo>
                    <a:pt x="194" y="25"/>
                  </a:lnTo>
                  <a:lnTo>
                    <a:pt x="198" y="27"/>
                  </a:lnTo>
                  <a:lnTo>
                    <a:pt x="203" y="30"/>
                  </a:lnTo>
                  <a:lnTo>
                    <a:pt x="208" y="30"/>
                  </a:lnTo>
                  <a:lnTo>
                    <a:pt x="214" y="30"/>
                  </a:lnTo>
                  <a:lnTo>
                    <a:pt x="218" y="33"/>
                  </a:lnTo>
                  <a:lnTo>
                    <a:pt x="222" y="37"/>
                  </a:lnTo>
                  <a:lnTo>
                    <a:pt x="224" y="40"/>
                  </a:lnTo>
                  <a:lnTo>
                    <a:pt x="229" y="44"/>
                  </a:lnTo>
                  <a:lnTo>
                    <a:pt x="232" y="46"/>
                  </a:lnTo>
                  <a:lnTo>
                    <a:pt x="232" y="49"/>
                  </a:lnTo>
                  <a:lnTo>
                    <a:pt x="235" y="52"/>
                  </a:lnTo>
                  <a:lnTo>
                    <a:pt x="235" y="56"/>
                  </a:lnTo>
                  <a:lnTo>
                    <a:pt x="232" y="60"/>
                  </a:lnTo>
                  <a:lnTo>
                    <a:pt x="230" y="65"/>
                  </a:lnTo>
                  <a:lnTo>
                    <a:pt x="230" y="68"/>
                  </a:lnTo>
                  <a:lnTo>
                    <a:pt x="230" y="73"/>
                  </a:lnTo>
                  <a:lnTo>
                    <a:pt x="233" y="76"/>
                  </a:lnTo>
                  <a:lnTo>
                    <a:pt x="235" y="78"/>
                  </a:lnTo>
                  <a:lnTo>
                    <a:pt x="237" y="84"/>
                  </a:lnTo>
                  <a:lnTo>
                    <a:pt x="240" y="89"/>
                  </a:lnTo>
                  <a:lnTo>
                    <a:pt x="240" y="94"/>
                  </a:lnTo>
                  <a:lnTo>
                    <a:pt x="243" y="98"/>
                  </a:lnTo>
                  <a:lnTo>
                    <a:pt x="245" y="105"/>
                  </a:lnTo>
                  <a:lnTo>
                    <a:pt x="245" y="111"/>
                  </a:lnTo>
                  <a:lnTo>
                    <a:pt x="248" y="116"/>
                  </a:lnTo>
                  <a:lnTo>
                    <a:pt x="248" y="121"/>
                  </a:lnTo>
                  <a:lnTo>
                    <a:pt x="251" y="125"/>
                  </a:lnTo>
                  <a:lnTo>
                    <a:pt x="249" y="132"/>
                  </a:lnTo>
                  <a:lnTo>
                    <a:pt x="248" y="137"/>
                  </a:lnTo>
                  <a:lnTo>
                    <a:pt x="245" y="141"/>
                  </a:lnTo>
                  <a:lnTo>
                    <a:pt x="241" y="146"/>
                  </a:lnTo>
                  <a:lnTo>
                    <a:pt x="240" y="152"/>
                  </a:lnTo>
                  <a:lnTo>
                    <a:pt x="238" y="157"/>
                  </a:lnTo>
                  <a:lnTo>
                    <a:pt x="235" y="164"/>
                  </a:lnTo>
                  <a:lnTo>
                    <a:pt x="232" y="167"/>
                  </a:lnTo>
                  <a:lnTo>
                    <a:pt x="227" y="172"/>
                  </a:lnTo>
                  <a:lnTo>
                    <a:pt x="222" y="176"/>
                  </a:lnTo>
                  <a:lnTo>
                    <a:pt x="219" y="181"/>
                  </a:lnTo>
                  <a:lnTo>
                    <a:pt x="216" y="186"/>
                  </a:lnTo>
                  <a:lnTo>
                    <a:pt x="216" y="192"/>
                  </a:lnTo>
                  <a:lnTo>
                    <a:pt x="214" y="195"/>
                  </a:lnTo>
                  <a:lnTo>
                    <a:pt x="214" y="200"/>
                  </a:lnTo>
                  <a:lnTo>
                    <a:pt x="214" y="206"/>
                  </a:lnTo>
                  <a:lnTo>
                    <a:pt x="214" y="211"/>
                  </a:lnTo>
                  <a:lnTo>
                    <a:pt x="216" y="214"/>
                  </a:lnTo>
                  <a:lnTo>
                    <a:pt x="221" y="218"/>
                  </a:lnTo>
                  <a:lnTo>
                    <a:pt x="225" y="218"/>
                  </a:lnTo>
                  <a:lnTo>
                    <a:pt x="232" y="219"/>
                  </a:lnTo>
                  <a:lnTo>
                    <a:pt x="235" y="214"/>
                  </a:lnTo>
                  <a:lnTo>
                    <a:pt x="241" y="211"/>
                  </a:lnTo>
                  <a:lnTo>
                    <a:pt x="248" y="205"/>
                  </a:lnTo>
                  <a:lnTo>
                    <a:pt x="249" y="199"/>
                  </a:lnTo>
                  <a:lnTo>
                    <a:pt x="249" y="194"/>
                  </a:lnTo>
                  <a:lnTo>
                    <a:pt x="251" y="189"/>
                  </a:lnTo>
                  <a:lnTo>
                    <a:pt x="252" y="184"/>
                  </a:lnTo>
                  <a:lnTo>
                    <a:pt x="252" y="178"/>
                  </a:lnTo>
                  <a:lnTo>
                    <a:pt x="256" y="176"/>
                  </a:lnTo>
                  <a:lnTo>
                    <a:pt x="262" y="175"/>
                  </a:lnTo>
                  <a:lnTo>
                    <a:pt x="265" y="172"/>
                  </a:lnTo>
                  <a:lnTo>
                    <a:pt x="270" y="172"/>
                  </a:lnTo>
                  <a:lnTo>
                    <a:pt x="275" y="168"/>
                  </a:lnTo>
                  <a:lnTo>
                    <a:pt x="278" y="167"/>
                  </a:lnTo>
                  <a:lnTo>
                    <a:pt x="281" y="164"/>
                  </a:lnTo>
                  <a:lnTo>
                    <a:pt x="284" y="164"/>
                  </a:lnTo>
                  <a:lnTo>
                    <a:pt x="291" y="165"/>
                  </a:lnTo>
                  <a:lnTo>
                    <a:pt x="294" y="168"/>
                  </a:lnTo>
                  <a:lnTo>
                    <a:pt x="297" y="173"/>
                  </a:lnTo>
                  <a:lnTo>
                    <a:pt x="299" y="179"/>
                  </a:lnTo>
                  <a:lnTo>
                    <a:pt x="302" y="183"/>
                  </a:lnTo>
                  <a:lnTo>
                    <a:pt x="306" y="186"/>
                  </a:lnTo>
                  <a:lnTo>
                    <a:pt x="310" y="192"/>
                  </a:lnTo>
                  <a:lnTo>
                    <a:pt x="313" y="197"/>
                  </a:lnTo>
                  <a:lnTo>
                    <a:pt x="316" y="202"/>
                  </a:lnTo>
                  <a:lnTo>
                    <a:pt x="319" y="205"/>
                  </a:lnTo>
                  <a:lnTo>
                    <a:pt x="319" y="211"/>
                  </a:lnTo>
                  <a:lnTo>
                    <a:pt x="319" y="216"/>
                  </a:lnTo>
                  <a:lnTo>
                    <a:pt x="322" y="221"/>
                  </a:lnTo>
                  <a:lnTo>
                    <a:pt x="322" y="227"/>
                  </a:lnTo>
                  <a:lnTo>
                    <a:pt x="322" y="232"/>
                  </a:lnTo>
                  <a:lnTo>
                    <a:pt x="324" y="238"/>
                  </a:lnTo>
                  <a:lnTo>
                    <a:pt x="326" y="243"/>
                  </a:lnTo>
                  <a:lnTo>
                    <a:pt x="327" y="246"/>
                  </a:lnTo>
                  <a:lnTo>
                    <a:pt x="329" y="251"/>
                  </a:lnTo>
                  <a:lnTo>
                    <a:pt x="332" y="256"/>
                  </a:lnTo>
                  <a:lnTo>
                    <a:pt x="337" y="259"/>
                  </a:lnTo>
                  <a:lnTo>
                    <a:pt x="338" y="267"/>
                  </a:lnTo>
                  <a:lnTo>
                    <a:pt x="338" y="275"/>
                  </a:lnTo>
                  <a:lnTo>
                    <a:pt x="338" y="286"/>
                  </a:lnTo>
                  <a:lnTo>
                    <a:pt x="338" y="297"/>
                  </a:lnTo>
                  <a:lnTo>
                    <a:pt x="338" y="308"/>
                  </a:lnTo>
                  <a:lnTo>
                    <a:pt x="337" y="315"/>
                  </a:lnTo>
                  <a:lnTo>
                    <a:pt x="333" y="319"/>
                  </a:lnTo>
                  <a:lnTo>
                    <a:pt x="327" y="318"/>
                  </a:lnTo>
                  <a:lnTo>
                    <a:pt x="322" y="319"/>
                  </a:lnTo>
                  <a:lnTo>
                    <a:pt x="318" y="324"/>
                  </a:lnTo>
                  <a:lnTo>
                    <a:pt x="314" y="326"/>
                  </a:lnTo>
                  <a:lnTo>
                    <a:pt x="313" y="329"/>
                  </a:lnTo>
                  <a:lnTo>
                    <a:pt x="311" y="337"/>
                  </a:lnTo>
                  <a:lnTo>
                    <a:pt x="310" y="342"/>
                  </a:lnTo>
                  <a:lnTo>
                    <a:pt x="313" y="348"/>
                  </a:lnTo>
                  <a:lnTo>
                    <a:pt x="313" y="354"/>
                  </a:lnTo>
                  <a:lnTo>
                    <a:pt x="308" y="359"/>
                  </a:lnTo>
                  <a:lnTo>
                    <a:pt x="305" y="365"/>
                  </a:lnTo>
                  <a:lnTo>
                    <a:pt x="303" y="373"/>
                  </a:lnTo>
                  <a:lnTo>
                    <a:pt x="302" y="380"/>
                  </a:lnTo>
                  <a:lnTo>
                    <a:pt x="302" y="391"/>
                  </a:lnTo>
                  <a:lnTo>
                    <a:pt x="302" y="397"/>
                  </a:lnTo>
                  <a:lnTo>
                    <a:pt x="297" y="402"/>
                  </a:lnTo>
                  <a:lnTo>
                    <a:pt x="292" y="410"/>
                  </a:lnTo>
                  <a:lnTo>
                    <a:pt x="289" y="415"/>
                  </a:lnTo>
                  <a:lnTo>
                    <a:pt x="286" y="419"/>
                  </a:lnTo>
                  <a:lnTo>
                    <a:pt x="283" y="424"/>
                  </a:lnTo>
                  <a:lnTo>
                    <a:pt x="279" y="429"/>
                  </a:lnTo>
                  <a:lnTo>
                    <a:pt x="267" y="427"/>
                  </a:lnTo>
                  <a:lnTo>
                    <a:pt x="260" y="432"/>
                  </a:lnTo>
                  <a:lnTo>
                    <a:pt x="251" y="432"/>
                  </a:lnTo>
                  <a:lnTo>
                    <a:pt x="235" y="432"/>
                  </a:lnTo>
                  <a:lnTo>
                    <a:pt x="227" y="435"/>
                  </a:lnTo>
                  <a:lnTo>
                    <a:pt x="211" y="437"/>
                  </a:lnTo>
                  <a:lnTo>
                    <a:pt x="194" y="437"/>
                  </a:lnTo>
                  <a:lnTo>
                    <a:pt x="189" y="442"/>
                  </a:lnTo>
                  <a:lnTo>
                    <a:pt x="176" y="440"/>
                  </a:lnTo>
                  <a:lnTo>
                    <a:pt x="170" y="442"/>
                  </a:lnTo>
                  <a:lnTo>
                    <a:pt x="167" y="437"/>
                  </a:lnTo>
                  <a:lnTo>
                    <a:pt x="160" y="437"/>
                  </a:lnTo>
                  <a:lnTo>
                    <a:pt x="151" y="435"/>
                  </a:lnTo>
                  <a:lnTo>
                    <a:pt x="143" y="440"/>
                  </a:lnTo>
                  <a:lnTo>
                    <a:pt x="108" y="440"/>
                  </a:lnTo>
                  <a:lnTo>
                    <a:pt x="95" y="442"/>
                  </a:lnTo>
                  <a:lnTo>
                    <a:pt x="86" y="445"/>
                  </a:lnTo>
                  <a:lnTo>
                    <a:pt x="63" y="448"/>
                  </a:lnTo>
                  <a:lnTo>
                    <a:pt x="48" y="450"/>
                  </a:lnTo>
                  <a:lnTo>
                    <a:pt x="25" y="450"/>
                  </a:lnTo>
                  <a:lnTo>
                    <a:pt x="0" y="453"/>
                  </a:lnTo>
                  <a:lnTo>
                    <a:pt x="14" y="435"/>
                  </a:lnTo>
                  <a:lnTo>
                    <a:pt x="20" y="427"/>
                  </a:lnTo>
                  <a:lnTo>
                    <a:pt x="24" y="419"/>
                  </a:lnTo>
                  <a:lnTo>
                    <a:pt x="27" y="411"/>
                  </a:lnTo>
                  <a:lnTo>
                    <a:pt x="28" y="403"/>
                  </a:lnTo>
                  <a:lnTo>
                    <a:pt x="30" y="392"/>
                  </a:lnTo>
                  <a:lnTo>
                    <a:pt x="36" y="375"/>
                  </a:lnTo>
                  <a:lnTo>
                    <a:pt x="38" y="362"/>
                  </a:lnTo>
                  <a:lnTo>
                    <a:pt x="41" y="351"/>
                  </a:lnTo>
                  <a:lnTo>
                    <a:pt x="43" y="337"/>
                  </a:lnTo>
                  <a:lnTo>
                    <a:pt x="43" y="322"/>
                  </a:lnTo>
                  <a:lnTo>
                    <a:pt x="43" y="308"/>
                  </a:lnTo>
                  <a:lnTo>
                    <a:pt x="40" y="299"/>
                  </a:lnTo>
                  <a:lnTo>
                    <a:pt x="36" y="291"/>
                  </a:lnTo>
                  <a:lnTo>
                    <a:pt x="32" y="286"/>
                  </a:lnTo>
                  <a:lnTo>
                    <a:pt x="27" y="276"/>
                  </a:lnTo>
                  <a:lnTo>
                    <a:pt x="22" y="268"/>
                  </a:lnTo>
                  <a:lnTo>
                    <a:pt x="17" y="261"/>
                  </a:lnTo>
                  <a:lnTo>
                    <a:pt x="16" y="254"/>
                  </a:lnTo>
                  <a:lnTo>
                    <a:pt x="13" y="248"/>
                  </a:lnTo>
                  <a:lnTo>
                    <a:pt x="8" y="241"/>
                  </a:lnTo>
                  <a:lnTo>
                    <a:pt x="8" y="232"/>
                  </a:lnTo>
                  <a:lnTo>
                    <a:pt x="9" y="224"/>
                  </a:lnTo>
                  <a:lnTo>
                    <a:pt x="13" y="218"/>
                  </a:lnTo>
                  <a:lnTo>
                    <a:pt x="14" y="210"/>
                  </a:lnTo>
                  <a:lnTo>
                    <a:pt x="13" y="202"/>
                  </a:lnTo>
                  <a:lnTo>
                    <a:pt x="13" y="192"/>
                  </a:lnTo>
                  <a:lnTo>
                    <a:pt x="14" y="183"/>
                  </a:lnTo>
                  <a:lnTo>
                    <a:pt x="24" y="175"/>
                  </a:lnTo>
                  <a:lnTo>
                    <a:pt x="22" y="127"/>
                  </a:lnTo>
                  <a:lnTo>
                    <a:pt x="25" y="119"/>
                  </a:lnTo>
                  <a:lnTo>
                    <a:pt x="27" y="114"/>
                  </a:lnTo>
                  <a:lnTo>
                    <a:pt x="28" y="105"/>
                  </a:lnTo>
                  <a:lnTo>
                    <a:pt x="30" y="100"/>
                  </a:lnTo>
                  <a:lnTo>
                    <a:pt x="35" y="98"/>
                  </a:lnTo>
                  <a:lnTo>
                    <a:pt x="41" y="92"/>
                  </a:lnTo>
                  <a:lnTo>
                    <a:pt x="48" y="87"/>
                  </a:lnTo>
                  <a:lnTo>
                    <a:pt x="52" y="83"/>
                  </a:lnTo>
                  <a:lnTo>
                    <a:pt x="55" y="79"/>
                  </a:lnTo>
                  <a:lnTo>
                    <a:pt x="60" y="78"/>
                  </a:lnTo>
                  <a:lnTo>
                    <a:pt x="63" y="83"/>
                  </a:lnTo>
                  <a:lnTo>
                    <a:pt x="63" y="87"/>
                  </a:lnTo>
                  <a:lnTo>
                    <a:pt x="63" y="92"/>
                  </a:lnTo>
                  <a:lnTo>
                    <a:pt x="65" y="98"/>
                  </a:lnTo>
                  <a:lnTo>
                    <a:pt x="65" y="103"/>
                  </a:lnTo>
                  <a:lnTo>
                    <a:pt x="67" y="106"/>
                  </a:lnTo>
                  <a:lnTo>
                    <a:pt x="71" y="106"/>
                  </a:lnTo>
                  <a:lnTo>
                    <a:pt x="73" y="100"/>
                  </a:lnTo>
                  <a:lnTo>
                    <a:pt x="75" y="95"/>
                  </a:lnTo>
                  <a:lnTo>
                    <a:pt x="79" y="91"/>
                  </a:lnTo>
                  <a:lnTo>
                    <a:pt x="81" y="86"/>
                  </a:lnTo>
                  <a:lnTo>
                    <a:pt x="81" y="60"/>
                  </a:lnTo>
                  <a:lnTo>
                    <a:pt x="86" y="56"/>
                  </a:lnTo>
                  <a:lnTo>
                    <a:pt x="90" y="52"/>
                  </a:lnTo>
                  <a:lnTo>
                    <a:pt x="92" y="54"/>
                  </a:lnTo>
                  <a:lnTo>
                    <a:pt x="97" y="49"/>
                  </a:lnTo>
                  <a:lnTo>
                    <a:pt x="103" y="46"/>
                  </a:lnTo>
                  <a:lnTo>
                    <a:pt x="108" y="43"/>
                  </a:lnTo>
                  <a:lnTo>
                    <a:pt x="111" y="38"/>
                  </a:lnTo>
                  <a:lnTo>
                    <a:pt x="106" y="33"/>
                  </a:lnTo>
                  <a:lnTo>
                    <a:pt x="102" y="29"/>
                  </a:lnTo>
                  <a:lnTo>
                    <a:pt x="98" y="22"/>
                  </a:lnTo>
                  <a:lnTo>
                    <a:pt x="98" y="16"/>
                  </a:lnTo>
                  <a:lnTo>
                    <a:pt x="98" y="13"/>
                  </a:lnTo>
                  <a:lnTo>
                    <a:pt x="102" y="9"/>
                  </a:lnTo>
                  <a:lnTo>
                    <a:pt x="105" y="5"/>
                  </a:lnTo>
                  <a:lnTo>
                    <a:pt x="108" y="3"/>
                  </a:lnTo>
                  <a:close/>
                </a:path>
              </a:pathLst>
            </a:custGeom>
            <a:grpFill/>
            <a:ln w="0" algn="ctr">
              <a:solidFill>
                <a:srgbClr val="808080"/>
              </a:solidFill>
              <a:round/>
              <a:headEnd/>
              <a:tailEnd/>
            </a:ln>
          </p:spPr>
          <p:txBody>
            <a:bodyPr lIns="101882" tIns="50941" rIns="101882" bIns="50941"/>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endParaRPr>
            </a:p>
          </p:txBody>
        </p:sp>
        <p:sp>
          <p:nvSpPr>
            <p:cNvPr id="39" name="Freeform 38"/>
            <p:cNvSpPr>
              <a:spLocks/>
            </p:cNvSpPr>
            <p:nvPr/>
          </p:nvSpPr>
          <p:spPr bwMode="auto">
            <a:xfrm>
              <a:off x="5351726" y="2497415"/>
              <a:ext cx="716620" cy="401470"/>
            </a:xfrm>
            <a:custGeom>
              <a:avLst/>
              <a:gdLst>
                <a:gd name="T0" fmla="*/ 2147483647 w 480"/>
                <a:gd name="T1" fmla="*/ 2147483647 h 261"/>
                <a:gd name="T2" fmla="*/ 2147483647 w 480"/>
                <a:gd name="T3" fmla="*/ 2147483647 h 261"/>
                <a:gd name="T4" fmla="*/ 2147483647 w 480"/>
                <a:gd name="T5" fmla="*/ 2147483647 h 261"/>
                <a:gd name="T6" fmla="*/ 2147483647 w 480"/>
                <a:gd name="T7" fmla="*/ 2147483647 h 261"/>
                <a:gd name="T8" fmla="*/ 2147483647 w 480"/>
                <a:gd name="T9" fmla="*/ 2147483647 h 261"/>
                <a:gd name="T10" fmla="*/ 2147483647 w 480"/>
                <a:gd name="T11" fmla="*/ 2147483647 h 261"/>
                <a:gd name="T12" fmla="*/ 2147483647 w 480"/>
                <a:gd name="T13" fmla="*/ 0 h 261"/>
                <a:gd name="T14" fmla="*/ 2147483647 w 480"/>
                <a:gd name="T15" fmla="*/ 2147483647 h 261"/>
                <a:gd name="T16" fmla="*/ 2147483647 w 480"/>
                <a:gd name="T17" fmla="*/ 2147483647 h 261"/>
                <a:gd name="T18" fmla="*/ 2147483647 w 480"/>
                <a:gd name="T19" fmla="*/ 2147483647 h 261"/>
                <a:gd name="T20" fmla="*/ 2147483647 w 480"/>
                <a:gd name="T21" fmla="*/ 2147483647 h 261"/>
                <a:gd name="T22" fmla="*/ 2147483647 w 480"/>
                <a:gd name="T23" fmla="*/ 2147483647 h 261"/>
                <a:gd name="T24" fmla="*/ 2147483647 w 480"/>
                <a:gd name="T25" fmla="*/ 2147483647 h 261"/>
                <a:gd name="T26" fmla="*/ 2147483647 w 480"/>
                <a:gd name="T27" fmla="*/ 2147483647 h 261"/>
                <a:gd name="T28" fmla="*/ 2147483647 w 480"/>
                <a:gd name="T29" fmla="*/ 2147483647 h 261"/>
                <a:gd name="T30" fmla="*/ 2147483647 w 480"/>
                <a:gd name="T31" fmla="*/ 2147483647 h 261"/>
                <a:gd name="T32" fmla="*/ 2147483647 w 480"/>
                <a:gd name="T33" fmla="*/ 2147483647 h 261"/>
                <a:gd name="T34" fmla="*/ 2147483647 w 480"/>
                <a:gd name="T35" fmla="*/ 2147483647 h 261"/>
                <a:gd name="T36" fmla="*/ 2147483647 w 480"/>
                <a:gd name="T37" fmla="*/ 2147483647 h 261"/>
                <a:gd name="T38" fmla="*/ 2147483647 w 480"/>
                <a:gd name="T39" fmla="*/ 2147483647 h 261"/>
                <a:gd name="T40" fmla="*/ 2147483647 w 480"/>
                <a:gd name="T41" fmla="*/ 2147483647 h 261"/>
                <a:gd name="T42" fmla="*/ 2147483647 w 480"/>
                <a:gd name="T43" fmla="*/ 2147483647 h 261"/>
                <a:gd name="T44" fmla="*/ 2147483647 w 480"/>
                <a:gd name="T45" fmla="*/ 2147483647 h 261"/>
                <a:gd name="T46" fmla="*/ 2147483647 w 480"/>
                <a:gd name="T47" fmla="*/ 2147483647 h 261"/>
                <a:gd name="T48" fmla="*/ 2147483647 w 480"/>
                <a:gd name="T49" fmla="*/ 2147483647 h 261"/>
                <a:gd name="T50" fmla="*/ 2147483647 w 480"/>
                <a:gd name="T51" fmla="*/ 2147483647 h 261"/>
                <a:gd name="T52" fmla="*/ 2147483647 w 480"/>
                <a:gd name="T53" fmla="*/ 2147483647 h 261"/>
                <a:gd name="T54" fmla="*/ 2147483647 w 480"/>
                <a:gd name="T55" fmla="*/ 2147483647 h 261"/>
                <a:gd name="T56" fmla="*/ 2147483647 w 480"/>
                <a:gd name="T57" fmla="*/ 2147483647 h 261"/>
                <a:gd name="T58" fmla="*/ 2147483647 w 480"/>
                <a:gd name="T59" fmla="*/ 2147483647 h 261"/>
                <a:gd name="T60" fmla="*/ 2147483647 w 480"/>
                <a:gd name="T61" fmla="*/ 2147483647 h 261"/>
                <a:gd name="T62" fmla="*/ 2147483647 w 480"/>
                <a:gd name="T63" fmla="*/ 2147483647 h 261"/>
                <a:gd name="T64" fmla="*/ 2147483647 w 480"/>
                <a:gd name="T65" fmla="*/ 2147483647 h 261"/>
                <a:gd name="T66" fmla="*/ 2147483647 w 480"/>
                <a:gd name="T67" fmla="*/ 2147483647 h 261"/>
                <a:gd name="T68" fmla="*/ 2147483647 w 480"/>
                <a:gd name="T69" fmla="*/ 2147483647 h 261"/>
                <a:gd name="T70" fmla="*/ 2147483647 w 480"/>
                <a:gd name="T71" fmla="*/ 2147483647 h 261"/>
                <a:gd name="T72" fmla="*/ 2147483647 w 480"/>
                <a:gd name="T73" fmla="*/ 2147483647 h 261"/>
                <a:gd name="T74" fmla="*/ 2147483647 w 480"/>
                <a:gd name="T75" fmla="*/ 2147483647 h 261"/>
                <a:gd name="T76" fmla="*/ 2147483647 w 480"/>
                <a:gd name="T77" fmla="*/ 2147483647 h 261"/>
                <a:gd name="T78" fmla="*/ 2147483647 w 480"/>
                <a:gd name="T79" fmla="*/ 2147483647 h 261"/>
                <a:gd name="T80" fmla="*/ 2147483647 w 480"/>
                <a:gd name="T81" fmla="*/ 2147483647 h 261"/>
                <a:gd name="T82" fmla="*/ 2147483647 w 480"/>
                <a:gd name="T83" fmla="*/ 2147483647 h 261"/>
                <a:gd name="T84" fmla="*/ 2147483647 w 480"/>
                <a:gd name="T85" fmla="*/ 2147483647 h 261"/>
                <a:gd name="T86" fmla="*/ 2147483647 w 480"/>
                <a:gd name="T87" fmla="*/ 2147483647 h 261"/>
                <a:gd name="T88" fmla="*/ 2147483647 w 480"/>
                <a:gd name="T89" fmla="*/ 2147483647 h 261"/>
                <a:gd name="T90" fmla="*/ 2147483647 w 480"/>
                <a:gd name="T91" fmla="*/ 2147483647 h 261"/>
                <a:gd name="T92" fmla="*/ 2147483647 w 480"/>
                <a:gd name="T93" fmla="*/ 2147483647 h 261"/>
                <a:gd name="T94" fmla="*/ 2147483647 w 480"/>
                <a:gd name="T95" fmla="*/ 2147483647 h 261"/>
                <a:gd name="T96" fmla="*/ 2147483647 w 480"/>
                <a:gd name="T97" fmla="*/ 2147483647 h 261"/>
                <a:gd name="T98" fmla="*/ 2147483647 w 480"/>
                <a:gd name="T99" fmla="*/ 2147483647 h 261"/>
                <a:gd name="T100" fmla="*/ 2147483647 w 480"/>
                <a:gd name="T101" fmla="*/ 2147483647 h 261"/>
                <a:gd name="T102" fmla="*/ 2147483647 w 480"/>
                <a:gd name="T103" fmla="*/ 2147483647 h 261"/>
                <a:gd name="T104" fmla="*/ 2147483647 w 480"/>
                <a:gd name="T105" fmla="*/ 2147483647 h 261"/>
                <a:gd name="T106" fmla="*/ 2147483647 w 480"/>
                <a:gd name="T107" fmla="*/ 2147483647 h 261"/>
                <a:gd name="T108" fmla="*/ 2147483647 w 480"/>
                <a:gd name="T109" fmla="*/ 2147483647 h 261"/>
                <a:gd name="T110" fmla="*/ 2147483647 w 480"/>
                <a:gd name="T111" fmla="*/ 2147483647 h 261"/>
                <a:gd name="T112" fmla="*/ 2147483647 w 480"/>
                <a:gd name="T113" fmla="*/ 2147483647 h 261"/>
                <a:gd name="T114" fmla="*/ 2147483647 w 480"/>
                <a:gd name="T115" fmla="*/ 2147483647 h 261"/>
                <a:gd name="T116" fmla="*/ 2147483647 w 480"/>
                <a:gd name="T117" fmla="*/ 2147483647 h 261"/>
                <a:gd name="T118" fmla="*/ 2147483647 w 480"/>
                <a:gd name="T119" fmla="*/ 2147483647 h 261"/>
                <a:gd name="T120" fmla="*/ 2147483647 w 480"/>
                <a:gd name="T121" fmla="*/ 2147483647 h 261"/>
                <a:gd name="T122" fmla="*/ 2147483647 w 480"/>
                <a:gd name="T123" fmla="*/ 2147483647 h 261"/>
                <a:gd name="T124" fmla="*/ 0 w 480"/>
                <a:gd name="T125" fmla="*/ 2147483647 h 26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80"/>
                <a:gd name="T190" fmla="*/ 0 h 261"/>
                <a:gd name="T191" fmla="*/ 480 w 480"/>
                <a:gd name="T192" fmla="*/ 261 h 261"/>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80" h="261">
                  <a:moveTo>
                    <a:pt x="1" y="113"/>
                  </a:moveTo>
                  <a:lnTo>
                    <a:pt x="11" y="106"/>
                  </a:lnTo>
                  <a:lnTo>
                    <a:pt x="19" y="102"/>
                  </a:lnTo>
                  <a:lnTo>
                    <a:pt x="30" y="92"/>
                  </a:lnTo>
                  <a:lnTo>
                    <a:pt x="36" y="87"/>
                  </a:lnTo>
                  <a:lnTo>
                    <a:pt x="44" y="84"/>
                  </a:lnTo>
                  <a:lnTo>
                    <a:pt x="51" y="83"/>
                  </a:lnTo>
                  <a:lnTo>
                    <a:pt x="60" y="79"/>
                  </a:lnTo>
                  <a:lnTo>
                    <a:pt x="68" y="78"/>
                  </a:lnTo>
                  <a:lnTo>
                    <a:pt x="73" y="76"/>
                  </a:lnTo>
                  <a:lnTo>
                    <a:pt x="79" y="71"/>
                  </a:lnTo>
                  <a:lnTo>
                    <a:pt x="87" y="65"/>
                  </a:lnTo>
                  <a:lnTo>
                    <a:pt x="97" y="56"/>
                  </a:lnTo>
                  <a:lnTo>
                    <a:pt x="108" y="49"/>
                  </a:lnTo>
                  <a:lnTo>
                    <a:pt x="116" y="41"/>
                  </a:lnTo>
                  <a:lnTo>
                    <a:pt x="127" y="33"/>
                  </a:lnTo>
                  <a:lnTo>
                    <a:pt x="136" y="25"/>
                  </a:lnTo>
                  <a:lnTo>
                    <a:pt x="148" y="13"/>
                  </a:lnTo>
                  <a:lnTo>
                    <a:pt x="157" y="6"/>
                  </a:lnTo>
                  <a:lnTo>
                    <a:pt x="165" y="2"/>
                  </a:lnTo>
                  <a:lnTo>
                    <a:pt x="173" y="0"/>
                  </a:lnTo>
                  <a:lnTo>
                    <a:pt x="179" y="2"/>
                  </a:lnTo>
                  <a:lnTo>
                    <a:pt x="181" y="5"/>
                  </a:lnTo>
                  <a:lnTo>
                    <a:pt x="178" y="6"/>
                  </a:lnTo>
                  <a:lnTo>
                    <a:pt x="175" y="11"/>
                  </a:lnTo>
                  <a:lnTo>
                    <a:pt x="171" y="14"/>
                  </a:lnTo>
                  <a:lnTo>
                    <a:pt x="167" y="21"/>
                  </a:lnTo>
                  <a:lnTo>
                    <a:pt x="165" y="24"/>
                  </a:lnTo>
                  <a:lnTo>
                    <a:pt x="160" y="29"/>
                  </a:lnTo>
                  <a:lnTo>
                    <a:pt x="157" y="32"/>
                  </a:lnTo>
                  <a:lnTo>
                    <a:pt x="152" y="37"/>
                  </a:lnTo>
                  <a:lnTo>
                    <a:pt x="149" y="43"/>
                  </a:lnTo>
                  <a:lnTo>
                    <a:pt x="143" y="48"/>
                  </a:lnTo>
                  <a:lnTo>
                    <a:pt x="138" y="52"/>
                  </a:lnTo>
                  <a:lnTo>
                    <a:pt x="135" y="54"/>
                  </a:lnTo>
                  <a:lnTo>
                    <a:pt x="133" y="62"/>
                  </a:lnTo>
                  <a:lnTo>
                    <a:pt x="133" y="68"/>
                  </a:lnTo>
                  <a:lnTo>
                    <a:pt x="135" y="73"/>
                  </a:lnTo>
                  <a:lnTo>
                    <a:pt x="135" y="78"/>
                  </a:lnTo>
                  <a:lnTo>
                    <a:pt x="138" y="81"/>
                  </a:lnTo>
                  <a:lnTo>
                    <a:pt x="141" y="78"/>
                  </a:lnTo>
                  <a:lnTo>
                    <a:pt x="146" y="75"/>
                  </a:lnTo>
                  <a:lnTo>
                    <a:pt x="154" y="71"/>
                  </a:lnTo>
                  <a:lnTo>
                    <a:pt x="157" y="71"/>
                  </a:lnTo>
                  <a:lnTo>
                    <a:pt x="163" y="70"/>
                  </a:lnTo>
                  <a:lnTo>
                    <a:pt x="170" y="67"/>
                  </a:lnTo>
                  <a:lnTo>
                    <a:pt x="175" y="65"/>
                  </a:lnTo>
                  <a:lnTo>
                    <a:pt x="181" y="68"/>
                  </a:lnTo>
                  <a:lnTo>
                    <a:pt x="186" y="71"/>
                  </a:lnTo>
                  <a:lnTo>
                    <a:pt x="192" y="75"/>
                  </a:lnTo>
                  <a:lnTo>
                    <a:pt x="200" y="81"/>
                  </a:lnTo>
                  <a:lnTo>
                    <a:pt x="203" y="86"/>
                  </a:lnTo>
                  <a:lnTo>
                    <a:pt x="206" y="91"/>
                  </a:lnTo>
                  <a:lnTo>
                    <a:pt x="211" y="95"/>
                  </a:lnTo>
                  <a:lnTo>
                    <a:pt x="214" y="98"/>
                  </a:lnTo>
                  <a:lnTo>
                    <a:pt x="219" y="102"/>
                  </a:lnTo>
                  <a:lnTo>
                    <a:pt x="221" y="106"/>
                  </a:lnTo>
                  <a:lnTo>
                    <a:pt x="224" y="110"/>
                  </a:lnTo>
                  <a:lnTo>
                    <a:pt x="233" y="105"/>
                  </a:lnTo>
                  <a:lnTo>
                    <a:pt x="238" y="103"/>
                  </a:lnTo>
                  <a:lnTo>
                    <a:pt x="244" y="103"/>
                  </a:lnTo>
                  <a:lnTo>
                    <a:pt x="251" y="105"/>
                  </a:lnTo>
                  <a:lnTo>
                    <a:pt x="257" y="108"/>
                  </a:lnTo>
                  <a:lnTo>
                    <a:pt x="264" y="108"/>
                  </a:lnTo>
                  <a:lnTo>
                    <a:pt x="273" y="108"/>
                  </a:lnTo>
                  <a:lnTo>
                    <a:pt x="278" y="105"/>
                  </a:lnTo>
                  <a:lnTo>
                    <a:pt x="283" y="100"/>
                  </a:lnTo>
                  <a:lnTo>
                    <a:pt x="284" y="95"/>
                  </a:lnTo>
                  <a:lnTo>
                    <a:pt x="291" y="91"/>
                  </a:lnTo>
                  <a:lnTo>
                    <a:pt x="295" y="86"/>
                  </a:lnTo>
                  <a:lnTo>
                    <a:pt x="302" y="84"/>
                  </a:lnTo>
                  <a:lnTo>
                    <a:pt x="306" y="81"/>
                  </a:lnTo>
                  <a:lnTo>
                    <a:pt x="314" y="75"/>
                  </a:lnTo>
                  <a:lnTo>
                    <a:pt x="327" y="75"/>
                  </a:lnTo>
                  <a:lnTo>
                    <a:pt x="332" y="71"/>
                  </a:lnTo>
                  <a:lnTo>
                    <a:pt x="343" y="71"/>
                  </a:lnTo>
                  <a:lnTo>
                    <a:pt x="349" y="71"/>
                  </a:lnTo>
                  <a:lnTo>
                    <a:pt x="356" y="70"/>
                  </a:lnTo>
                  <a:lnTo>
                    <a:pt x="362" y="70"/>
                  </a:lnTo>
                  <a:lnTo>
                    <a:pt x="368" y="67"/>
                  </a:lnTo>
                  <a:lnTo>
                    <a:pt x="372" y="62"/>
                  </a:lnTo>
                  <a:lnTo>
                    <a:pt x="376" y="60"/>
                  </a:lnTo>
                  <a:lnTo>
                    <a:pt x="383" y="59"/>
                  </a:lnTo>
                  <a:lnTo>
                    <a:pt x="389" y="62"/>
                  </a:lnTo>
                  <a:lnTo>
                    <a:pt x="391" y="64"/>
                  </a:lnTo>
                  <a:lnTo>
                    <a:pt x="392" y="68"/>
                  </a:lnTo>
                  <a:lnTo>
                    <a:pt x="392" y="75"/>
                  </a:lnTo>
                  <a:lnTo>
                    <a:pt x="392" y="79"/>
                  </a:lnTo>
                  <a:lnTo>
                    <a:pt x="397" y="81"/>
                  </a:lnTo>
                  <a:lnTo>
                    <a:pt x="402" y="84"/>
                  </a:lnTo>
                  <a:lnTo>
                    <a:pt x="408" y="84"/>
                  </a:lnTo>
                  <a:lnTo>
                    <a:pt x="411" y="89"/>
                  </a:lnTo>
                  <a:lnTo>
                    <a:pt x="416" y="91"/>
                  </a:lnTo>
                  <a:lnTo>
                    <a:pt x="419" y="89"/>
                  </a:lnTo>
                  <a:lnTo>
                    <a:pt x="426" y="84"/>
                  </a:lnTo>
                  <a:lnTo>
                    <a:pt x="432" y="81"/>
                  </a:lnTo>
                  <a:lnTo>
                    <a:pt x="438" y="81"/>
                  </a:lnTo>
                  <a:lnTo>
                    <a:pt x="445" y="81"/>
                  </a:lnTo>
                  <a:lnTo>
                    <a:pt x="451" y="89"/>
                  </a:lnTo>
                  <a:lnTo>
                    <a:pt x="453" y="97"/>
                  </a:lnTo>
                  <a:lnTo>
                    <a:pt x="456" y="102"/>
                  </a:lnTo>
                  <a:lnTo>
                    <a:pt x="457" y="106"/>
                  </a:lnTo>
                  <a:lnTo>
                    <a:pt x="456" y="111"/>
                  </a:lnTo>
                  <a:lnTo>
                    <a:pt x="462" y="118"/>
                  </a:lnTo>
                  <a:lnTo>
                    <a:pt x="468" y="119"/>
                  </a:lnTo>
                  <a:lnTo>
                    <a:pt x="470" y="124"/>
                  </a:lnTo>
                  <a:lnTo>
                    <a:pt x="476" y="129"/>
                  </a:lnTo>
                  <a:lnTo>
                    <a:pt x="480" y="130"/>
                  </a:lnTo>
                  <a:lnTo>
                    <a:pt x="476" y="133"/>
                  </a:lnTo>
                  <a:lnTo>
                    <a:pt x="472" y="133"/>
                  </a:lnTo>
                  <a:lnTo>
                    <a:pt x="467" y="135"/>
                  </a:lnTo>
                  <a:lnTo>
                    <a:pt x="464" y="140"/>
                  </a:lnTo>
                  <a:lnTo>
                    <a:pt x="457" y="140"/>
                  </a:lnTo>
                  <a:lnTo>
                    <a:pt x="451" y="143"/>
                  </a:lnTo>
                  <a:lnTo>
                    <a:pt x="448" y="141"/>
                  </a:lnTo>
                  <a:lnTo>
                    <a:pt x="445" y="137"/>
                  </a:lnTo>
                  <a:lnTo>
                    <a:pt x="440" y="133"/>
                  </a:lnTo>
                  <a:lnTo>
                    <a:pt x="435" y="137"/>
                  </a:lnTo>
                  <a:lnTo>
                    <a:pt x="435" y="143"/>
                  </a:lnTo>
                  <a:lnTo>
                    <a:pt x="434" y="148"/>
                  </a:lnTo>
                  <a:lnTo>
                    <a:pt x="434" y="151"/>
                  </a:lnTo>
                  <a:lnTo>
                    <a:pt x="427" y="152"/>
                  </a:lnTo>
                  <a:lnTo>
                    <a:pt x="421" y="149"/>
                  </a:lnTo>
                  <a:lnTo>
                    <a:pt x="416" y="148"/>
                  </a:lnTo>
                  <a:lnTo>
                    <a:pt x="411" y="143"/>
                  </a:lnTo>
                  <a:lnTo>
                    <a:pt x="403" y="140"/>
                  </a:lnTo>
                  <a:lnTo>
                    <a:pt x="392" y="137"/>
                  </a:lnTo>
                  <a:lnTo>
                    <a:pt x="384" y="135"/>
                  </a:lnTo>
                  <a:lnTo>
                    <a:pt x="375" y="135"/>
                  </a:lnTo>
                  <a:lnTo>
                    <a:pt x="367" y="137"/>
                  </a:lnTo>
                  <a:lnTo>
                    <a:pt x="362" y="140"/>
                  </a:lnTo>
                  <a:lnTo>
                    <a:pt x="359" y="143"/>
                  </a:lnTo>
                  <a:lnTo>
                    <a:pt x="354" y="149"/>
                  </a:lnTo>
                  <a:lnTo>
                    <a:pt x="351" y="152"/>
                  </a:lnTo>
                  <a:lnTo>
                    <a:pt x="341" y="156"/>
                  </a:lnTo>
                  <a:lnTo>
                    <a:pt x="332" y="157"/>
                  </a:lnTo>
                  <a:lnTo>
                    <a:pt x="325" y="160"/>
                  </a:lnTo>
                  <a:lnTo>
                    <a:pt x="318" y="164"/>
                  </a:lnTo>
                  <a:lnTo>
                    <a:pt x="306" y="175"/>
                  </a:lnTo>
                  <a:lnTo>
                    <a:pt x="300" y="181"/>
                  </a:lnTo>
                  <a:lnTo>
                    <a:pt x="295" y="189"/>
                  </a:lnTo>
                  <a:lnTo>
                    <a:pt x="294" y="194"/>
                  </a:lnTo>
                  <a:lnTo>
                    <a:pt x="286" y="194"/>
                  </a:lnTo>
                  <a:lnTo>
                    <a:pt x="283" y="189"/>
                  </a:lnTo>
                  <a:lnTo>
                    <a:pt x="283" y="175"/>
                  </a:lnTo>
                  <a:lnTo>
                    <a:pt x="283" y="170"/>
                  </a:lnTo>
                  <a:lnTo>
                    <a:pt x="278" y="173"/>
                  </a:lnTo>
                  <a:lnTo>
                    <a:pt x="273" y="178"/>
                  </a:lnTo>
                  <a:lnTo>
                    <a:pt x="268" y="179"/>
                  </a:lnTo>
                  <a:lnTo>
                    <a:pt x="262" y="184"/>
                  </a:lnTo>
                  <a:lnTo>
                    <a:pt x="257" y="187"/>
                  </a:lnTo>
                  <a:lnTo>
                    <a:pt x="249" y="203"/>
                  </a:lnTo>
                  <a:lnTo>
                    <a:pt x="244" y="213"/>
                  </a:lnTo>
                  <a:lnTo>
                    <a:pt x="240" y="222"/>
                  </a:lnTo>
                  <a:lnTo>
                    <a:pt x="235" y="230"/>
                  </a:lnTo>
                  <a:lnTo>
                    <a:pt x="230" y="240"/>
                  </a:lnTo>
                  <a:lnTo>
                    <a:pt x="225" y="249"/>
                  </a:lnTo>
                  <a:lnTo>
                    <a:pt x="222" y="257"/>
                  </a:lnTo>
                  <a:lnTo>
                    <a:pt x="219" y="261"/>
                  </a:lnTo>
                  <a:lnTo>
                    <a:pt x="213" y="254"/>
                  </a:lnTo>
                  <a:lnTo>
                    <a:pt x="205" y="251"/>
                  </a:lnTo>
                  <a:lnTo>
                    <a:pt x="205" y="243"/>
                  </a:lnTo>
                  <a:lnTo>
                    <a:pt x="206" y="230"/>
                  </a:lnTo>
                  <a:lnTo>
                    <a:pt x="200" y="232"/>
                  </a:lnTo>
                  <a:lnTo>
                    <a:pt x="195" y="229"/>
                  </a:lnTo>
                  <a:lnTo>
                    <a:pt x="195" y="221"/>
                  </a:lnTo>
                  <a:lnTo>
                    <a:pt x="198" y="218"/>
                  </a:lnTo>
                  <a:lnTo>
                    <a:pt x="197" y="211"/>
                  </a:lnTo>
                  <a:lnTo>
                    <a:pt x="195" y="205"/>
                  </a:lnTo>
                  <a:lnTo>
                    <a:pt x="194" y="197"/>
                  </a:lnTo>
                  <a:lnTo>
                    <a:pt x="187" y="191"/>
                  </a:lnTo>
                  <a:lnTo>
                    <a:pt x="175" y="186"/>
                  </a:lnTo>
                  <a:lnTo>
                    <a:pt x="170" y="179"/>
                  </a:lnTo>
                  <a:lnTo>
                    <a:pt x="168" y="173"/>
                  </a:lnTo>
                  <a:lnTo>
                    <a:pt x="155" y="165"/>
                  </a:lnTo>
                  <a:lnTo>
                    <a:pt x="141" y="164"/>
                  </a:lnTo>
                  <a:lnTo>
                    <a:pt x="127" y="164"/>
                  </a:lnTo>
                  <a:lnTo>
                    <a:pt x="117" y="160"/>
                  </a:lnTo>
                  <a:lnTo>
                    <a:pt x="108" y="160"/>
                  </a:lnTo>
                  <a:lnTo>
                    <a:pt x="95" y="157"/>
                  </a:lnTo>
                  <a:lnTo>
                    <a:pt x="78" y="152"/>
                  </a:lnTo>
                  <a:lnTo>
                    <a:pt x="63" y="149"/>
                  </a:lnTo>
                  <a:lnTo>
                    <a:pt x="47" y="148"/>
                  </a:lnTo>
                  <a:lnTo>
                    <a:pt x="32" y="140"/>
                  </a:lnTo>
                  <a:lnTo>
                    <a:pt x="22" y="140"/>
                  </a:lnTo>
                  <a:lnTo>
                    <a:pt x="16" y="133"/>
                  </a:lnTo>
                  <a:lnTo>
                    <a:pt x="9" y="127"/>
                  </a:lnTo>
                  <a:lnTo>
                    <a:pt x="5" y="121"/>
                  </a:lnTo>
                  <a:lnTo>
                    <a:pt x="0" y="116"/>
                  </a:lnTo>
                  <a:lnTo>
                    <a:pt x="1" y="113"/>
                  </a:lnTo>
                  <a:close/>
                </a:path>
              </a:pathLst>
            </a:custGeom>
            <a:grpFill/>
            <a:ln w="0" algn="ctr">
              <a:solidFill>
                <a:srgbClr val="808080"/>
              </a:solidFill>
              <a:round/>
              <a:headEnd/>
              <a:tailEnd/>
            </a:ln>
          </p:spPr>
          <p:txBody>
            <a:bodyPr lIns="101882" tIns="50941" rIns="101882" bIns="50941"/>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endParaRPr>
            </a:p>
          </p:txBody>
        </p:sp>
      </p:grpSp>
      <p:sp>
        <p:nvSpPr>
          <p:cNvPr id="40" name="State: Massachusetts"/>
          <p:cNvSpPr>
            <a:spLocks/>
          </p:cNvSpPr>
          <p:nvPr/>
        </p:nvSpPr>
        <p:spPr bwMode="auto">
          <a:xfrm>
            <a:off x="6795488" y="2892733"/>
            <a:ext cx="443409" cy="232269"/>
          </a:xfrm>
          <a:custGeom>
            <a:avLst/>
            <a:gdLst>
              <a:gd name="T0" fmla="*/ 2147483647 w 297"/>
              <a:gd name="T1" fmla="*/ 2147483647 h 151"/>
              <a:gd name="T2" fmla="*/ 2147483647 w 297"/>
              <a:gd name="T3" fmla="*/ 2147483647 h 151"/>
              <a:gd name="T4" fmla="*/ 2147483647 w 297"/>
              <a:gd name="T5" fmla="*/ 2147483647 h 151"/>
              <a:gd name="T6" fmla="*/ 2147483647 w 297"/>
              <a:gd name="T7" fmla="*/ 2147483647 h 151"/>
              <a:gd name="T8" fmla="*/ 2147483647 w 297"/>
              <a:gd name="T9" fmla="*/ 2147483647 h 151"/>
              <a:gd name="T10" fmla="*/ 2147483647 w 297"/>
              <a:gd name="T11" fmla="*/ 2147483647 h 151"/>
              <a:gd name="T12" fmla="*/ 2147483647 w 297"/>
              <a:gd name="T13" fmla="*/ 2147483647 h 151"/>
              <a:gd name="T14" fmla="*/ 2147483647 w 297"/>
              <a:gd name="T15" fmla="*/ 2147483647 h 151"/>
              <a:gd name="T16" fmla="*/ 2147483647 w 297"/>
              <a:gd name="T17" fmla="*/ 2147483647 h 151"/>
              <a:gd name="T18" fmla="*/ 2147483647 w 297"/>
              <a:gd name="T19" fmla="*/ 2147483647 h 151"/>
              <a:gd name="T20" fmla="*/ 2147483647 w 297"/>
              <a:gd name="T21" fmla="*/ 2147483647 h 151"/>
              <a:gd name="T22" fmla="*/ 2147483647 w 297"/>
              <a:gd name="T23" fmla="*/ 2147483647 h 151"/>
              <a:gd name="T24" fmla="*/ 2147483647 w 297"/>
              <a:gd name="T25" fmla="*/ 2147483647 h 151"/>
              <a:gd name="T26" fmla="*/ 2147483647 w 297"/>
              <a:gd name="T27" fmla="*/ 2147483647 h 151"/>
              <a:gd name="T28" fmla="*/ 2147483647 w 297"/>
              <a:gd name="T29" fmla="*/ 2147483647 h 151"/>
              <a:gd name="T30" fmla="*/ 2147483647 w 297"/>
              <a:gd name="T31" fmla="*/ 2147483647 h 151"/>
              <a:gd name="T32" fmla="*/ 2147483647 w 297"/>
              <a:gd name="T33" fmla="*/ 2147483647 h 151"/>
              <a:gd name="T34" fmla="*/ 2147483647 w 297"/>
              <a:gd name="T35" fmla="*/ 2147483647 h 151"/>
              <a:gd name="T36" fmla="*/ 2147483647 w 297"/>
              <a:gd name="T37" fmla="*/ 2147483647 h 151"/>
              <a:gd name="T38" fmla="*/ 2147483647 w 297"/>
              <a:gd name="T39" fmla="*/ 2147483647 h 151"/>
              <a:gd name="T40" fmla="*/ 2147483647 w 297"/>
              <a:gd name="T41" fmla="*/ 2147483647 h 151"/>
              <a:gd name="T42" fmla="*/ 2147483647 w 297"/>
              <a:gd name="T43" fmla="*/ 2147483647 h 151"/>
              <a:gd name="T44" fmla="*/ 2147483647 w 297"/>
              <a:gd name="T45" fmla="*/ 2147483647 h 151"/>
              <a:gd name="T46" fmla="*/ 2147483647 w 297"/>
              <a:gd name="T47" fmla="*/ 2147483647 h 151"/>
              <a:gd name="T48" fmla="*/ 2147483647 w 297"/>
              <a:gd name="T49" fmla="*/ 2147483647 h 151"/>
              <a:gd name="T50" fmla="*/ 2147483647 w 297"/>
              <a:gd name="T51" fmla="*/ 2147483647 h 151"/>
              <a:gd name="T52" fmla="*/ 2147483647 w 297"/>
              <a:gd name="T53" fmla="*/ 2147483647 h 151"/>
              <a:gd name="T54" fmla="*/ 2147483647 w 297"/>
              <a:gd name="T55" fmla="*/ 2147483647 h 151"/>
              <a:gd name="T56" fmla="*/ 2147483647 w 297"/>
              <a:gd name="T57" fmla="*/ 2147483647 h 151"/>
              <a:gd name="T58" fmla="*/ 2147483647 w 297"/>
              <a:gd name="T59" fmla="*/ 2147483647 h 151"/>
              <a:gd name="T60" fmla="*/ 2147483647 w 297"/>
              <a:gd name="T61" fmla="*/ 2147483647 h 151"/>
              <a:gd name="T62" fmla="*/ 2147483647 w 297"/>
              <a:gd name="T63" fmla="*/ 2147483647 h 151"/>
              <a:gd name="T64" fmla="*/ 2147483647 w 297"/>
              <a:gd name="T65" fmla="*/ 2147483647 h 151"/>
              <a:gd name="T66" fmla="*/ 2147483647 w 297"/>
              <a:gd name="T67" fmla="*/ 2147483647 h 151"/>
              <a:gd name="T68" fmla="*/ 2147483647 w 297"/>
              <a:gd name="T69" fmla="*/ 2147483647 h 151"/>
              <a:gd name="T70" fmla="*/ 2147483647 w 297"/>
              <a:gd name="T71" fmla="*/ 2147483647 h 151"/>
              <a:gd name="T72" fmla="*/ 2147483647 w 297"/>
              <a:gd name="T73" fmla="*/ 2147483647 h 151"/>
              <a:gd name="T74" fmla="*/ 2147483647 w 297"/>
              <a:gd name="T75" fmla="*/ 2147483647 h 151"/>
              <a:gd name="T76" fmla="*/ 2147483647 w 297"/>
              <a:gd name="T77" fmla="*/ 2147483647 h 151"/>
              <a:gd name="T78" fmla="*/ 2147483647 w 297"/>
              <a:gd name="T79" fmla="*/ 2147483647 h 151"/>
              <a:gd name="T80" fmla="*/ 2147483647 w 297"/>
              <a:gd name="T81" fmla="*/ 2147483647 h 151"/>
              <a:gd name="T82" fmla="*/ 2147483647 w 297"/>
              <a:gd name="T83" fmla="*/ 2147483647 h 151"/>
              <a:gd name="T84" fmla="*/ 2147483647 w 297"/>
              <a:gd name="T85" fmla="*/ 2147483647 h 151"/>
              <a:gd name="T86" fmla="*/ 2147483647 w 297"/>
              <a:gd name="T87" fmla="*/ 2147483647 h 151"/>
              <a:gd name="T88" fmla="*/ 0 w 297"/>
              <a:gd name="T89" fmla="*/ 2147483647 h 15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97"/>
              <a:gd name="T136" fmla="*/ 0 h 151"/>
              <a:gd name="T137" fmla="*/ 297 w 297"/>
              <a:gd name="T138" fmla="*/ 151 h 15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97" h="151">
                <a:moveTo>
                  <a:pt x="0" y="69"/>
                </a:moveTo>
                <a:lnTo>
                  <a:pt x="25" y="61"/>
                </a:lnTo>
                <a:lnTo>
                  <a:pt x="47" y="54"/>
                </a:lnTo>
                <a:lnTo>
                  <a:pt x="71" y="50"/>
                </a:lnTo>
                <a:lnTo>
                  <a:pt x="89" y="45"/>
                </a:lnTo>
                <a:lnTo>
                  <a:pt x="103" y="38"/>
                </a:lnTo>
                <a:lnTo>
                  <a:pt x="121" y="35"/>
                </a:lnTo>
                <a:lnTo>
                  <a:pt x="135" y="31"/>
                </a:lnTo>
                <a:lnTo>
                  <a:pt x="144" y="31"/>
                </a:lnTo>
                <a:lnTo>
                  <a:pt x="151" y="27"/>
                </a:lnTo>
                <a:lnTo>
                  <a:pt x="159" y="23"/>
                </a:lnTo>
                <a:lnTo>
                  <a:pt x="173" y="7"/>
                </a:lnTo>
                <a:lnTo>
                  <a:pt x="179" y="0"/>
                </a:lnTo>
                <a:lnTo>
                  <a:pt x="186" y="5"/>
                </a:lnTo>
                <a:lnTo>
                  <a:pt x="192" y="10"/>
                </a:lnTo>
                <a:lnTo>
                  <a:pt x="200" y="16"/>
                </a:lnTo>
                <a:lnTo>
                  <a:pt x="205" y="21"/>
                </a:lnTo>
                <a:lnTo>
                  <a:pt x="211" y="24"/>
                </a:lnTo>
                <a:lnTo>
                  <a:pt x="210" y="27"/>
                </a:lnTo>
                <a:lnTo>
                  <a:pt x="206" y="32"/>
                </a:lnTo>
                <a:lnTo>
                  <a:pt x="203" y="35"/>
                </a:lnTo>
                <a:lnTo>
                  <a:pt x="202" y="40"/>
                </a:lnTo>
                <a:lnTo>
                  <a:pt x="200" y="46"/>
                </a:lnTo>
                <a:lnTo>
                  <a:pt x="198" y="50"/>
                </a:lnTo>
                <a:lnTo>
                  <a:pt x="195" y="50"/>
                </a:lnTo>
                <a:lnTo>
                  <a:pt x="194" y="64"/>
                </a:lnTo>
                <a:lnTo>
                  <a:pt x="197" y="65"/>
                </a:lnTo>
                <a:lnTo>
                  <a:pt x="203" y="65"/>
                </a:lnTo>
                <a:lnTo>
                  <a:pt x="210" y="67"/>
                </a:lnTo>
                <a:lnTo>
                  <a:pt x="214" y="67"/>
                </a:lnTo>
                <a:lnTo>
                  <a:pt x="219" y="72"/>
                </a:lnTo>
                <a:lnTo>
                  <a:pt x="224" y="78"/>
                </a:lnTo>
                <a:lnTo>
                  <a:pt x="224" y="86"/>
                </a:lnTo>
                <a:lnTo>
                  <a:pt x="230" y="89"/>
                </a:lnTo>
                <a:lnTo>
                  <a:pt x="235" y="91"/>
                </a:lnTo>
                <a:lnTo>
                  <a:pt x="240" y="99"/>
                </a:lnTo>
                <a:lnTo>
                  <a:pt x="241" y="104"/>
                </a:lnTo>
                <a:lnTo>
                  <a:pt x="246" y="107"/>
                </a:lnTo>
                <a:lnTo>
                  <a:pt x="251" y="107"/>
                </a:lnTo>
                <a:lnTo>
                  <a:pt x="260" y="107"/>
                </a:lnTo>
                <a:lnTo>
                  <a:pt x="268" y="108"/>
                </a:lnTo>
                <a:lnTo>
                  <a:pt x="273" y="107"/>
                </a:lnTo>
                <a:lnTo>
                  <a:pt x="279" y="104"/>
                </a:lnTo>
                <a:lnTo>
                  <a:pt x="286" y="97"/>
                </a:lnTo>
                <a:lnTo>
                  <a:pt x="287" y="89"/>
                </a:lnTo>
                <a:lnTo>
                  <a:pt x="287" y="85"/>
                </a:lnTo>
                <a:lnTo>
                  <a:pt x="289" y="83"/>
                </a:lnTo>
                <a:lnTo>
                  <a:pt x="292" y="86"/>
                </a:lnTo>
                <a:lnTo>
                  <a:pt x="295" y="91"/>
                </a:lnTo>
                <a:lnTo>
                  <a:pt x="297" y="97"/>
                </a:lnTo>
                <a:lnTo>
                  <a:pt x="297" y="104"/>
                </a:lnTo>
                <a:lnTo>
                  <a:pt x="292" y="112"/>
                </a:lnTo>
                <a:lnTo>
                  <a:pt x="287" y="116"/>
                </a:lnTo>
                <a:lnTo>
                  <a:pt x="281" y="121"/>
                </a:lnTo>
                <a:lnTo>
                  <a:pt x="275" y="123"/>
                </a:lnTo>
                <a:lnTo>
                  <a:pt x="268" y="126"/>
                </a:lnTo>
                <a:lnTo>
                  <a:pt x="260" y="129"/>
                </a:lnTo>
                <a:lnTo>
                  <a:pt x="256" y="132"/>
                </a:lnTo>
                <a:lnTo>
                  <a:pt x="249" y="132"/>
                </a:lnTo>
                <a:lnTo>
                  <a:pt x="244" y="129"/>
                </a:lnTo>
                <a:lnTo>
                  <a:pt x="240" y="129"/>
                </a:lnTo>
                <a:lnTo>
                  <a:pt x="238" y="127"/>
                </a:lnTo>
                <a:lnTo>
                  <a:pt x="233" y="131"/>
                </a:lnTo>
                <a:lnTo>
                  <a:pt x="230" y="135"/>
                </a:lnTo>
                <a:lnTo>
                  <a:pt x="227" y="140"/>
                </a:lnTo>
                <a:lnTo>
                  <a:pt x="221" y="145"/>
                </a:lnTo>
                <a:lnTo>
                  <a:pt x="219" y="147"/>
                </a:lnTo>
                <a:lnTo>
                  <a:pt x="214" y="150"/>
                </a:lnTo>
                <a:lnTo>
                  <a:pt x="213" y="151"/>
                </a:lnTo>
                <a:lnTo>
                  <a:pt x="206" y="151"/>
                </a:lnTo>
                <a:lnTo>
                  <a:pt x="203" y="148"/>
                </a:lnTo>
                <a:lnTo>
                  <a:pt x="203" y="145"/>
                </a:lnTo>
                <a:lnTo>
                  <a:pt x="202" y="142"/>
                </a:lnTo>
                <a:lnTo>
                  <a:pt x="198" y="139"/>
                </a:lnTo>
                <a:lnTo>
                  <a:pt x="194" y="139"/>
                </a:lnTo>
                <a:lnTo>
                  <a:pt x="190" y="137"/>
                </a:lnTo>
                <a:lnTo>
                  <a:pt x="189" y="132"/>
                </a:lnTo>
                <a:lnTo>
                  <a:pt x="183" y="131"/>
                </a:lnTo>
                <a:lnTo>
                  <a:pt x="178" y="129"/>
                </a:lnTo>
                <a:lnTo>
                  <a:pt x="173" y="123"/>
                </a:lnTo>
                <a:lnTo>
                  <a:pt x="171" y="119"/>
                </a:lnTo>
                <a:lnTo>
                  <a:pt x="170" y="113"/>
                </a:lnTo>
                <a:lnTo>
                  <a:pt x="167" y="107"/>
                </a:lnTo>
                <a:lnTo>
                  <a:pt x="165" y="104"/>
                </a:lnTo>
                <a:lnTo>
                  <a:pt x="162" y="104"/>
                </a:lnTo>
                <a:lnTo>
                  <a:pt x="133" y="113"/>
                </a:lnTo>
                <a:lnTo>
                  <a:pt x="97" y="126"/>
                </a:lnTo>
                <a:lnTo>
                  <a:pt x="57" y="135"/>
                </a:lnTo>
                <a:lnTo>
                  <a:pt x="0" y="151"/>
                </a:lnTo>
                <a:lnTo>
                  <a:pt x="0" y="69"/>
                </a:lnTo>
                <a:close/>
              </a:path>
            </a:pathLst>
          </a:custGeom>
          <a:pattFill prst="wdDnDiag">
            <a:fgClr>
              <a:schemeClr val="accent4">
                <a:lumMod val="20000"/>
                <a:lumOff val="80000"/>
              </a:schemeClr>
            </a:fgClr>
            <a:bgClr>
              <a:schemeClr val="accent6">
                <a:lumMod val="20000"/>
                <a:lumOff val="80000"/>
              </a:schemeClr>
            </a:bgClr>
          </a:pattFill>
          <a:ln w="0">
            <a:solidFill>
              <a:srgbClr val="808080"/>
            </a:solidFill>
            <a:round/>
            <a:headEnd/>
            <a:tailEnd/>
          </a:ln>
        </p:spPr>
        <p:txBody>
          <a:bodyPr lIns="101798" tIns="50899" rIns="101798" bIns="50899"/>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endParaRPr>
          </a:p>
        </p:txBody>
      </p:sp>
      <p:sp>
        <p:nvSpPr>
          <p:cNvPr id="41" name="State: Maryland"/>
          <p:cNvSpPr>
            <a:spLocks/>
          </p:cNvSpPr>
          <p:nvPr/>
        </p:nvSpPr>
        <p:spPr bwMode="auto">
          <a:xfrm>
            <a:off x="6155011" y="3581847"/>
            <a:ext cx="595692" cy="290720"/>
          </a:xfrm>
          <a:custGeom>
            <a:avLst/>
            <a:gdLst>
              <a:gd name="T0" fmla="*/ 2147483647 w 399"/>
              <a:gd name="T1" fmla="*/ 2147483647 h 189"/>
              <a:gd name="T2" fmla="*/ 2147483647 w 399"/>
              <a:gd name="T3" fmla="*/ 2147483647 h 189"/>
              <a:gd name="T4" fmla="*/ 2147483647 w 399"/>
              <a:gd name="T5" fmla="*/ 2147483647 h 189"/>
              <a:gd name="T6" fmla="*/ 2147483647 w 399"/>
              <a:gd name="T7" fmla="*/ 2147483647 h 189"/>
              <a:gd name="T8" fmla="*/ 2147483647 w 399"/>
              <a:gd name="T9" fmla="*/ 2147483647 h 189"/>
              <a:gd name="T10" fmla="*/ 2147483647 w 399"/>
              <a:gd name="T11" fmla="*/ 2147483647 h 189"/>
              <a:gd name="T12" fmla="*/ 2147483647 w 399"/>
              <a:gd name="T13" fmla="*/ 2147483647 h 189"/>
              <a:gd name="T14" fmla="*/ 2147483647 w 399"/>
              <a:gd name="T15" fmla="*/ 2147483647 h 189"/>
              <a:gd name="T16" fmla="*/ 2147483647 w 399"/>
              <a:gd name="T17" fmla="*/ 2147483647 h 189"/>
              <a:gd name="T18" fmla="*/ 2147483647 w 399"/>
              <a:gd name="T19" fmla="*/ 2147483647 h 189"/>
              <a:gd name="T20" fmla="*/ 2147483647 w 399"/>
              <a:gd name="T21" fmla="*/ 2147483647 h 189"/>
              <a:gd name="T22" fmla="*/ 2147483647 w 399"/>
              <a:gd name="T23" fmla="*/ 2147483647 h 189"/>
              <a:gd name="T24" fmla="*/ 2147483647 w 399"/>
              <a:gd name="T25" fmla="*/ 2147483647 h 189"/>
              <a:gd name="T26" fmla="*/ 2147483647 w 399"/>
              <a:gd name="T27" fmla="*/ 2147483647 h 189"/>
              <a:gd name="T28" fmla="*/ 2147483647 w 399"/>
              <a:gd name="T29" fmla="*/ 2147483647 h 189"/>
              <a:gd name="T30" fmla="*/ 2147483647 w 399"/>
              <a:gd name="T31" fmla="*/ 2147483647 h 189"/>
              <a:gd name="T32" fmla="*/ 2147483647 w 399"/>
              <a:gd name="T33" fmla="*/ 2147483647 h 189"/>
              <a:gd name="T34" fmla="*/ 2147483647 w 399"/>
              <a:gd name="T35" fmla="*/ 2147483647 h 189"/>
              <a:gd name="T36" fmla="*/ 2147483647 w 399"/>
              <a:gd name="T37" fmla="*/ 2147483647 h 189"/>
              <a:gd name="T38" fmla="*/ 2147483647 w 399"/>
              <a:gd name="T39" fmla="*/ 2147483647 h 189"/>
              <a:gd name="T40" fmla="*/ 2147483647 w 399"/>
              <a:gd name="T41" fmla="*/ 2147483647 h 189"/>
              <a:gd name="T42" fmla="*/ 2147483647 w 399"/>
              <a:gd name="T43" fmla="*/ 2147483647 h 189"/>
              <a:gd name="T44" fmla="*/ 2147483647 w 399"/>
              <a:gd name="T45" fmla="*/ 2147483647 h 189"/>
              <a:gd name="T46" fmla="*/ 2147483647 w 399"/>
              <a:gd name="T47" fmla="*/ 2147483647 h 189"/>
              <a:gd name="T48" fmla="*/ 2147483647 w 399"/>
              <a:gd name="T49" fmla="*/ 2147483647 h 189"/>
              <a:gd name="T50" fmla="*/ 2147483647 w 399"/>
              <a:gd name="T51" fmla="*/ 2147483647 h 189"/>
              <a:gd name="T52" fmla="*/ 2147483647 w 399"/>
              <a:gd name="T53" fmla="*/ 2147483647 h 189"/>
              <a:gd name="T54" fmla="*/ 2147483647 w 399"/>
              <a:gd name="T55" fmla="*/ 2147483647 h 189"/>
              <a:gd name="T56" fmla="*/ 2147483647 w 399"/>
              <a:gd name="T57" fmla="*/ 2147483647 h 189"/>
              <a:gd name="T58" fmla="*/ 2147483647 w 399"/>
              <a:gd name="T59" fmla="*/ 2147483647 h 189"/>
              <a:gd name="T60" fmla="*/ 2147483647 w 399"/>
              <a:gd name="T61" fmla="*/ 2147483647 h 189"/>
              <a:gd name="T62" fmla="*/ 2147483647 w 399"/>
              <a:gd name="T63" fmla="*/ 2147483647 h 189"/>
              <a:gd name="T64" fmla="*/ 2147483647 w 399"/>
              <a:gd name="T65" fmla="*/ 2147483647 h 189"/>
              <a:gd name="T66" fmla="*/ 2147483647 w 399"/>
              <a:gd name="T67" fmla="*/ 2147483647 h 189"/>
              <a:gd name="T68" fmla="*/ 2147483647 w 399"/>
              <a:gd name="T69" fmla="*/ 2147483647 h 189"/>
              <a:gd name="T70" fmla="*/ 2147483647 w 399"/>
              <a:gd name="T71" fmla="*/ 2147483647 h 189"/>
              <a:gd name="T72" fmla="*/ 2147483647 w 399"/>
              <a:gd name="T73" fmla="*/ 2147483647 h 189"/>
              <a:gd name="T74" fmla="*/ 2147483647 w 399"/>
              <a:gd name="T75" fmla="*/ 2147483647 h 189"/>
              <a:gd name="T76" fmla="*/ 2147483647 w 399"/>
              <a:gd name="T77" fmla="*/ 2147483647 h 189"/>
              <a:gd name="T78" fmla="*/ 2147483647 w 399"/>
              <a:gd name="T79" fmla="*/ 2147483647 h 189"/>
              <a:gd name="T80" fmla="*/ 2147483647 w 399"/>
              <a:gd name="T81" fmla="*/ 2147483647 h 189"/>
              <a:gd name="T82" fmla="*/ 2147483647 w 399"/>
              <a:gd name="T83" fmla="*/ 2147483647 h 189"/>
              <a:gd name="T84" fmla="*/ 2147483647 w 399"/>
              <a:gd name="T85" fmla="*/ 2147483647 h 189"/>
              <a:gd name="T86" fmla="*/ 2147483647 w 399"/>
              <a:gd name="T87" fmla="*/ 2147483647 h 18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99"/>
              <a:gd name="T133" fmla="*/ 0 h 189"/>
              <a:gd name="T134" fmla="*/ 399 w 399"/>
              <a:gd name="T135" fmla="*/ 189 h 18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99" h="189">
                <a:moveTo>
                  <a:pt x="0" y="59"/>
                </a:moveTo>
                <a:lnTo>
                  <a:pt x="306" y="0"/>
                </a:lnTo>
                <a:lnTo>
                  <a:pt x="310" y="24"/>
                </a:lnTo>
                <a:lnTo>
                  <a:pt x="318" y="46"/>
                </a:lnTo>
                <a:lnTo>
                  <a:pt x="324" y="70"/>
                </a:lnTo>
                <a:lnTo>
                  <a:pt x="330" y="96"/>
                </a:lnTo>
                <a:lnTo>
                  <a:pt x="338" y="120"/>
                </a:lnTo>
                <a:lnTo>
                  <a:pt x="341" y="135"/>
                </a:lnTo>
                <a:lnTo>
                  <a:pt x="399" y="126"/>
                </a:lnTo>
                <a:lnTo>
                  <a:pt x="397" y="143"/>
                </a:lnTo>
                <a:lnTo>
                  <a:pt x="395" y="166"/>
                </a:lnTo>
                <a:lnTo>
                  <a:pt x="392" y="177"/>
                </a:lnTo>
                <a:lnTo>
                  <a:pt x="373" y="180"/>
                </a:lnTo>
                <a:lnTo>
                  <a:pt x="362" y="183"/>
                </a:lnTo>
                <a:lnTo>
                  <a:pt x="356" y="189"/>
                </a:lnTo>
                <a:lnTo>
                  <a:pt x="348" y="188"/>
                </a:lnTo>
                <a:lnTo>
                  <a:pt x="345" y="180"/>
                </a:lnTo>
                <a:lnTo>
                  <a:pt x="343" y="170"/>
                </a:lnTo>
                <a:lnTo>
                  <a:pt x="338" y="166"/>
                </a:lnTo>
                <a:lnTo>
                  <a:pt x="330" y="161"/>
                </a:lnTo>
                <a:lnTo>
                  <a:pt x="322" y="158"/>
                </a:lnTo>
                <a:lnTo>
                  <a:pt x="313" y="158"/>
                </a:lnTo>
                <a:lnTo>
                  <a:pt x="308" y="153"/>
                </a:lnTo>
                <a:lnTo>
                  <a:pt x="308" y="143"/>
                </a:lnTo>
                <a:lnTo>
                  <a:pt x="305" y="129"/>
                </a:lnTo>
                <a:lnTo>
                  <a:pt x="306" y="118"/>
                </a:lnTo>
                <a:lnTo>
                  <a:pt x="306" y="112"/>
                </a:lnTo>
                <a:lnTo>
                  <a:pt x="303" y="105"/>
                </a:lnTo>
                <a:lnTo>
                  <a:pt x="300" y="97"/>
                </a:lnTo>
                <a:lnTo>
                  <a:pt x="292" y="96"/>
                </a:lnTo>
                <a:lnTo>
                  <a:pt x="287" y="94"/>
                </a:lnTo>
                <a:lnTo>
                  <a:pt x="289" y="88"/>
                </a:lnTo>
                <a:lnTo>
                  <a:pt x="292" y="85"/>
                </a:lnTo>
                <a:lnTo>
                  <a:pt x="295" y="78"/>
                </a:lnTo>
                <a:lnTo>
                  <a:pt x="295" y="72"/>
                </a:lnTo>
                <a:lnTo>
                  <a:pt x="295" y="61"/>
                </a:lnTo>
                <a:lnTo>
                  <a:pt x="292" y="54"/>
                </a:lnTo>
                <a:lnTo>
                  <a:pt x="294" y="48"/>
                </a:lnTo>
                <a:lnTo>
                  <a:pt x="297" y="43"/>
                </a:lnTo>
                <a:lnTo>
                  <a:pt x="300" y="38"/>
                </a:lnTo>
                <a:lnTo>
                  <a:pt x="303" y="31"/>
                </a:lnTo>
                <a:lnTo>
                  <a:pt x="300" y="21"/>
                </a:lnTo>
                <a:lnTo>
                  <a:pt x="295" y="21"/>
                </a:lnTo>
                <a:lnTo>
                  <a:pt x="294" y="24"/>
                </a:lnTo>
                <a:lnTo>
                  <a:pt x="291" y="32"/>
                </a:lnTo>
                <a:lnTo>
                  <a:pt x="287" y="38"/>
                </a:lnTo>
                <a:lnTo>
                  <a:pt x="283" y="46"/>
                </a:lnTo>
                <a:lnTo>
                  <a:pt x="279" y="50"/>
                </a:lnTo>
                <a:lnTo>
                  <a:pt x="275" y="54"/>
                </a:lnTo>
                <a:lnTo>
                  <a:pt x="270" y="59"/>
                </a:lnTo>
                <a:lnTo>
                  <a:pt x="267" y="62"/>
                </a:lnTo>
                <a:lnTo>
                  <a:pt x="264" y="65"/>
                </a:lnTo>
                <a:lnTo>
                  <a:pt x="260" y="67"/>
                </a:lnTo>
                <a:lnTo>
                  <a:pt x="260" y="70"/>
                </a:lnTo>
                <a:lnTo>
                  <a:pt x="264" y="72"/>
                </a:lnTo>
                <a:lnTo>
                  <a:pt x="265" y="75"/>
                </a:lnTo>
                <a:lnTo>
                  <a:pt x="268" y="80"/>
                </a:lnTo>
                <a:lnTo>
                  <a:pt x="270" y="86"/>
                </a:lnTo>
                <a:lnTo>
                  <a:pt x="271" y="99"/>
                </a:lnTo>
                <a:lnTo>
                  <a:pt x="271" y="110"/>
                </a:lnTo>
                <a:lnTo>
                  <a:pt x="271" y="118"/>
                </a:lnTo>
                <a:lnTo>
                  <a:pt x="273" y="126"/>
                </a:lnTo>
                <a:lnTo>
                  <a:pt x="275" y="131"/>
                </a:lnTo>
                <a:lnTo>
                  <a:pt x="278" y="139"/>
                </a:lnTo>
                <a:lnTo>
                  <a:pt x="281" y="142"/>
                </a:lnTo>
                <a:lnTo>
                  <a:pt x="283" y="148"/>
                </a:lnTo>
                <a:lnTo>
                  <a:pt x="289" y="153"/>
                </a:lnTo>
                <a:lnTo>
                  <a:pt x="294" y="159"/>
                </a:lnTo>
                <a:lnTo>
                  <a:pt x="294" y="166"/>
                </a:lnTo>
                <a:lnTo>
                  <a:pt x="297" y="177"/>
                </a:lnTo>
                <a:lnTo>
                  <a:pt x="299" y="181"/>
                </a:lnTo>
                <a:lnTo>
                  <a:pt x="295" y="185"/>
                </a:lnTo>
                <a:lnTo>
                  <a:pt x="287" y="180"/>
                </a:lnTo>
                <a:lnTo>
                  <a:pt x="278" y="178"/>
                </a:lnTo>
                <a:lnTo>
                  <a:pt x="273" y="175"/>
                </a:lnTo>
                <a:lnTo>
                  <a:pt x="270" y="172"/>
                </a:lnTo>
                <a:lnTo>
                  <a:pt x="265" y="170"/>
                </a:lnTo>
                <a:lnTo>
                  <a:pt x="257" y="170"/>
                </a:lnTo>
                <a:lnTo>
                  <a:pt x="251" y="167"/>
                </a:lnTo>
                <a:lnTo>
                  <a:pt x="243" y="169"/>
                </a:lnTo>
                <a:lnTo>
                  <a:pt x="237" y="166"/>
                </a:lnTo>
                <a:lnTo>
                  <a:pt x="227" y="164"/>
                </a:lnTo>
                <a:lnTo>
                  <a:pt x="222" y="162"/>
                </a:lnTo>
                <a:lnTo>
                  <a:pt x="216" y="158"/>
                </a:lnTo>
                <a:lnTo>
                  <a:pt x="214" y="151"/>
                </a:lnTo>
                <a:lnTo>
                  <a:pt x="216" y="143"/>
                </a:lnTo>
                <a:lnTo>
                  <a:pt x="219" y="137"/>
                </a:lnTo>
                <a:lnTo>
                  <a:pt x="221" y="127"/>
                </a:lnTo>
                <a:lnTo>
                  <a:pt x="219" y="120"/>
                </a:lnTo>
                <a:lnTo>
                  <a:pt x="216" y="113"/>
                </a:lnTo>
                <a:lnTo>
                  <a:pt x="211" y="105"/>
                </a:lnTo>
                <a:lnTo>
                  <a:pt x="200" y="100"/>
                </a:lnTo>
                <a:lnTo>
                  <a:pt x="190" y="99"/>
                </a:lnTo>
                <a:lnTo>
                  <a:pt x="183" y="97"/>
                </a:lnTo>
                <a:lnTo>
                  <a:pt x="178" y="93"/>
                </a:lnTo>
                <a:lnTo>
                  <a:pt x="178" y="86"/>
                </a:lnTo>
                <a:lnTo>
                  <a:pt x="176" y="81"/>
                </a:lnTo>
                <a:lnTo>
                  <a:pt x="171" y="77"/>
                </a:lnTo>
                <a:lnTo>
                  <a:pt x="163" y="77"/>
                </a:lnTo>
                <a:lnTo>
                  <a:pt x="157" y="77"/>
                </a:lnTo>
                <a:lnTo>
                  <a:pt x="152" y="77"/>
                </a:lnTo>
                <a:lnTo>
                  <a:pt x="152" y="72"/>
                </a:lnTo>
                <a:lnTo>
                  <a:pt x="148" y="65"/>
                </a:lnTo>
                <a:lnTo>
                  <a:pt x="144" y="58"/>
                </a:lnTo>
                <a:lnTo>
                  <a:pt x="140" y="51"/>
                </a:lnTo>
                <a:lnTo>
                  <a:pt x="135" y="46"/>
                </a:lnTo>
                <a:lnTo>
                  <a:pt x="127" y="43"/>
                </a:lnTo>
                <a:lnTo>
                  <a:pt x="121" y="43"/>
                </a:lnTo>
                <a:lnTo>
                  <a:pt x="114" y="45"/>
                </a:lnTo>
                <a:lnTo>
                  <a:pt x="108" y="46"/>
                </a:lnTo>
                <a:lnTo>
                  <a:pt x="103" y="50"/>
                </a:lnTo>
                <a:lnTo>
                  <a:pt x="95" y="54"/>
                </a:lnTo>
                <a:lnTo>
                  <a:pt x="90" y="61"/>
                </a:lnTo>
                <a:lnTo>
                  <a:pt x="86" y="65"/>
                </a:lnTo>
                <a:lnTo>
                  <a:pt x="79" y="67"/>
                </a:lnTo>
                <a:lnTo>
                  <a:pt x="73" y="69"/>
                </a:lnTo>
                <a:lnTo>
                  <a:pt x="70" y="65"/>
                </a:lnTo>
                <a:lnTo>
                  <a:pt x="68" y="62"/>
                </a:lnTo>
                <a:lnTo>
                  <a:pt x="65" y="61"/>
                </a:lnTo>
                <a:lnTo>
                  <a:pt x="62" y="62"/>
                </a:lnTo>
                <a:lnTo>
                  <a:pt x="60" y="65"/>
                </a:lnTo>
                <a:lnTo>
                  <a:pt x="59" y="70"/>
                </a:lnTo>
                <a:lnTo>
                  <a:pt x="57" y="72"/>
                </a:lnTo>
                <a:lnTo>
                  <a:pt x="54" y="75"/>
                </a:lnTo>
                <a:lnTo>
                  <a:pt x="52" y="78"/>
                </a:lnTo>
                <a:lnTo>
                  <a:pt x="51" y="80"/>
                </a:lnTo>
                <a:lnTo>
                  <a:pt x="49" y="81"/>
                </a:lnTo>
                <a:lnTo>
                  <a:pt x="46" y="80"/>
                </a:lnTo>
                <a:lnTo>
                  <a:pt x="41" y="80"/>
                </a:lnTo>
                <a:lnTo>
                  <a:pt x="38" y="83"/>
                </a:lnTo>
                <a:lnTo>
                  <a:pt x="33" y="89"/>
                </a:lnTo>
                <a:lnTo>
                  <a:pt x="13" y="116"/>
                </a:lnTo>
                <a:lnTo>
                  <a:pt x="9" y="116"/>
                </a:lnTo>
                <a:lnTo>
                  <a:pt x="0" y="59"/>
                </a:lnTo>
                <a:close/>
              </a:path>
            </a:pathLst>
          </a:custGeom>
          <a:solidFill>
            <a:schemeClr val="bg1">
              <a:lumMod val="75000"/>
            </a:schemeClr>
          </a:solidFill>
          <a:ln w="0" algn="ctr">
            <a:solidFill>
              <a:srgbClr val="808080"/>
            </a:solidFill>
            <a:round/>
            <a:headEnd/>
            <a:tailEnd/>
          </a:ln>
        </p:spPr>
        <p:txBody>
          <a:bodyPr lIns="101798" tIns="50899" rIns="101798" bIns="50899"/>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endParaRPr>
          </a:p>
        </p:txBody>
      </p:sp>
      <p:grpSp>
        <p:nvGrpSpPr>
          <p:cNvPr id="42" name="State: Maine"/>
          <p:cNvGrpSpPr/>
          <p:nvPr/>
        </p:nvGrpSpPr>
        <p:grpSpPr>
          <a:xfrm>
            <a:off x="6935824" y="2060566"/>
            <a:ext cx="476254" cy="796788"/>
            <a:chOff x="7534432" y="2060566"/>
            <a:chExt cx="476254" cy="796788"/>
          </a:xfrm>
          <a:solidFill>
            <a:schemeClr val="accent4">
              <a:lumMod val="20000"/>
              <a:lumOff val="80000"/>
            </a:schemeClr>
          </a:solidFill>
        </p:grpSpPr>
        <p:sp>
          <p:nvSpPr>
            <p:cNvPr id="43" name="Freeform 64"/>
            <p:cNvSpPr>
              <a:spLocks/>
            </p:cNvSpPr>
            <p:nvPr/>
          </p:nvSpPr>
          <p:spPr bwMode="auto">
            <a:xfrm>
              <a:off x="7534432" y="2060566"/>
              <a:ext cx="476254" cy="796788"/>
            </a:xfrm>
            <a:custGeom>
              <a:avLst/>
              <a:gdLst>
                <a:gd name="T0" fmla="*/ 2147483647 w 319"/>
                <a:gd name="T1" fmla="*/ 2147483647 h 518"/>
                <a:gd name="T2" fmla="*/ 2147483647 w 319"/>
                <a:gd name="T3" fmla="*/ 2147483647 h 518"/>
                <a:gd name="T4" fmla="*/ 2147483647 w 319"/>
                <a:gd name="T5" fmla="*/ 2147483647 h 518"/>
                <a:gd name="T6" fmla="*/ 2147483647 w 319"/>
                <a:gd name="T7" fmla="*/ 2147483647 h 518"/>
                <a:gd name="T8" fmla="*/ 2147483647 w 319"/>
                <a:gd name="T9" fmla="*/ 2147483647 h 518"/>
                <a:gd name="T10" fmla="*/ 2147483647 w 319"/>
                <a:gd name="T11" fmla="*/ 2147483647 h 518"/>
                <a:gd name="T12" fmla="*/ 2147483647 w 319"/>
                <a:gd name="T13" fmla="*/ 2147483647 h 518"/>
                <a:gd name="T14" fmla="*/ 2147483647 w 319"/>
                <a:gd name="T15" fmla="*/ 2147483647 h 518"/>
                <a:gd name="T16" fmla="*/ 2147483647 w 319"/>
                <a:gd name="T17" fmla="*/ 2147483647 h 518"/>
                <a:gd name="T18" fmla="*/ 2147483647 w 319"/>
                <a:gd name="T19" fmla="*/ 2147483647 h 518"/>
                <a:gd name="T20" fmla="*/ 2147483647 w 319"/>
                <a:gd name="T21" fmla="*/ 2147483647 h 518"/>
                <a:gd name="T22" fmla="*/ 2147483647 w 319"/>
                <a:gd name="T23" fmla="*/ 0 h 518"/>
                <a:gd name="T24" fmla="*/ 2147483647 w 319"/>
                <a:gd name="T25" fmla="*/ 2147483647 h 518"/>
                <a:gd name="T26" fmla="*/ 2147483647 w 319"/>
                <a:gd name="T27" fmla="*/ 2147483647 h 518"/>
                <a:gd name="T28" fmla="*/ 2147483647 w 319"/>
                <a:gd name="T29" fmla="*/ 2147483647 h 518"/>
                <a:gd name="T30" fmla="*/ 2147483647 w 319"/>
                <a:gd name="T31" fmla="*/ 2147483647 h 518"/>
                <a:gd name="T32" fmla="*/ 2147483647 w 319"/>
                <a:gd name="T33" fmla="*/ 2147483647 h 518"/>
                <a:gd name="T34" fmla="*/ 2147483647 w 319"/>
                <a:gd name="T35" fmla="*/ 2147483647 h 518"/>
                <a:gd name="T36" fmla="*/ 2147483647 w 319"/>
                <a:gd name="T37" fmla="*/ 2147483647 h 518"/>
                <a:gd name="T38" fmla="*/ 2147483647 w 319"/>
                <a:gd name="T39" fmla="*/ 2147483647 h 518"/>
                <a:gd name="T40" fmla="*/ 2147483647 w 319"/>
                <a:gd name="T41" fmla="*/ 2147483647 h 518"/>
                <a:gd name="T42" fmla="*/ 2147483647 w 319"/>
                <a:gd name="T43" fmla="*/ 2147483647 h 518"/>
                <a:gd name="T44" fmla="*/ 2147483647 w 319"/>
                <a:gd name="T45" fmla="*/ 2147483647 h 518"/>
                <a:gd name="T46" fmla="*/ 2147483647 w 319"/>
                <a:gd name="T47" fmla="*/ 2147483647 h 518"/>
                <a:gd name="T48" fmla="*/ 2147483647 w 319"/>
                <a:gd name="T49" fmla="*/ 2147483647 h 518"/>
                <a:gd name="T50" fmla="*/ 2147483647 w 319"/>
                <a:gd name="T51" fmla="*/ 2147483647 h 518"/>
                <a:gd name="T52" fmla="*/ 2147483647 w 319"/>
                <a:gd name="T53" fmla="*/ 2147483647 h 518"/>
                <a:gd name="T54" fmla="*/ 2147483647 w 319"/>
                <a:gd name="T55" fmla="*/ 2147483647 h 518"/>
                <a:gd name="T56" fmla="*/ 2147483647 w 319"/>
                <a:gd name="T57" fmla="*/ 2147483647 h 518"/>
                <a:gd name="T58" fmla="*/ 2147483647 w 319"/>
                <a:gd name="T59" fmla="*/ 2147483647 h 518"/>
                <a:gd name="T60" fmla="*/ 2147483647 w 319"/>
                <a:gd name="T61" fmla="*/ 2147483647 h 518"/>
                <a:gd name="T62" fmla="*/ 2147483647 w 319"/>
                <a:gd name="T63" fmla="*/ 2147483647 h 518"/>
                <a:gd name="T64" fmla="*/ 2147483647 w 319"/>
                <a:gd name="T65" fmla="*/ 2147483647 h 518"/>
                <a:gd name="T66" fmla="*/ 2147483647 w 319"/>
                <a:gd name="T67" fmla="*/ 2147483647 h 518"/>
                <a:gd name="T68" fmla="*/ 2147483647 w 319"/>
                <a:gd name="T69" fmla="*/ 2147483647 h 518"/>
                <a:gd name="T70" fmla="*/ 2147483647 w 319"/>
                <a:gd name="T71" fmla="*/ 2147483647 h 518"/>
                <a:gd name="T72" fmla="*/ 2147483647 w 319"/>
                <a:gd name="T73" fmla="*/ 2147483647 h 518"/>
                <a:gd name="T74" fmla="*/ 2147483647 w 319"/>
                <a:gd name="T75" fmla="*/ 2147483647 h 518"/>
                <a:gd name="T76" fmla="*/ 2147483647 w 319"/>
                <a:gd name="T77" fmla="*/ 2147483647 h 518"/>
                <a:gd name="T78" fmla="*/ 2147483647 w 319"/>
                <a:gd name="T79" fmla="*/ 2147483647 h 518"/>
                <a:gd name="T80" fmla="*/ 2147483647 w 319"/>
                <a:gd name="T81" fmla="*/ 2147483647 h 518"/>
                <a:gd name="T82" fmla="*/ 2147483647 w 319"/>
                <a:gd name="T83" fmla="*/ 2147483647 h 518"/>
                <a:gd name="T84" fmla="*/ 2147483647 w 319"/>
                <a:gd name="T85" fmla="*/ 2147483647 h 518"/>
                <a:gd name="T86" fmla="*/ 2147483647 w 319"/>
                <a:gd name="T87" fmla="*/ 2147483647 h 518"/>
                <a:gd name="T88" fmla="*/ 2147483647 w 319"/>
                <a:gd name="T89" fmla="*/ 2147483647 h 518"/>
                <a:gd name="T90" fmla="*/ 2147483647 w 319"/>
                <a:gd name="T91" fmla="*/ 2147483647 h 518"/>
                <a:gd name="T92" fmla="*/ 2147483647 w 319"/>
                <a:gd name="T93" fmla="*/ 2147483647 h 518"/>
                <a:gd name="T94" fmla="*/ 2147483647 w 319"/>
                <a:gd name="T95" fmla="*/ 2147483647 h 518"/>
                <a:gd name="T96" fmla="*/ 2147483647 w 319"/>
                <a:gd name="T97" fmla="*/ 2147483647 h 518"/>
                <a:gd name="T98" fmla="*/ 2147483647 w 319"/>
                <a:gd name="T99" fmla="*/ 2147483647 h 518"/>
                <a:gd name="T100" fmla="*/ 2147483647 w 319"/>
                <a:gd name="T101" fmla="*/ 2147483647 h 518"/>
                <a:gd name="T102" fmla="*/ 2147483647 w 319"/>
                <a:gd name="T103" fmla="*/ 2147483647 h 518"/>
                <a:gd name="T104" fmla="*/ 2147483647 w 319"/>
                <a:gd name="T105" fmla="*/ 2147483647 h 518"/>
                <a:gd name="T106" fmla="*/ 2147483647 w 319"/>
                <a:gd name="T107" fmla="*/ 2147483647 h 518"/>
                <a:gd name="T108" fmla="*/ 2147483647 w 319"/>
                <a:gd name="T109" fmla="*/ 2147483647 h 518"/>
                <a:gd name="T110" fmla="*/ 2147483647 w 319"/>
                <a:gd name="T111" fmla="*/ 2147483647 h 518"/>
                <a:gd name="T112" fmla="*/ 2147483647 w 319"/>
                <a:gd name="T113" fmla="*/ 2147483647 h 518"/>
                <a:gd name="T114" fmla="*/ 2147483647 w 319"/>
                <a:gd name="T115" fmla="*/ 2147483647 h 518"/>
                <a:gd name="T116" fmla="*/ 2147483647 w 319"/>
                <a:gd name="T117" fmla="*/ 2147483647 h 51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19"/>
                <a:gd name="T178" fmla="*/ 0 h 518"/>
                <a:gd name="T179" fmla="*/ 319 w 319"/>
                <a:gd name="T180" fmla="*/ 518 h 51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19" h="518">
                  <a:moveTo>
                    <a:pt x="0" y="289"/>
                  </a:moveTo>
                  <a:lnTo>
                    <a:pt x="9" y="282"/>
                  </a:lnTo>
                  <a:lnTo>
                    <a:pt x="19" y="274"/>
                  </a:lnTo>
                  <a:lnTo>
                    <a:pt x="30" y="265"/>
                  </a:lnTo>
                  <a:lnTo>
                    <a:pt x="36" y="247"/>
                  </a:lnTo>
                  <a:lnTo>
                    <a:pt x="38" y="233"/>
                  </a:lnTo>
                  <a:lnTo>
                    <a:pt x="34" y="217"/>
                  </a:lnTo>
                  <a:lnTo>
                    <a:pt x="34" y="205"/>
                  </a:lnTo>
                  <a:lnTo>
                    <a:pt x="34" y="192"/>
                  </a:lnTo>
                  <a:lnTo>
                    <a:pt x="31" y="182"/>
                  </a:lnTo>
                  <a:lnTo>
                    <a:pt x="30" y="173"/>
                  </a:lnTo>
                  <a:lnTo>
                    <a:pt x="31" y="151"/>
                  </a:lnTo>
                  <a:lnTo>
                    <a:pt x="30" y="139"/>
                  </a:lnTo>
                  <a:lnTo>
                    <a:pt x="27" y="127"/>
                  </a:lnTo>
                  <a:lnTo>
                    <a:pt x="27" y="116"/>
                  </a:lnTo>
                  <a:lnTo>
                    <a:pt x="27" y="103"/>
                  </a:lnTo>
                  <a:lnTo>
                    <a:pt x="30" y="90"/>
                  </a:lnTo>
                  <a:lnTo>
                    <a:pt x="34" y="63"/>
                  </a:lnTo>
                  <a:lnTo>
                    <a:pt x="38" y="52"/>
                  </a:lnTo>
                  <a:lnTo>
                    <a:pt x="39" y="42"/>
                  </a:lnTo>
                  <a:lnTo>
                    <a:pt x="41" y="35"/>
                  </a:lnTo>
                  <a:lnTo>
                    <a:pt x="44" y="27"/>
                  </a:lnTo>
                  <a:lnTo>
                    <a:pt x="49" y="19"/>
                  </a:lnTo>
                  <a:lnTo>
                    <a:pt x="55" y="14"/>
                  </a:lnTo>
                  <a:lnTo>
                    <a:pt x="65" y="17"/>
                  </a:lnTo>
                  <a:lnTo>
                    <a:pt x="73" y="23"/>
                  </a:lnTo>
                  <a:lnTo>
                    <a:pt x="76" y="30"/>
                  </a:lnTo>
                  <a:lnTo>
                    <a:pt x="82" y="33"/>
                  </a:lnTo>
                  <a:lnTo>
                    <a:pt x="98" y="33"/>
                  </a:lnTo>
                  <a:lnTo>
                    <a:pt x="104" y="31"/>
                  </a:lnTo>
                  <a:lnTo>
                    <a:pt x="109" y="27"/>
                  </a:lnTo>
                  <a:lnTo>
                    <a:pt x="117" y="22"/>
                  </a:lnTo>
                  <a:lnTo>
                    <a:pt x="120" y="12"/>
                  </a:lnTo>
                  <a:lnTo>
                    <a:pt x="123" y="8"/>
                  </a:lnTo>
                  <a:lnTo>
                    <a:pt x="128" y="1"/>
                  </a:lnTo>
                  <a:lnTo>
                    <a:pt x="135" y="0"/>
                  </a:lnTo>
                  <a:lnTo>
                    <a:pt x="139" y="3"/>
                  </a:lnTo>
                  <a:lnTo>
                    <a:pt x="149" y="8"/>
                  </a:lnTo>
                  <a:lnTo>
                    <a:pt x="160" y="14"/>
                  </a:lnTo>
                  <a:lnTo>
                    <a:pt x="168" y="20"/>
                  </a:lnTo>
                  <a:lnTo>
                    <a:pt x="176" y="22"/>
                  </a:lnTo>
                  <a:lnTo>
                    <a:pt x="179" y="30"/>
                  </a:lnTo>
                  <a:lnTo>
                    <a:pt x="184" y="42"/>
                  </a:lnTo>
                  <a:lnTo>
                    <a:pt x="187" y="58"/>
                  </a:lnTo>
                  <a:lnTo>
                    <a:pt x="192" y="71"/>
                  </a:lnTo>
                  <a:lnTo>
                    <a:pt x="197" y="84"/>
                  </a:lnTo>
                  <a:lnTo>
                    <a:pt x="200" y="98"/>
                  </a:lnTo>
                  <a:lnTo>
                    <a:pt x="206" y="109"/>
                  </a:lnTo>
                  <a:lnTo>
                    <a:pt x="209" y="124"/>
                  </a:lnTo>
                  <a:lnTo>
                    <a:pt x="216" y="133"/>
                  </a:lnTo>
                  <a:lnTo>
                    <a:pt x="217" y="144"/>
                  </a:lnTo>
                  <a:lnTo>
                    <a:pt x="220" y="151"/>
                  </a:lnTo>
                  <a:lnTo>
                    <a:pt x="222" y="158"/>
                  </a:lnTo>
                  <a:lnTo>
                    <a:pt x="225" y="170"/>
                  </a:lnTo>
                  <a:lnTo>
                    <a:pt x="232" y="171"/>
                  </a:lnTo>
                  <a:lnTo>
                    <a:pt x="246" y="171"/>
                  </a:lnTo>
                  <a:lnTo>
                    <a:pt x="249" y="179"/>
                  </a:lnTo>
                  <a:lnTo>
                    <a:pt x="255" y="187"/>
                  </a:lnTo>
                  <a:lnTo>
                    <a:pt x="259" y="193"/>
                  </a:lnTo>
                  <a:lnTo>
                    <a:pt x="262" y="201"/>
                  </a:lnTo>
                  <a:lnTo>
                    <a:pt x="270" y="208"/>
                  </a:lnTo>
                  <a:lnTo>
                    <a:pt x="279" y="209"/>
                  </a:lnTo>
                  <a:lnTo>
                    <a:pt x="289" y="209"/>
                  </a:lnTo>
                  <a:lnTo>
                    <a:pt x="295" y="208"/>
                  </a:lnTo>
                  <a:lnTo>
                    <a:pt x="300" y="206"/>
                  </a:lnTo>
                  <a:lnTo>
                    <a:pt x="305" y="211"/>
                  </a:lnTo>
                  <a:lnTo>
                    <a:pt x="308" y="217"/>
                  </a:lnTo>
                  <a:lnTo>
                    <a:pt x="308" y="225"/>
                  </a:lnTo>
                  <a:lnTo>
                    <a:pt x="309" y="230"/>
                  </a:lnTo>
                  <a:lnTo>
                    <a:pt x="313" y="235"/>
                  </a:lnTo>
                  <a:lnTo>
                    <a:pt x="317" y="236"/>
                  </a:lnTo>
                  <a:lnTo>
                    <a:pt x="319" y="241"/>
                  </a:lnTo>
                  <a:lnTo>
                    <a:pt x="317" y="247"/>
                  </a:lnTo>
                  <a:lnTo>
                    <a:pt x="314" y="255"/>
                  </a:lnTo>
                  <a:lnTo>
                    <a:pt x="306" y="260"/>
                  </a:lnTo>
                  <a:lnTo>
                    <a:pt x="305" y="265"/>
                  </a:lnTo>
                  <a:lnTo>
                    <a:pt x="300" y="266"/>
                  </a:lnTo>
                  <a:lnTo>
                    <a:pt x="295" y="266"/>
                  </a:lnTo>
                  <a:lnTo>
                    <a:pt x="290" y="273"/>
                  </a:lnTo>
                  <a:lnTo>
                    <a:pt x="286" y="278"/>
                  </a:lnTo>
                  <a:lnTo>
                    <a:pt x="284" y="281"/>
                  </a:lnTo>
                  <a:lnTo>
                    <a:pt x="278" y="281"/>
                  </a:lnTo>
                  <a:lnTo>
                    <a:pt x="278" y="286"/>
                  </a:lnTo>
                  <a:lnTo>
                    <a:pt x="273" y="286"/>
                  </a:lnTo>
                  <a:lnTo>
                    <a:pt x="270" y="289"/>
                  </a:lnTo>
                  <a:lnTo>
                    <a:pt x="265" y="289"/>
                  </a:lnTo>
                  <a:lnTo>
                    <a:pt x="266" y="297"/>
                  </a:lnTo>
                  <a:lnTo>
                    <a:pt x="266" y="301"/>
                  </a:lnTo>
                  <a:lnTo>
                    <a:pt x="263" y="303"/>
                  </a:lnTo>
                  <a:lnTo>
                    <a:pt x="259" y="306"/>
                  </a:lnTo>
                  <a:lnTo>
                    <a:pt x="255" y="309"/>
                  </a:lnTo>
                  <a:lnTo>
                    <a:pt x="251" y="309"/>
                  </a:lnTo>
                  <a:lnTo>
                    <a:pt x="249" y="314"/>
                  </a:lnTo>
                  <a:lnTo>
                    <a:pt x="251" y="316"/>
                  </a:lnTo>
                  <a:lnTo>
                    <a:pt x="246" y="319"/>
                  </a:lnTo>
                  <a:lnTo>
                    <a:pt x="246" y="324"/>
                  </a:lnTo>
                  <a:lnTo>
                    <a:pt x="246" y="327"/>
                  </a:lnTo>
                  <a:lnTo>
                    <a:pt x="243" y="330"/>
                  </a:lnTo>
                  <a:lnTo>
                    <a:pt x="241" y="335"/>
                  </a:lnTo>
                  <a:lnTo>
                    <a:pt x="236" y="333"/>
                  </a:lnTo>
                  <a:lnTo>
                    <a:pt x="235" y="332"/>
                  </a:lnTo>
                  <a:lnTo>
                    <a:pt x="232" y="330"/>
                  </a:lnTo>
                  <a:lnTo>
                    <a:pt x="228" y="330"/>
                  </a:lnTo>
                  <a:lnTo>
                    <a:pt x="227" y="327"/>
                  </a:lnTo>
                  <a:lnTo>
                    <a:pt x="224" y="325"/>
                  </a:lnTo>
                  <a:lnTo>
                    <a:pt x="220" y="328"/>
                  </a:lnTo>
                  <a:lnTo>
                    <a:pt x="220" y="330"/>
                  </a:lnTo>
                  <a:lnTo>
                    <a:pt x="219" y="333"/>
                  </a:lnTo>
                  <a:lnTo>
                    <a:pt x="216" y="333"/>
                  </a:lnTo>
                  <a:lnTo>
                    <a:pt x="211" y="330"/>
                  </a:lnTo>
                  <a:lnTo>
                    <a:pt x="206" y="328"/>
                  </a:lnTo>
                  <a:lnTo>
                    <a:pt x="206" y="325"/>
                  </a:lnTo>
                  <a:lnTo>
                    <a:pt x="205" y="322"/>
                  </a:lnTo>
                  <a:lnTo>
                    <a:pt x="203" y="319"/>
                  </a:lnTo>
                  <a:lnTo>
                    <a:pt x="201" y="316"/>
                  </a:lnTo>
                  <a:lnTo>
                    <a:pt x="198" y="316"/>
                  </a:lnTo>
                  <a:lnTo>
                    <a:pt x="197" y="316"/>
                  </a:lnTo>
                  <a:lnTo>
                    <a:pt x="193" y="317"/>
                  </a:lnTo>
                  <a:lnTo>
                    <a:pt x="193" y="319"/>
                  </a:lnTo>
                  <a:lnTo>
                    <a:pt x="193" y="324"/>
                  </a:lnTo>
                  <a:lnTo>
                    <a:pt x="190" y="324"/>
                  </a:lnTo>
                  <a:lnTo>
                    <a:pt x="190" y="328"/>
                  </a:lnTo>
                  <a:lnTo>
                    <a:pt x="190" y="332"/>
                  </a:lnTo>
                  <a:lnTo>
                    <a:pt x="192" y="341"/>
                  </a:lnTo>
                  <a:lnTo>
                    <a:pt x="192" y="351"/>
                  </a:lnTo>
                  <a:lnTo>
                    <a:pt x="192" y="355"/>
                  </a:lnTo>
                  <a:lnTo>
                    <a:pt x="192" y="362"/>
                  </a:lnTo>
                  <a:lnTo>
                    <a:pt x="192" y="368"/>
                  </a:lnTo>
                  <a:lnTo>
                    <a:pt x="190" y="375"/>
                  </a:lnTo>
                  <a:lnTo>
                    <a:pt x="187" y="379"/>
                  </a:lnTo>
                  <a:lnTo>
                    <a:pt x="182" y="382"/>
                  </a:lnTo>
                  <a:lnTo>
                    <a:pt x="176" y="382"/>
                  </a:lnTo>
                  <a:lnTo>
                    <a:pt x="173" y="387"/>
                  </a:lnTo>
                  <a:lnTo>
                    <a:pt x="170" y="394"/>
                  </a:lnTo>
                  <a:lnTo>
                    <a:pt x="162" y="402"/>
                  </a:lnTo>
                  <a:lnTo>
                    <a:pt x="147" y="402"/>
                  </a:lnTo>
                  <a:lnTo>
                    <a:pt x="139" y="406"/>
                  </a:lnTo>
                  <a:lnTo>
                    <a:pt x="136" y="411"/>
                  </a:lnTo>
                  <a:lnTo>
                    <a:pt x="131" y="413"/>
                  </a:lnTo>
                  <a:lnTo>
                    <a:pt x="128" y="417"/>
                  </a:lnTo>
                  <a:lnTo>
                    <a:pt x="123" y="422"/>
                  </a:lnTo>
                  <a:lnTo>
                    <a:pt x="120" y="425"/>
                  </a:lnTo>
                  <a:lnTo>
                    <a:pt x="119" y="435"/>
                  </a:lnTo>
                  <a:lnTo>
                    <a:pt x="117" y="444"/>
                  </a:lnTo>
                  <a:lnTo>
                    <a:pt x="119" y="451"/>
                  </a:lnTo>
                  <a:lnTo>
                    <a:pt x="120" y="456"/>
                  </a:lnTo>
                  <a:lnTo>
                    <a:pt x="119" y="460"/>
                  </a:lnTo>
                  <a:lnTo>
                    <a:pt x="117" y="465"/>
                  </a:lnTo>
                  <a:lnTo>
                    <a:pt x="114" y="471"/>
                  </a:lnTo>
                  <a:lnTo>
                    <a:pt x="112" y="475"/>
                  </a:lnTo>
                  <a:lnTo>
                    <a:pt x="111" y="481"/>
                  </a:lnTo>
                  <a:lnTo>
                    <a:pt x="111" y="486"/>
                  </a:lnTo>
                  <a:lnTo>
                    <a:pt x="108" y="489"/>
                  </a:lnTo>
                  <a:lnTo>
                    <a:pt x="106" y="494"/>
                  </a:lnTo>
                  <a:lnTo>
                    <a:pt x="103" y="502"/>
                  </a:lnTo>
                  <a:lnTo>
                    <a:pt x="100" y="506"/>
                  </a:lnTo>
                  <a:lnTo>
                    <a:pt x="95" y="511"/>
                  </a:lnTo>
                  <a:lnTo>
                    <a:pt x="92" y="516"/>
                  </a:lnTo>
                  <a:lnTo>
                    <a:pt x="89" y="518"/>
                  </a:lnTo>
                  <a:lnTo>
                    <a:pt x="84" y="506"/>
                  </a:lnTo>
                  <a:lnTo>
                    <a:pt x="79" y="503"/>
                  </a:lnTo>
                  <a:lnTo>
                    <a:pt x="71" y="495"/>
                  </a:lnTo>
                  <a:lnTo>
                    <a:pt x="66" y="491"/>
                  </a:lnTo>
                  <a:lnTo>
                    <a:pt x="63" y="484"/>
                  </a:lnTo>
                  <a:lnTo>
                    <a:pt x="60" y="478"/>
                  </a:lnTo>
                  <a:lnTo>
                    <a:pt x="58" y="468"/>
                  </a:lnTo>
                  <a:lnTo>
                    <a:pt x="49" y="444"/>
                  </a:lnTo>
                  <a:lnTo>
                    <a:pt x="44" y="429"/>
                  </a:lnTo>
                  <a:lnTo>
                    <a:pt x="39" y="414"/>
                  </a:lnTo>
                  <a:lnTo>
                    <a:pt x="31" y="390"/>
                  </a:lnTo>
                  <a:lnTo>
                    <a:pt x="28" y="375"/>
                  </a:lnTo>
                  <a:lnTo>
                    <a:pt x="22" y="359"/>
                  </a:lnTo>
                  <a:lnTo>
                    <a:pt x="19" y="349"/>
                  </a:lnTo>
                  <a:lnTo>
                    <a:pt x="12" y="332"/>
                  </a:lnTo>
                  <a:lnTo>
                    <a:pt x="6" y="313"/>
                  </a:lnTo>
                  <a:lnTo>
                    <a:pt x="1" y="297"/>
                  </a:lnTo>
                  <a:lnTo>
                    <a:pt x="0" y="289"/>
                  </a:lnTo>
                  <a:close/>
                </a:path>
              </a:pathLst>
            </a:custGeom>
            <a:grpFill/>
            <a:ln w="0" algn="ctr">
              <a:solidFill>
                <a:srgbClr val="808080"/>
              </a:solidFill>
              <a:round/>
              <a:headEnd/>
              <a:tailEnd/>
            </a:ln>
          </p:spPr>
          <p:txBody>
            <a:bodyPr lIns="101882" tIns="50941" rIns="101882" bIns="50941"/>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endParaRPr>
            </a:p>
          </p:txBody>
        </p:sp>
        <p:sp>
          <p:nvSpPr>
            <p:cNvPr id="44" name="Freeform 67"/>
            <p:cNvSpPr>
              <a:spLocks/>
            </p:cNvSpPr>
            <p:nvPr/>
          </p:nvSpPr>
          <p:spPr bwMode="auto">
            <a:xfrm>
              <a:off x="7825560" y="2605091"/>
              <a:ext cx="19410" cy="21534"/>
            </a:xfrm>
            <a:custGeom>
              <a:avLst/>
              <a:gdLst>
                <a:gd name="T0" fmla="*/ 2147483647 w 13"/>
                <a:gd name="T1" fmla="*/ 0 h 14"/>
                <a:gd name="T2" fmla="*/ 2147483647 w 13"/>
                <a:gd name="T3" fmla="*/ 0 h 14"/>
                <a:gd name="T4" fmla="*/ 0 w 13"/>
                <a:gd name="T5" fmla="*/ 2147483647 h 14"/>
                <a:gd name="T6" fmla="*/ 2147483647 w 13"/>
                <a:gd name="T7" fmla="*/ 2147483647 h 14"/>
                <a:gd name="T8" fmla="*/ 2147483647 w 13"/>
                <a:gd name="T9" fmla="*/ 2147483647 h 14"/>
                <a:gd name="T10" fmla="*/ 2147483647 w 13"/>
                <a:gd name="T11" fmla="*/ 2147483647 h 14"/>
                <a:gd name="T12" fmla="*/ 2147483647 w 13"/>
                <a:gd name="T13" fmla="*/ 2147483647 h 14"/>
                <a:gd name="T14" fmla="*/ 2147483647 w 13"/>
                <a:gd name="T15" fmla="*/ 2147483647 h 14"/>
                <a:gd name="T16" fmla="*/ 2147483647 w 13"/>
                <a:gd name="T17" fmla="*/ 2147483647 h 14"/>
                <a:gd name="T18" fmla="*/ 2147483647 w 13"/>
                <a:gd name="T19" fmla="*/ 0 h 1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
                <a:gd name="T31" fmla="*/ 0 h 14"/>
                <a:gd name="T32" fmla="*/ 13 w 13"/>
                <a:gd name="T33" fmla="*/ 14 h 1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 h="14">
                  <a:moveTo>
                    <a:pt x="6" y="0"/>
                  </a:moveTo>
                  <a:lnTo>
                    <a:pt x="6" y="0"/>
                  </a:lnTo>
                  <a:lnTo>
                    <a:pt x="0" y="6"/>
                  </a:lnTo>
                  <a:lnTo>
                    <a:pt x="2" y="11"/>
                  </a:lnTo>
                  <a:lnTo>
                    <a:pt x="5" y="14"/>
                  </a:lnTo>
                  <a:lnTo>
                    <a:pt x="10" y="14"/>
                  </a:lnTo>
                  <a:lnTo>
                    <a:pt x="13" y="13"/>
                  </a:lnTo>
                  <a:lnTo>
                    <a:pt x="11" y="8"/>
                  </a:lnTo>
                  <a:lnTo>
                    <a:pt x="10" y="5"/>
                  </a:lnTo>
                  <a:lnTo>
                    <a:pt x="6" y="0"/>
                  </a:lnTo>
                  <a:close/>
                </a:path>
              </a:pathLst>
            </a:custGeom>
            <a:grpFill/>
            <a:ln w="3">
              <a:solidFill>
                <a:srgbClr val="808080"/>
              </a:solidFill>
              <a:round/>
              <a:headEnd/>
              <a:tailEnd/>
            </a:ln>
            <a:extLst/>
          </p:spPr>
          <p:txBody>
            <a:bodyPr lIns="101882" tIns="50941" rIns="101882" bIns="50941"/>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endParaRPr>
            </a:p>
          </p:txBody>
        </p:sp>
        <p:sp>
          <p:nvSpPr>
            <p:cNvPr id="45" name="Freeform 68"/>
            <p:cNvSpPr>
              <a:spLocks/>
            </p:cNvSpPr>
            <p:nvPr/>
          </p:nvSpPr>
          <p:spPr bwMode="auto">
            <a:xfrm>
              <a:off x="7858404" y="2606627"/>
              <a:ext cx="11944" cy="18459"/>
            </a:xfrm>
            <a:custGeom>
              <a:avLst/>
              <a:gdLst>
                <a:gd name="T0" fmla="*/ 0 w 8"/>
                <a:gd name="T1" fmla="*/ 0 h 12"/>
                <a:gd name="T2" fmla="*/ 0 w 8"/>
                <a:gd name="T3" fmla="*/ 2147483647 h 12"/>
                <a:gd name="T4" fmla="*/ 2147483647 w 8"/>
                <a:gd name="T5" fmla="*/ 2147483647 h 12"/>
                <a:gd name="T6" fmla="*/ 2147483647 w 8"/>
                <a:gd name="T7" fmla="*/ 2147483647 h 12"/>
                <a:gd name="T8" fmla="*/ 2147483647 w 8"/>
                <a:gd name="T9" fmla="*/ 2147483647 h 12"/>
                <a:gd name="T10" fmla="*/ 2147483647 w 8"/>
                <a:gd name="T11" fmla="*/ 0 h 12"/>
                <a:gd name="T12" fmla="*/ 0 w 8"/>
                <a:gd name="T13" fmla="*/ 0 h 12"/>
                <a:gd name="T14" fmla="*/ 0 60000 65536"/>
                <a:gd name="T15" fmla="*/ 0 60000 65536"/>
                <a:gd name="T16" fmla="*/ 0 60000 65536"/>
                <a:gd name="T17" fmla="*/ 0 60000 65536"/>
                <a:gd name="T18" fmla="*/ 0 60000 65536"/>
                <a:gd name="T19" fmla="*/ 0 60000 65536"/>
                <a:gd name="T20" fmla="*/ 0 60000 65536"/>
                <a:gd name="T21" fmla="*/ 0 w 8"/>
                <a:gd name="T22" fmla="*/ 0 h 12"/>
                <a:gd name="T23" fmla="*/ 8 w 8"/>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12">
                  <a:moveTo>
                    <a:pt x="0" y="0"/>
                  </a:moveTo>
                  <a:lnTo>
                    <a:pt x="0" y="8"/>
                  </a:lnTo>
                  <a:lnTo>
                    <a:pt x="3" y="12"/>
                  </a:lnTo>
                  <a:lnTo>
                    <a:pt x="7" y="10"/>
                  </a:lnTo>
                  <a:lnTo>
                    <a:pt x="8" y="5"/>
                  </a:lnTo>
                  <a:lnTo>
                    <a:pt x="5" y="0"/>
                  </a:lnTo>
                  <a:lnTo>
                    <a:pt x="0" y="0"/>
                  </a:lnTo>
                  <a:close/>
                </a:path>
              </a:pathLst>
            </a:custGeom>
            <a:grpFill/>
            <a:ln w="3">
              <a:solidFill>
                <a:srgbClr val="808080"/>
              </a:solidFill>
              <a:round/>
              <a:headEnd/>
              <a:tailEnd/>
            </a:ln>
            <a:extLst/>
          </p:spPr>
          <p:txBody>
            <a:bodyPr lIns="101882" tIns="50941" rIns="101882" bIns="50941"/>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endParaRPr>
            </a:p>
          </p:txBody>
        </p:sp>
        <p:sp>
          <p:nvSpPr>
            <p:cNvPr id="46" name="Freeform 69"/>
            <p:cNvSpPr>
              <a:spLocks/>
            </p:cNvSpPr>
            <p:nvPr/>
          </p:nvSpPr>
          <p:spPr bwMode="auto">
            <a:xfrm>
              <a:off x="7840489" y="2585092"/>
              <a:ext cx="16423" cy="16921"/>
            </a:xfrm>
            <a:custGeom>
              <a:avLst/>
              <a:gdLst>
                <a:gd name="T0" fmla="*/ 2147483647 w 11"/>
                <a:gd name="T1" fmla="*/ 2147483647 h 11"/>
                <a:gd name="T2" fmla="*/ 0 w 11"/>
                <a:gd name="T3" fmla="*/ 2147483647 h 11"/>
                <a:gd name="T4" fmla="*/ 2147483647 w 11"/>
                <a:gd name="T5" fmla="*/ 2147483647 h 11"/>
                <a:gd name="T6" fmla="*/ 2147483647 w 11"/>
                <a:gd name="T7" fmla="*/ 2147483647 h 11"/>
                <a:gd name="T8" fmla="*/ 2147483647 w 11"/>
                <a:gd name="T9" fmla="*/ 2147483647 h 11"/>
                <a:gd name="T10" fmla="*/ 2147483647 w 11"/>
                <a:gd name="T11" fmla="*/ 2147483647 h 11"/>
                <a:gd name="T12" fmla="*/ 2147483647 w 11"/>
                <a:gd name="T13" fmla="*/ 0 h 11"/>
                <a:gd name="T14" fmla="*/ 2147483647 w 11"/>
                <a:gd name="T15" fmla="*/ 2147483647 h 11"/>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11"/>
                <a:gd name="T26" fmla="*/ 11 w 11"/>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11">
                  <a:moveTo>
                    <a:pt x="3" y="2"/>
                  </a:moveTo>
                  <a:lnTo>
                    <a:pt x="0" y="5"/>
                  </a:lnTo>
                  <a:lnTo>
                    <a:pt x="1" y="10"/>
                  </a:lnTo>
                  <a:lnTo>
                    <a:pt x="6" y="11"/>
                  </a:lnTo>
                  <a:lnTo>
                    <a:pt x="11" y="10"/>
                  </a:lnTo>
                  <a:lnTo>
                    <a:pt x="11" y="5"/>
                  </a:lnTo>
                  <a:lnTo>
                    <a:pt x="7" y="0"/>
                  </a:lnTo>
                  <a:lnTo>
                    <a:pt x="3" y="2"/>
                  </a:lnTo>
                  <a:close/>
                </a:path>
              </a:pathLst>
            </a:custGeom>
            <a:grpFill/>
            <a:ln w="3">
              <a:solidFill>
                <a:srgbClr val="808080"/>
              </a:solidFill>
              <a:round/>
              <a:headEnd/>
              <a:tailEnd/>
            </a:ln>
            <a:extLst/>
          </p:spPr>
          <p:txBody>
            <a:bodyPr lIns="101882" tIns="50941" rIns="101882" bIns="50941"/>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endParaRPr>
            </a:p>
          </p:txBody>
        </p:sp>
      </p:grpSp>
      <p:sp>
        <p:nvSpPr>
          <p:cNvPr id="47" name="State: Louisiana"/>
          <p:cNvSpPr>
            <a:spLocks/>
          </p:cNvSpPr>
          <p:nvPr/>
        </p:nvSpPr>
        <p:spPr bwMode="auto">
          <a:xfrm>
            <a:off x="4355990" y="4983150"/>
            <a:ext cx="704678" cy="659888"/>
          </a:xfrm>
          <a:custGeom>
            <a:avLst/>
            <a:gdLst>
              <a:gd name="T0" fmla="*/ 2147483647 w 472"/>
              <a:gd name="T1" fmla="*/ 2147483647 h 429"/>
              <a:gd name="T2" fmla="*/ 2147483647 w 472"/>
              <a:gd name="T3" fmla="*/ 2147483647 h 429"/>
              <a:gd name="T4" fmla="*/ 2147483647 w 472"/>
              <a:gd name="T5" fmla="*/ 2147483647 h 429"/>
              <a:gd name="T6" fmla="*/ 2147483647 w 472"/>
              <a:gd name="T7" fmla="*/ 2147483647 h 429"/>
              <a:gd name="T8" fmla="*/ 2147483647 w 472"/>
              <a:gd name="T9" fmla="*/ 2147483647 h 429"/>
              <a:gd name="T10" fmla="*/ 2147483647 w 472"/>
              <a:gd name="T11" fmla="*/ 2147483647 h 429"/>
              <a:gd name="T12" fmla="*/ 2147483647 w 472"/>
              <a:gd name="T13" fmla="*/ 2147483647 h 429"/>
              <a:gd name="T14" fmla="*/ 2147483647 w 472"/>
              <a:gd name="T15" fmla="*/ 2147483647 h 429"/>
              <a:gd name="T16" fmla="*/ 2147483647 w 472"/>
              <a:gd name="T17" fmla="*/ 2147483647 h 429"/>
              <a:gd name="T18" fmla="*/ 2147483647 w 472"/>
              <a:gd name="T19" fmla="*/ 2147483647 h 429"/>
              <a:gd name="T20" fmla="*/ 2147483647 w 472"/>
              <a:gd name="T21" fmla="*/ 2147483647 h 429"/>
              <a:gd name="T22" fmla="*/ 2147483647 w 472"/>
              <a:gd name="T23" fmla="*/ 2147483647 h 429"/>
              <a:gd name="T24" fmla="*/ 2147483647 w 472"/>
              <a:gd name="T25" fmla="*/ 2147483647 h 429"/>
              <a:gd name="T26" fmla="*/ 2147483647 w 472"/>
              <a:gd name="T27" fmla="*/ 2147483647 h 429"/>
              <a:gd name="T28" fmla="*/ 2147483647 w 472"/>
              <a:gd name="T29" fmla="*/ 2147483647 h 429"/>
              <a:gd name="T30" fmla="*/ 2147483647 w 472"/>
              <a:gd name="T31" fmla="*/ 2147483647 h 429"/>
              <a:gd name="T32" fmla="*/ 2147483647 w 472"/>
              <a:gd name="T33" fmla="*/ 2147483647 h 429"/>
              <a:gd name="T34" fmla="*/ 2147483647 w 472"/>
              <a:gd name="T35" fmla="*/ 2147483647 h 429"/>
              <a:gd name="T36" fmla="*/ 2147483647 w 472"/>
              <a:gd name="T37" fmla="*/ 2147483647 h 429"/>
              <a:gd name="T38" fmla="*/ 2147483647 w 472"/>
              <a:gd name="T39" fmla="*/ 2147483647 h 429"/>
              <a:gd name="T40" fmla="*/ 2147483647 w 472"/>
              <a:gd name="T41" fmla="*/ 2147483647 h 429"/>
              <a:gd name="T42" fmla="*/ 2147483647 w 472"/>
              <a:gd name="T43" fmla="*/ 2147483647 h 429"/>
              <a:gd name="T44" fmla="*/ 2147483647 w 472"/>
              <a:gd name="T45" fmla="*/ 2147483647 h 429"/>
              <a:gd name="T46" fmla="*/ 2147483647 w 472"/>
              <a:gd name="T47" fmla="*/ 2147483647 h 429"/>
              <a:gd name="T48" fmla="*/ 2147483647 w 472"/>
              <a:gd name="T49" fmla="*/ 2147483647 h 429"/>
              <a:gd name="T50" fmla="*/ 2147483647 w 472"/>
              <a:gd name="T51" fmla="*/ 2147483647 h 429"/>
              <a:gd name="T52" fmla="*/ 2147483647 w 472"/>
              <a:gd name="T53" fmla="*/ 2147483647 h 429"/>
              <a:gd name="T54" fmla="*/ 2147483647 w 472"/>
              <a:gd name="T55" fmla="*/ 2147483647 h 429"/>
              <a:gd name="T56" fmla="*/ 2147483647 w 472"/>
              <a:gd name="T57" fmla="*/ 2147483647 h 429"/>
              <a:gd name="T58" fmla="*/ 2147483647 w 472"/>
              <a:gd name="T59" fmla="*/ 2147483647 h 429"/>
              <a:gd name="T60" fmla="*/ 2147483647 w 472"/>
              <a:gd name="T61" fmla="*/ 2147483647 h 429"/>
              <a:gd name="T62" fmla="*/ 2147483647 w 472"/>
              <a:gd name="T63" fmla="*/ 2147483647 h 429"/>
              <a:gd name="T64" fmla="*/ 2147483647 w 472"/>
              <a:gd name="T65" fmla="*/ 2147483647 h 429"/>
              <a:gd name="T66" fmla="*/ 2147483647 w 472"/>
              <a:gd name="T67" fmla="*/ 2147483647 h 429"/>
              <a:gd name="T68" fmla="*/ 2147483647 w 472"/>
              <a:gd name="T69" fmla="*/ 2147483647 h 429"/>
              <a:gd name="T70" fmla="*/ 2147483647 w 472"/>
              <a:gd name="T71" fmla="*/ 2147483647 h 429"/>
              <a:gd name="T72" fmla="*/ 2147483647 w 472"/>
              <a:gd name="T73" fmla="*/ 2147483647 h 429"/>
              <a:gd name="T74" fmla="*/ 2147483647 w 472"/>
              <a:gd name="T75" fmla="*/ 2147483647 h 429"/>
              <a:gd name="T76" fmla="*/ 2147483647 w 472"/>
              <a:gd name="T77" fmla="*/ 2147483647 h 429"/>
              <a:gd name="T78" fmla="*/ 2147483647 w 472"/>
              <a:gd name="T79" fmla="*/ 2147483647 h 429"/>
              <a:gd name="T80" fmla="*/ 2147483647 w 472"/>
              <a:gd name="T81" fmla="*/ 2147483647 h 429"/>
              <a:gd name="T82" fmla="*/ 2147483647 w 472"/>
              <a:gd name="T83" fmla="*/ 2147483647 h 429"/>
              <a:gd name="T84" fmla="*/ 2147483647 w 472"/>
              <a:gd name="T85" fmla="*/ 2147483647 h 429"/>
              <a:gd name="T86" fmla="*/ 2147483647 w 472"/>
              <a:gd name="T87" fmla="*/ 2147483647 h 429"/>
              <a:gd name="T88" fmla="*/ 2147483647 w 472"/>
              <a:gd name="T89" fmla="*/ 2147483647 h 429"/>
              <a:gd name="T90" fmla="*/ 2147483647 w 472"/>
              <a:gd name="T91" fmla="*/ 2147483647 h 429"/>
              <a:gd name="T92" fmla="*/ 2147483647 w 472"/>
              <a:gd name="T93" fmla="*/ 2147483647 h 429"/>
              <a:gd name="T94" fmla="*/ 2147483647 w 472"/>
              <a:gd name="T95" fmla="*/ 2147483647 h 429"/>
              <a:gd name="T96" fmla="*/ 2147483647 w 472"/>
              <a:gd name="T97" fmla="*/ 2147483647 h 429"/>
              <a:gd name="T98" fmla="*/ 2147483647 w 472"/>
              <a:gd name="T99" fmla="*/ 2147483647 h 429"/>
              <a:gd name="T100" fmla="*/ 2147483647 w 472"/>
              <a:gd name="T101" fmla="*/ 2147483647 h 429"/>
              <a:gd name="T102" fmla="*/ 2147483647 w 472"/>
              <a:gd name="T103" fmla="*/ 2147483647 h 429"/>
              <a:gd name="T104" fmla="*/ 2147483647 w 472"/>
              <a:gd name="T105" fmla="*/ 2147483647 h 429"/>
              <a:gd name="T106" fmla="*/ 2147483647 w 472"/>
              <a:gd name="T107" fmla="*/ 2147483647 h 429"/>
              <a:gd name="T108" fmla="*/ 2147483647 w 472"/>
              <a:gd name="T109" fmla="*/ 2147483647 h 429"/>
              <a:gd name="T110" fmla="*/ 2147483647 w 472"/>
              <a:gd name="T111" fmla="*/ 2147483647 h 429"/>
              <a:gd name="T112" fmla="*/ 2147483647 w 472"/>
              <a:gd name="T113" fmla="*/ 2147483647 h 429"/>
              <a:gd name="T114" fmla="*/ 2147483647 w 472"/>
              <a:gd name="T115" fmla="*/ 2147483647 h 429"/>
              <a:gd name="T116" fmla="*/ 2147483647 w 472"/>
              <a:gd name="T117" fmla="*/ 2147483647 h 429"/>
              <a:gd name="T118" fmla="*/ 2147483647 w 472"/>
              <a:gd name="T119" fmla="*/ 2147483647 h 429"/>
              <a:gd name="T120" fmla="*/ 2147483647 w 472"/>
              <a:gd name="T121" fmla="*/ 2147483647 h 429"/>
              <a:gd name="T122" fmla="*/ 2147483647 w 472"/>
              <a:gd name="T123" fmla="*/ 2147483647 h 429"/>
              <a:gd name="T124" fmla="*/ 2147483647 w 472"/>
              <a:gd name="T125" fmla="*/ 2147483647 h 42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72"/>
              <a:gd name="T190" fmla="*/ 0 h 429"/>
              <a:gd name="T191" fmla="*/ 472 w 472"/>
              <a:gd name="T192" fmla="*/ 429 h 42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72" h="429">
                <a:moveTo>
                  <a:pt x="0" y="6"/>
                </a:moveTo>
                <a:lnTo>
                  <a:pt x="266" y="0"/>
                </a:lnTo>
                <a:lnTo>
                  <a:pt x="267" y="3"/>
                </a:lnTo>
                <a:lnTo>
                  <a:pt x="271" y="6"/>
                </a:lnTo>
                <a:lnTo>
                  <a:pt x="274" y="9"/>
                </a:lnTo>
                <a:lnTo>
                  <a:pt x="271" y="12"/>
                </a:lnTo>
                <a:lnTo>
                  <a:pt x="267" y="14"/>
                </a:lnTo>
                <a:lnTo>
                  <a:pt x="269" y="17"/>
                </a:lnTo>
                <a:lnTo>
                  <a:pt x="267" y="22"/>
                </a:lnTo>
                <a:lnTo>
                  <a:pt x="266" y="25"/>
                </a:lnTo>
                <a:lnTo>
                  <a:pt x="267" y="28"/>
                </a:lnTo>
                <a:lnTo>
                  <a:pt x="272" y="31"/>
                </a:lnTo>
                <a:lnTo>
                  <a:pt x="275" y="33"/>
                </a:lnTo>
                <a:lnTo>
                  <a:pt x="272" y="36"/>
                </a:lnTo>
                <a:lnTo>
                  <a:pt x="269" y="38"/>
                </a:lnTo>
                <a:lnTo>
                  <a:pt x="267" y="41"/>
                </a:lnTo>
                <a:lnTo>
                  <a:pt x="269" y="44"/>
                </a:lnTo>
                <a:lnTo>
                  <a:pt x="271" y="47"/>
                </a:lnTo>
                <a:lnTo>
                  <a:pt x="272" y="55"/>
                </a:lnTo>
                <a:lnTo>
                  <a:pt x="275" y="55"/>
                </a:lnTo>
                <a:lnTo>
                  <a:pt x="274" y="60"/>
                </a:lnTo>
                <a:lnTo>
                  <a:pt x="278" y="63"/>
                </a:lnTo>
                <a:lnTo>
                  <a:pt x="280" y="66"/>
                </a:lnTo>
                <a:lnTo>
                  <a:pt x="285" y="66"/>
                </a:lnTo>
                <a:lnTo>
                  <a:pt x="286" y="70"/>
                </a:lnTo>
                <a:lnTo>
                  <a:pt x="291" y="71"/>
                </a:lnTo>
                <a:lnTo>
                  <a:pt x="293" y="74"/>
                </a:lnTo>
                <a:lnTo>
                  <a:pt x="291" y="78"/>
                </a:lnTo>
                <a:lnTo>
                  <a:pt x="288" y="82"/>
                </a:lnTo>
                <a:lnTo>
                  <a:pt x="285" y="85"/>
                </a:lnTo>
                <a:lnTo>
                  <a:pt x="282" y="92"/>
                </a:lnTo>
                <a:lnTo>
                  <a:pt x="280" y="97"/>
                </a:lnTo>
                <a:lnTo>
                  <a:pt x="277" y="100"/>
                </a:lnTo>
                <a:lnTo>
                  <a:pt x="277" y="106"/>
                </a:lnTo>
                <a:lnTo>
                  <a:pt x="274" y="111"/>
                </a:lnTo>
                <a:lnTo>
                  <a:pt x="271" y="114"/>
                </a:lnTo>
                <a:lnTo>
                  <a:pt x="264" y="119"/>
                </a:lnTo>
                <a:lnTo>
                  <a:pt x="261" y="125"/>
                </a:lnTo>
                <a:lnTo>
                  <a:pt x="261" y="127"/>
                </a:lnTo>
                <a:lnTo>
                  <a:pt x="256" y="127"/>
                </a:lnTo>
                <a:lnTo>
                  <a:pt x="253" y="132"/>
                </a:lnTo>
                <a:lnTo>
                  <a:pt x="250" y="136"/>
                </a:lnTo>
                <a:lnTo>
                  <a:pt x="250" y="143"/>
                </a:lnTo>
                <a:lnTo>
                  <a:pt x="250" y="149"/>
                </a:lnTo>
                <a:lnTo>
                  <a:pt x="248" y="154"/>
                </a:lnTo>
                <a:lnTo>
                  <a:pt x="247" y="159"/>
                </a:lnTo>
                <a:lnTo>
                  <a:pt x="244" y="162"/>
                </a:lnTo>
                <a:lnTo>
                  <a:pt x="240" y="165"/>
                </a:lnTo>
                <a:lnTo>
                  <a:pt x="237" y="167"/>
                </a:lnTo>
                <a:lnTo>
                  <a:pt x="239" y="171"/>
                </a:lnTo>
                <a:lnTo>
                  <a:pt x="240" y="176"/>
                </a:lnTo>
                <a:lnTo>
                  <a:pt x="240" y="182"/>
                </a:lnTo>
                <a:lnTo>
                  <a:pt x="239" y="186"/>
                </a:lnTo>
                <a:lnTo>
                  <a:pt x="237" y="190"/>
                </a:lnTo>
                <a:lnTo>
                  <a:pt x="234" y="194"/>
                </a:lnTo>
                <a:lnTo>
                  <a:pt x="229" y="195"/>
                </a:lnTo>
                <a:lnTo>
                  <a:pt x="226" y="200"/>
                </a:lnTo>
                <a:lnTo>
                  <a:pt x="229" y="206"/>
                </a:lnTo>
                <a:lnTo>
                  <a:pt x="232" y="208"/>
                </a:lnTo>
                <a:lnTo>
                  <a:pt x="236" y="213"/>
                </a:lnTo>
                <a:lnTo>
                  <a:pt x="237" y="219"/>
                </a:lnTo>
                <a:lnTo>
                  <a:pt x="239" y="222"/>
                </a:lnTo>
                <a:lnTo>
                  <a:pt x="406" y="214"/>
                </a:lnTo>
                <a:lnTo>
                  <a:pt x="406" y="225"/>
                </a:lnTo>
                <a:lnTo>
                  <a:pt x="402" y="230"/>
                </a:lnTo>
                <a:lnTo>
                  <a:pt x="401" y="236"/>
                </a:lnTo>
                <a:lnTo>
                  <a:pt x="401" y="241"/>
                </a:lnTo>
                <a:lnTo>
                  <a:pt x="401" y="249"/>
                </a:lnTo>
                <a:lnTo>
                  <a:pt x="401" y="254"/>
                </a:lnTo>
                <a:lnTo>
                  <a:pt x="402" y="260"/>
                </a:lnTo>
                <a:lnTo>
                  <a:pt x="406" y="263"/>
                </a:lnTo>
                <a:lnTo>
                  <a:pt x="410" y="267"/>
                </a:lnTo>
                <a:lnTo>
                  <a:pt x="415" y="273"/>
                </a:lnTo>
                <a:lnTo>
                  <a:pt x="417" y="279"/>
                </a:lnTo>
                <a:lnTo>
                  <a:pt x="418" y="286"/>
                </a:lnTo>
                <a:lnTo>
                  <a:pt x="418" y="292"/>
                </a:lnTo>
                <a:lnTo>
                  <a:pt x="417" y="297"/>
                </a:lnTo>
                <a:lnTo>
                  <a:pt x="412" y="295"/>
                </a:lnTo>
                <a:lnTo>
                  <a:pt x="404" y="292"/>
                </a:lnTo>
                <a:lnTo>
                  <a:pt x="399" y="289"/>
                </a:lnTo>
                <a:lnTo>
                  <a:pt x="388" y="286"/>
                </a:lnTo>
                <a:lnTo>
                  <a:pt x="380" y="284"/>
                </a:lnTo>
                <a:lnTo>
                  <a:pt x="372" y="282"/>
                </a:lnTo>
                <a:lnTo>
                  <a:pt x="366" y="284"/>
                </a:lnTo>
                <a:lnTo>
                  <a:pt x="358" y="287"/>
                </a:lnTo>
                <a:lnTo>
                  <a:pt x="353" y="290"/>
                </a:lnTo>
                <a:lnTo>
                  <a:pt x="348" y="295"/>
                </a:lnTo>
                <a:lnTo>
                  <a:pt x="347" y="302"/>
                </a:lnTo>
                <a:lnTo>
                  <a:pt x="347" y="308"/>
                </a:lnTo>
                <a:lnTo>
                  <a:pt x="350" y="311"/>
                </a:lnTo>
                <a:lnTo>
                  <a:pt x="353" y="317"/>
                </a:lnTo>
                <a:lnTo>
                  <a:pt x="358" y="319"/>
                </a:lnTo>
                <a:lnTo>
                  <a:pt x="367" y="321"/>
                </a:lnTo>
                <a:lnTo>
                  <a:pt x="377" y="319"/>
                </a:lnTo>
                <a:lnTo>
                  <a:pt x="383" y="314"/>
                </a:lnTo>
                <a:lnTo>
                  <a:pt x="390" y="308"/>
                </a:lnTo>
                <a:lnTo>
                  <a:pt x="396" y="305"/>
                </a:lnTo>
                <a:lnTo>
                  <a:pt x="401" y="305"/>
                </a:lnTo>
                <a:lnTo>
                  <a:pt x="404" y="308"/>
                </a:lnTo>
                <a:lnTo>
                  <a:pt x="406" y="313"/>
                </a:lnTo>
                <a:lnTo>
                  <a:pt x="406" y="317"/>
                </a:lnTo>
                <a:lnTo>
                  <a:pt x="406" y="322"/>
                </a:lnTo>
                <a:lnTo>
                  <a:pt x="406" y="329"/>
                </a:lnTo>
                <a:lnTo>
                  <a:pt x="410" y="330"/>
                </a:lnTo>
                <a:lnTo>
                  <a:pt x="415" y="330"/>
                </a:lnTo>
                <a:lnTo>
                  <a:pt x="420" y="324"/>
                </a:lnTo>
                <a:lnTo>
                  <a:pt x="421" y="321"/>
                </a:lnTo>
                <a:lnTo>
                  <a:pt x="428" y="316"/>
                </a:lnTo>
                <a:lnTo>
                  <a:pt x="431" y="314"/>
                </a:lnTo>
                <a:lnTo>
                  <a:pt x="437" y="311"/>
                </a:lnTo>
                <a:lnTo>
                  <a:pt x="441" y="308"/>
                </a:lnTo>
                <a:lnTo>
                  <a:pt x="448" y="306"/>
                </a:lnTo>
                <a:lnTo>
                  <a:pt x="452" y="309"/>
                </a:lnTo>
                <a:lnTo>
                  <a:pt x="452" y="313"/>
                </a:lnTo>
                <a:lnTo>
                  <a:pt x="455" y="321"/>
                </a:lnTo>
                <a:lnTo>
                  <a:pt x="453" y="327"/>
                </a:lnTo>
                <a:lnTo>
                  <a:pt x="452" y="335"/>
                </a:lnTo>
                <a:lnTo>
                  <a:pt x="450" y="340"/>
                </a:lnTo>
                <a:lnTo>
                  <a:pt x="445" y="341"/>
                </a:lnTo>
                <a:lnTo>
                  <a:pt x="441" y="346"/>
                </a:lnTo>
                <a:lnTo>
                  <a:pt x="437" y="349"/>
                </a:lnTo>
                <a:lnTo>
                  <a:pt x="433" y="351"/>
                </a:lnTo>
                <a:lnTo>
                  <a:pt x="428" y="356"/>
                </a:lnTo>
                <a:lnTo>
                  <a:pt x="425" y="360"/>
                </a:lnTo>
                <a:lnTo>
                  <a:pt x="421" y="362"/>
                </a:lnTo>
                <a:lnTo>
                  <a:pt x="418" y="364"/>
                </a:lnTo>
                <a:lnTo>
                  <a:pt x="417" y="368"/>
                </a:lnTo>
                <a:lnTo>
                  <a:pt x="421" y="370"/>
                </a:lnTo>
                <a:lnTo>
                  <a:pt x="423" y="373"/>
                </a:lnTo>
                <a:lnTo>
                  <a:pt x="425" y="378"/>
                </a:lnTo>
                <a:lnTo>
                  <a:pt x="426" y="381"/>
                </a:lnTo>
                <a:lnTo>
                  <a:pt x="434" y="386"/>
                </a:lnTo>
                <a:lnTo>
                  <a:pt x="441" y="389"/>
                </a:lnTo>
                <a:lnTo>
                  <a:pt x="447" y="392"/>
                </a:lnTo>
                <a:lnTo>
                  <a:pt x="456" y="397"/>
                </a:lnTo>
                <a:lnTo>
                  <a:pt x="463" y="400"/>
                </a:lnTo>
                <a:lnTo>
                  <a:pt x="469" y="403"/>
                </a:lnTo>
                <a:lnTo>
                  <a:pt x="472" y="408"/>
                </a:lnTo>
                <a:lnTo>
                  <a:pt x="472" y="414"/>
                </a:lnTo>
                <a:lnTo>
                  <a:pt x="471" y="421"/>
                </a:lnTo>
                <a:lnTo>
                  <a:pt x="466" y="424"/>
                </a:lnTo>
                <a:lnTo>
                  <a:pt x="461" y="427"/>
                </a:lnTo>
                <a:lnTo>
                  <a:pt x="456" y="429"/>
                </a:lnTo>
                <a:lnTo>
                  <a:pt x="447" y="429"/>
                </a:lnTo>
                <a:lnTo>
                  <a:pt x="444" y="422"/>
                </a:lnTo>
                <a:lnTo>
                  <a:pt x="441" y="418"/>
                </a:lnTo>
                <a:lnTo>
                  <a:pt x="436" y="411"/>
                </a:lnTo>
                <a:lnTo>
                  <a:pt x="431" y="408"/>
                </a:lnTo>
                <a:lnTo>
                  <a:pt x="423" y="405"/>
                </a:lnTo>
                <a:lnTo>
                  <a:pt x="418" y="403"/>
                </a:lnTo>
                <a:lnTo>
                  <a:pt x="415" y="398"/>
                </a:lnTo>
                <a:lnTo>
                  <a:pt x="410" y="397"/>
                </a:lnTo>
                <a:lnTo>
                  <a:pt x="404" y="392"/>
                </a:lnTo>
                <a:lnTo>
                  <a:pt x="401" y="387"/>
                </a:lnTo>
                <a:lnTo>
                  <a:pt x="394" y="386"/>
                </a:lnTo>
                <a:lnTo>
                  <a:pt x="390" y="387"/>
                </a:lnTo>
                <a:lnTo>
                  <a:pt x="388" y="392"/>
                </a:lnTo>
                <a:lnTo>
                  <a:pt x="388" y="397"/>
                </a:lnTo>
                <a:lnTo>
                  <a:pt x="387" y="402"/>
                </a:lnTo>
                <a:lnTo>
                  <a:pt x="383" y="410"/>
                </a:lnTo>
                <a:lnTo>
                  <a:pt x="380" y="413"/>
                </a:lnTo>
                <a:lnTo>
                  <a:pt x="375" y="416"/>
                </a:lnTo>
                <a:lnTo>
                  <a:pt x="366" y="418"/>
                </a:lnTo>
                <a:lnTo>
                  <a:pt x="361" y="416"/>
                </a:lnTo>
                <a:lnTo>
                  <a:pt x="355" y="414"/>
                </a:lnTo>
                <a:lnTo>
                  <a:pt x="348" y="418"/>
                </a:lnTo>
                <a:lnTo>
                  <a:pt x="344" y="419"/>
                </a:lnTo>
                <a:lnTo>
                  <a:pt x="339" y="422"/>
                </a:lnTo>
                <a:lnTo>
                  <a:pt x="333" y="419"/>
                </a:lnTo>
                <a:lnTo>
                  <a:pt x="328" y="414"/>
                </a:lnTo>
                <a:lnTo>
                  <a:pt x="325" y="414"/>
                </a:lnTo>
                <a:lnTo>
                  <a:pt x="321" y="419"/>
                </a:lnTo>
                <a:lnTo>
                  <a:pt x="320" y="422"/>
                </a:lnTo>
                <a:lnTo>
                  <a:pt x="317" y="424"/>
                </a:lnTo>
                <a:lnTo>
                  <a:pt x="312" y="422"/>
                </a:lnTo>
                <a:lnTo>
                  <a:pt x="304" y="419"/>
                </a:lnTo>
                <a:lnTo>
                  <a:pt x="298" y="416"/>
                </a:lnTo>
                <a:lnTo>
                  <a:pt x="291" y="414"/>
                </a:lnTo>
                <a:lnTo>
                  <a:pt x="283" y="414"/>
                </a:lnTo>
                <a:lnTo>
                  <a:pt x="275" y="413"/>
                </a:lnTo>
                <a:lnTo>
                  <a:pt x="272" y="408"/>
                </a:lnTo>
                <a:lnTo>
                  <a:pt x="266" y="402"/>
                </a:lnTo>
                <a:lnTo>
                  <a:pt x="263" y="397"/>
                </a:lnTo>
                <a:lnTo>
                  <a:pt x="259" y="392"/>
                </a:lnTo>
                <a:lnTo>
                  <a:pt x="256" y="386"/>
                </a:lnTo>
                <a:lnTo>
                  <a:pt x="248" y="384"/>
                </a:lnTo>
                <a:lnTo>
                  <a:pt x="244" y="381"/>
                </a:lnTo>
                <a:lnTo>
                  <a:pt x="237" y="375"/>
                </a:lnTo>
                <a:lnTo>
                  <a:pt x="231" y="370"/>
                </a:lnTo>
                <a:lnTo>
                  <a:pt x="226" y="367"/>
                </a:lnTo>
                <a:lnTo>
                  <a:pt x="218" y="365"/>
                </a:lnTo>
                <a:lnTo>
                  <a:pt x="215" y="360"/>
                </a:lnTo>
                <a:lnTo>
                  <a:pt x="209" y="357"/>
                </a:lnTo>
                <a:lnTo>
                  <a:pt x="190" y="356"/>
                </a:lnTo>
                <a:lnTo>
                  <a:pt x="186" y="360"/>
                </a:lnTo>
                <a:lnTo>
                  <a:pt x="185" y="367"/>
                </a:lnTo>
                <a:lnTo>
                  <a:pt x="186" y="371"/>
                </a:lnTo>
                <a:lnTo>
                  <a:pt x="183" y="378"/>
                </a:lnTo>
                <a:lnTo>
                  <a:pt x="178" y="383"/>
                </a:lnTo>
                <a:lnTo>
                  <a:pt x="175" y="386"/>
                </a:lnTo>
                <a:lnTo>
                  <a:pt x="166" y="383"/>
                </a:lnTo>
                <a:lnTo>
                  <a:pt x="156" y="379"/>
                </a:lnTo>
                <a:lnTo>
                  <a:pt x="143" y="379"/>
                </a:lnTo>
                <a:lnTo>
                  <a:pt x="131" y="375"/>
                </a:lnTo>
                <a:lnTo>
                  <a:pt x="118" y="371"/>
                </a:lnTo>
                <a:lnTo>
                  <a:pt x="104" y="370"/>
                </a:lnTo>
                <a:lnTo>
                  <a:pt x="88" y="367"/>
                </a:lnTo>
                <a:lnTo>
                  <a:pt x="78" y="364"/>
                </a:lnTo>
                <a:lnTo>
                  <a:pt x="69" y="365"/>
                </a:lnTo>
                <a:lnTo>
                  <a:pt x="59" y="367"/>
                </a:lnTo>
                <a:lnTo>
                  <a:pt x="45" y="368"/>
                </a:lnTo>
                <a:lnTo>
                  <a:pt x="39" y="370"/>
                </a:lnTo>
                <a:lnTo>
                  <a:pt x="21" y="370"/>
                </a:lnTo>
                <a:lnTo>
                  <a:pt x="18" y="365"/>
                </a:lnTo>
                <a:lnTo>
                  <a:pt x="12" y="360"/>
                </a:lnTo>
                <a:lnTo>
                  <a:pt x="19" y="356"/>
                </a:lnTo>
                <a:lnTo>
                  <a:pt x="23" y="351"/>
                </a:lnTo>
                <a:lnTo>
                  <a:pt x="26" y="346"/>
                </a:lnTo>
                <a:lnTo>
                  <a:pt x="31" y="338"/>
                </a:lnTo>
                <a:lnTo>
                  <a:pt x="37" y="330"/>
                </a:lnTo>
                <a:lnTo>
                  <a:pt x="39" y="322"/>
                </a:lnTo>
                <a:lnTo>
                  <a:pt x="39" y="314"/>
                </a:lnTo>
                <a:lnTo>
                  <a:pt x="35" y="305"/>
                </a:lnTo>
                <a:lnTo>
                  <a:pt x="34" y="295"/>
                </a:lnTo>
                <a:lnTo>
                  <a:pt x="34" y="290"/>
                </a:lnTo>
                <a:lnTo>
                  <a:pt x="34" y="281"/>
                </a:lnTo>
                <a:lnTo>
                  <a:pt x="35" y="275"/>
                </a:lnTo>
                <a:lnTo>
                  <a:pt x="39" y="268"/>
                </a:lnTo>
                <a:lnTo>
                  <a:pt x="43" y="262"/>
                </a:lnTo>
                <a:lnTo>
                  <a:pt x="47" y="251"/>
                </a:lnTo>
                <a:lnTo>
                  <a:pt x="48" y="243"/>
                </a:lnTo>
                <a:lnTo>
                  <a:pt x="50" y="233"/>
                </a:lnTo>
                <a:lnTo>
                  <a:pt x="50" y="228"/>
                </a:lnTo>
                <a:lnTo>
                  <a:pt x="51" y="222"/>
                </a:lnTo>
                <a:lnTo>
                  <a:pt x="53" y="214"/>
                </a:lnTo>
                <a:lnTo>
                  <a:pt x="48" y="209"/>
                </a:lnTo>
                <a:lnTo>
                  <a:pt x="45" y="205"/>
                </a:lnTo>
                <a:lnTo>
                  <a:pt x="42" y="198"/>
                </a:lnTo>
                <a:lnTo>
                  <a:pt x="39" y="192"/>
                </a:lnTo>
                <a:lnTo>
                  <a:pt x="39" y="187"/>
                </a:lnTo>
                <a:lnTo>
                  <a:pt x="37" y="181"/>
                </a:lnTo>
                <a:lnTo>
                  <a:pt x="34" y="178"/>
                </a:lnTo>
                <a:lnTo>
                  <a:pt x="32" y="173"/>
                </a:lnTo>
                <a:lnTo>
                  <a:pt x="29" y="168"/>
                </a:lnTo>
                <a:lnTo>
                  <a:pt x="26" y="167"/>
                </a:lnTo>
                <a:lnTo>
                  <a:pt x="21" y="162"/>
                </a:lnTo>
                <a:lnTo>
                  <a:pt x="23" y="154"/>
                </a:lnTo>
                <a:lnTo>
                  <a:pt x="24" y="144"/>
                </a:lnTo>
                <a:lnTo>
                  <a:pt x="23" y="138"/>
                </a:lnTo>
                <a:lnTo>
                  <a:pt x="15" y="132"/>
                </a:lnTo>
                <a:lnTo>
                  <a:pt x="10" y="125"/>
                </a:lnTo>
                <a:lnTo>
                  <a:pt x="4" y="119"/>
                </a:lnTo>
                <a:lnTo>
                  <a:pt x="0" y="114"/>
                </a:lnTo>
                <a:lnTo>
                  <a:pt x="0" y="6"/>
                </a:lnTo>
                <a:close/>
              </a:path>
            </a:pathLst>
          </a:custGeom>
          <a:solidFill>
            <a:schemeClr val="bg1">
              <a:lumMod val="95000"/>
            </a:schemeClr>
          </a:solidFill>
          <a:ln w="0" algn="ctr">
            <a:solidFill>
              <a:srgbClr val="808080"/>
            </a:solidFill>
            <a:round/>
            <a:headEnd/>
            <a:tailEnd/>
          </a:ln>
        </p:spPr>
        <p:txBody>
          <a:bodyPr lIns="101798" tIns="50899" rIns="101798" bIns="50899"/>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endParaRPr>
          </a:p>
        </p:txBody>
      </p:sp>
      <p:sp>
        <p:nvSpPr>
          <p:cNvPr id="48" name="State: Kentucky"/>
          <p:cNvSpPr>
            <a:spLocks/>
          </p:cNvSpPr>
          <p:nvPr/>
        </p:nvSpPr>
        <p:spPr bwMode="auto">
          <a:xfrm>
            <a:off x="4957660" y="3867953"/>
            <a:ext cx="946537" cy="506068"/>
          </a:xfrm>
          <a:custGeom>
            <a:avLst/>
            <a:gdLst>
              <a:gd name="T0" fmla="*/ 2147483647 w 634"/>
              <a:gd name="T1" fmla="*/ 2147483647 h 329"/>
              <a:gd name="T2" fmla="*/ 2147483647 w 634"/>
              <a:gd name="T3" fmla="*/ 2147483647 h 329"/>
              <a:gd name="T4" fmla="*/ 2147483647 w 634"/>
              <a:gd name="T5" fmla="*/ 2147483647 h 329"/>
              <a:gd name="T6" fmla="*/ 2147483647 w 634"/>
              <a:gd name="T7" fmla="*/ 2147483647 h 329"/>
              <a:gd name="T8" fmla="*/ 2147483647 w 634"/>
              <a:gd name="T9" fmla="*/ 2147483647 h 329"/>
              <a:gd name="T10" fmla="*/ 2147483647 w 634"/>
              <a:gd name="T11" fmla="*/ 2147483647 h 329"/>
              <a:gd name="T12" fmla="*/ 2147483647 w 634"/>
              <a:gd name="T13" fmla="*/ 2147483647 h 329"/>
              <a:gd name="T14" fmla="*/ 2147483647 w 634"/>
              <a:gd name="T15" fmla="*/ 2147483647 h 329"/>
              <a:gd name="T16" fmla="*/ 2147483647 w 634"/>
              <a:gd name="T17" fmla="*/ 2147483647 h 329"/>
              <a:gd name="T18" fmla="*/ 2147483647 w 634"/>
              <a:gd name="T19" fmla="*/ 2147483647 h 329"/>
              <a:gd name="T20" fmla="*/ 2147483647 w 634"/>
              <a:gd name="T21" fmla="*/ 2147483647 h 329"/>
              <a:gd name="T22" fmla="*/ 2147483647 w 634"/>
              <a:gd name="T23" fmla="*/ 2147483647 h 329"/>
              <a:gd name="T24" fmla="*/ 2147483647 w 634"/>
              <a:gd name="T25" fmla="*/ 2147483647 h 329"/>
              <a:gd name="T26" fmla="*/ 2147483647 w 634"/>
              <a:gd name="T27" fmla="*/ 2147483647 h 329"/>
              <a:gd name="T28" fmla="*/ 2147483647 w 634"/>
              <a:gd name="T29" fmla="*/ 2147483647 h 329"/>
              <a:gd name="T30" fmla="*/ 2147483647 w 634"/>
              <a:gd name="T31" fmla="*/ 2147483647 h 329"/>
              <a:gd name="T32" fmla="*/ 2147483647 w 634"/>
              <a:gd name="T33" fmla="*/ 2147483647 h 329"/>
              <a:gd name="T34" fmla="*/ 2147483647 w 634"/>
              <a:gd name="T35" fmla="*/ 2147483647 h 329"/>
              <a:gd name="T36" fmla="*/ 2147483647 w 634"/>
              <a:gd name="T37" fmla="*/ 2147483647 h 329"/>
              <a:gd name="T38" fmla="*/ 2147483647 w 634"/>
              <a:gd name="T39" fmla="*/ 2147483647 h 329"/>
              <a:gd name="T40" fmla="*/ 2147483647 w 634"/>
              <a:gd name="T41" fmla="*/ 2147483647 h 329"/>
              <a:gd name="T42" fmla="*/ 2147483647 w 634"/>
              <a:gd name="T43" fmla="*/ 2147483647 h 329"/>
              <a:gd name="T44" fmla="*/ 2147483647 w 634"/>
              <a:gd name="T45" fmla="*/ 2147483647 h 329"/>
              <a:gd name="T46" fmla="*/ 2147483647 w 634"/>
              <a:gd name="T47" fmla="*/ 2147483647 h 329"/>
              <a:gd name="T48" fmla="*/ 2147483647 w 634"/>
              <a:gd name="T49" fmla="*/ 2147483647 h 329"/>
              <a:gd name="T50" fmla="*/ 2147483647 w 634"/>
              <a:gd name="T51" fmla="*/ 2147483647 h 329"/>
              <a:gd name="T52" fmla="*/ 2147483647 w 634"/>
              <a:gd name="T53" fmla="*/ 2147483647 h 329"/>
              <a:gd name="T54" fmla="*/ 2147483647 w 634"/>
              <a:gd name="T55" fmla="*/ 2147483647 h 329"/>
              <a:gd name="T56" fmla="*/ 2147483647 w 634"/>
              <a:gd name="T57" fmla="*/ 2147483647 h 329"/>
              <a:gd name="T58" fmla="*/ 2147483647 w 634"/>
              <a:gd name="T59" fmla="*/ 2147483647 h 329"/>
              <a:gd name="T60" fmla="*/ 2147483647 w 634"/>
              <a:gd name="T61" fmla="*/ 2147483647 h 329"/>
              <a:gd name="T62" fmla="*/ 2147483647 w 634"/>
              <a:gd name="T63" fmla="*/ 2147483647 h 329"/>
              <a:gd name="T64" fmla="*/ 2147483647 w 634"/>
              <a:gd name="T65" fmla="*/ 2147483647 h 329"/>
              <a:gd name="T66" fmla="*/ 2147483647 w 634"/>
              <a:gd name="T67" fmla="*/ 2147483647 h 329"/>
              <a:gd name="T68" fmla="*/ 2147483647 w 634"/>
              <a:gd name="T69" fmla="*/ 2147483647 h 329"/>
              <a:gd name="T70" fmla="*/ 2147483647 w 634"/>
              <a:gd name="T71" fmla="*/ 2147483647 h 329"/>
              <a:gd name="T72" fmla="*/ 2147483647 w 634"/>
              <a:gd name="T73" fmla="*/ 2147483647 h 329"/>
              <a:gd name="T74" fmla="*/ 2147483647 w 634"/>
              <a:gd name="T75" fmla="*/ 2147483647 h 329"/>
              <a:gd name="T76" fmla="*/ 2147483647 w 634"/>
              <a:gd name="T77" fmla="*/ 2147483647 h 329"/>
              <a:gd name="T78" fmla="*/ 2147483647 w 634"/>
              <a:gd name="T79" fmla="*/ 2147483647 h 329"/>
              <a:gd name="T80" fmla="*/ 2147483647 w 634"/>
              <a:gd name="T81" fmla="*/ 2147483647 h 329"/>
              <a:gd name="T82" fmla="*/ 2147483647 w 634"/>
              <a:gd name="T83" fmla="*/ 2147483647 h 329"/>
              <a:gd name="T84" fmla="*/ 2147483647 w 634"/>
              <a:gd name="T85" fmla="*/ 2147483647 h 329"/>
              <a:gd name="T86" fmla="*/ 2147483647 w 634"/>
              <a:gd name="T87" fmla="*/ 2147483647 h 329"/>
              <a:gd name="T88" fmla="*/ 2147483647 w 634"/>
              <a:gd name="T89" fmla="*/ 2147483647 h 329"/>
              <a:gd name="T90" fmla="*/ 2147483647 w 634"/>
              <a:gd name="T91" fmla="*/ 2147483647 h 329"/>
              <a:gd name="T92" fmla="*/ 2147483647 w 634"/>
              <a:gd name="T93" fmla="*/ 2147483647 h 329"/>
              <a:gd name="T94" fmla="*/ 2147483647 w 634"/>
              <a:gd name="T95" fmla="*/ 2147483647 h 329"/>
              <a:gd name="T96" fmla="*/ 2147483647 w 634"/>
              <a:gd name="T97" fmla="*/ 2147483647 h 329"/>
              <a:gd name="T98" fmla="*/ 2147483647 w 634"/>
              <a:gd name="T99" fmla="*/ 2147483647 h 329"/>
              <a:gd name="T100" fmla="*/ 2147483647 w 634"/>
              <a:gd name="T101" fmla="*/ 2147483647 h 329"/>
              <a:gd name="T102" fmla="*/ 2147483647 w 634"/>
              <a:gd name="T103" fmla="*/ 2147483647 h 329"/>
              <a:gd name="T104" fmla="*/ 2147483647 w 634"/>
              <a:gd name="T105" fmla="*/ 2147483647 h 329"/>
              <a:gd name="T106" fmla="*/ 2147483647 w 634"/>
              <a:gd name="T107" fmla="*/ 2147483647 h 329"/>
              <a:gd name="T108" fmla="*/ 2147483647 w 634"/>
              <a:gd name="T109" fmla="*/ 2147483647 h 329"/>
              <a:gd name="T110" fmla="*/ 2147483647 w 634"/>
              <a:gd name="T111" fmla="*/ 2147483647 h 329"/>
              <a:gd name="T112" fmla="*/ 2147483647 w 634"/>
              <a:gd name="T113" fmla="*/ 2147483647 h 329"/>
              <a:gd name="T114" fmla="*/ 2147483647 w 634"/>
              <a:gd name="T115" fmla="*/ 2147483647 h 329"/>
              <a:gd name="T116" fmla="*/ 0 w 634"/>
              <a:gd name="T117" fmla="*/ 2147483647 h 3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34"/>
              <a:gd name="T178" fmla="*/ 0 h 329"/>
              <a:gd name="T179" fmla="*/ 634 w 634"/>
              <a:gd name="T180" fmla="*/ 329 h 32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34" h="329">
                <a:moveTo>
                  <a:pt x="0" y="329"/>
                </a:moveTo>
                <a:lnTo>
                  <a:pt x="5" y="324"/>
                </a:lnTo>
                <a:lnTo>
                  <a:pt x="11" y="320"/>
                </a:lnTo>
                <a:lnTo>
                  <a:pt x="19" y="313"/>
                </a:lnTo>
                <a:lnTo>
                  <a:pt x="24" y="305"/>
                </a:lnTo>
                <a:lnTo>
                  <a:pt x="27" y="296"/>
                </a:lnTo>
                <a:lnTo>
                  <a:pt x="27" y="289"/>
                </a:lnTo>
                <a:lnTo>
                  <a:pt x="27" y="283"/>
                </a:lnTo>
                <a:lnTo>
                  <a:pt x="26" y="280"/>
                </a:lnTo>
                <a:lnTo>
                  <a:pt x="22" y="274"/>
                </a:lnTo>
                <a:lnTo>
                  <a:pt x="19" y="270"/>
                </a:lnTo>
                <a:lnTo>
                  <a:pt x="22" y="264"/>
                </a:lnTo>
                <a:lnTo>
                  <a:pt x="26" y="261"/>
                </a:lnTo>
                <a:lnTo>
                  <a:pt x="29" y="254"/>
                </a:lnTo>
                <a:lnTo>
                  <a:pt x="35" y="250"/>
                </a:lnTo>
                <a:lnTo>
                  <a:pt x="42" y="246"/>
                </a:lnTo>
                <a:lnTo>
                  <a:pt x="46" y="250"/>
                </a:lnTo>
                <a:lnTo>
                  <a:pt x="56" y="253"/>
                </a:lnTo>
                <a:lnTo>
                  <a:pt x="64" y="256"/>
                </a:lnTo>
                <a:lnTo>
                  <a:pt x="70" y="259"/>
                </a:lnTo>
                <a:lnTo>
                  <a:pt x="73" y="261"/>
                </a:lnTo>
                <a:lnTo>
                  <a:pt x="81" y="258"/>
                </a:lnTo>
                <a:lnTo>
                  <a:pt x="83" y="254"/>
                </a:lnTo>
                <a:lnTo>
                  <a:pt x="86" y="248"/>
                </a:lnTo>
                <a:lnTo>
                  <a:pt x="83" y="245"/>
                </a:lnTo>
                <a:lnTo>
                  <a:pt x="80" y="240"/>
                </a:lnTo>
                <a:lnTo>
                  <a:pt x="78" y="234"/>
                </a:lnTo>
                <a:lnTo>
                  <a:pt x="80" y="227"/>
                </a:lnTo>
                <a:lnTo>
                  <a:pt x="83" y="224"/>
                </a:lnTo>
                <a:lnTo>
                  <a:pt x="86" y="223"/>
                </a:lnTo>
                <a:lnTo>
                  <a:pt x="91" y="219"/>
                </a:lnTo>
                <a:lnTo>
                  <a:pt x="97" y="215"/>
                </a:lnTo>
                <a:lnTo>
                  <a:pt x="104" y="215"/>
                </a:lnTo>
                <a:lnTo>
                  <a:pt x="110" y="213"/>
                </a:lnTo>
                <a:lnTo>
                  <a:pt x="111" y="210"/>
                </a:lnTo>
                <a:lnTo>
                  <a:pt x="111" y="205"/>
                </a:lnTo>
                <a:lnTo>
                  <a:pt x="108" y="199"/>
                </a:lnTo>
                <a:lnTo>
                  <a:pt x="105" y="194"/>
                </a:lnTo>
                <a:lnTo>
                  <a:pt x="108" y="189"/>
                </a:lnTo>
                <a:lnTo>
                  <a:pt x="110" y="181"/>
                </a:lnTo>
                <a:lnTo>
                  <a:pt x="113" y="181"/>
                </a:lnTo>
                <a:lnTo>
                  <a:pt x="118" y="181"/>
                </a:lnTo>
                <a:lnTo>
                  <a:pt x="124" y="175"/>
                </a:lnTo>
                <a:lnTo>
                  <a:pt x="127" y="167"/>
                </a:lnTo>
                <a:lnTo>
                  <a:pt x="131" y="165"/>
                </a:lnTo>
                <a:lnTo>
                  <a:pt x="137" y="165"/>
                </a:lnTo>
                <a:lnTo>
                  <a:pt x="142" y="167"/>
                </a:lnTo>
                <a:lnTo>
                  <a:pt x="146" y="172"/>
                </a:lnTo>
                <a:lnTo>
                  <a:pt x="150" y="170"/>
                </a:lnTo>
                <a:lnTo>
                  <a:pt x="153" y="165"/>
                </a:lnTo>
                <a:lnTo>
                  <a:pt x="161" y="159"/>
                </a:lnTo>
                <a:lnTo>
                  <a:pt x="169" y="159"/>
                </a:lnTo>
                <a:lnTo>
                  <a:pt x="178" y="162"/>
                </a:lnTo>
                <a:lnTo>
                  <a:pt x="183" y="164"/>
                </a:lnTo>
                <a:lnTo>
                  <a:pt x="188" y="169"/>
                </a:lnTo>
                <a:lnTo>
                  <a:pt x="189" y="172"/>
                </a:lnTo>
                <a:lnTo>
                  <a:pt x="194" y="170"/>
                </a:lnTo>
                <a:lnTo>
                  <a:pt x="199" y="162"/>
                </a:lnTo>
                <a:lnTo>
                  <a:pt x="202" y="159"/>
                </a:lnTo>
                <a:lnTo>
                  <a:pt x="205" y="153"/>
                </a:lnTo>
                <a:lnTo>
                  <a:pt x="210" y="150"/>
                </a:lnTo>
                <a:lnTo>
                  <a:pt x="216" y="151"/>
                </a:lnTo>
                <a:lnTo>
                  <a:pt x="223" y="154"/>
                </a:lnTo>
                <a:lnTo>
                  <a:pt x="227" y="159"/>
                </a:lnTo>
                <a:lnTo>
                  <a:pt x="231" y="159"/>
                </a:lnTo>
                <a:lnTo>
                  <a:pt x="237" y="156"/>
                </a:lnTo>
                <a:lnTo>
                  <a:pt x="242" y="150"/>
                </a:lnTo>
                <a:lnTo>
                  <a:pt x="243" y="143"/>
                </a:lnTo>
                <a:lnTo>
                  <a:pt x="248" y="132"/>
                </a:lnTo>
                <a:lnTo>
                  <a:pt x="251" y="126"/>
                </a:lnTo>
                <a:lnTo>
                  <a:pt x="259" y="126"/>
                </a:lnTo>
                <a:lnTo>
                  <a:pt x="262" y="132"/>
                </a:lnTo>
                <a:lnTo>
                  <a:pt x="269" y="137"/>
                </a:lnTo>
                <a:lnTo>
                  <a:pt x="274" y="142"/>
                </a:lnTo>
                <a:lnTo>
                  <a:pt x="280" y="143"/>
                </a:lnTo>
                <a:lnTo>
                  <a:pt x="288" y="140"/>
                </a:lnTo>
                <a:lnTo>
                  <a:pt x="293" y="131"/>
                </a:lnTo>
                <a:lnTo>
                  <a:pt x="296" y="118"/>
                </a:lnTo>
                <a:lnTo>
                  <a:pt x="299" y="111"/>
                </a:lnTo>
                <a:lnTo>
                  <a:pt x="313" y="94"/>
                </a:lnTo>
                <a:lnTo>
                  <a:pt x="320" y="83"/>
                </a:lnTo>
                <a:lnTo>
                  <a:pt x="328" y="78"/>
                </a:lnTo>
                <a:lnTo>
                  <a:pt x="329" y="75"/>
                </a:lnTo>
                <a:lnTo>
                  <a:pt x="334" y="72"/>
                </a:lnTo>
                <a:lnTo>
                  <a:pt x="328" y="67"/>
                </a:lnTo>
                <a:lnTo>
                  <a:pt x="328" y="62"/>
                </a:lnTo>
                <a:lnTo>
                  <a:pt x="328" y="56"/>
                </a:lnTo>
                <a:lnTo>
                  <a:pt x="334" y="51"/>
                </a:lnTo>
                <a:lnTo>
                  <a:pt x="340" y="54"/>
                </a:lnTo>
                <a:lnTo>
                  <a:pt x="347" y="57"/>
                </a:lnTo>
                <a:lnTo>
                  <a:pt x="353" y="56"/>
                </a:lnTo>
                <a:lnTo>
                  <a:pt x="359" y="51"/>
                </a:lnTo>
                <a:lnTo>
                  <a:pt x="364" y="45"/>
                </a:lnTo>
                <a:lnTo>
                  <a:pt x="372" y="43"/>
                </a:lnTo>
                <a:lnTo>
                  <a:pt x="378" y="38"/>
                </a:lnTo>
                <a:lnTo>
                  <a:pt x="382" y="34"/>
                </a:lnTo>
                <a:lnTo>
                  <a:pt x="377" y="29"/>
                </a:lnTo>
                <a:lnTo>
                  <a:pt x="377" y="24"/>
                </a:lnTo>
                <a:lnTo>
                  <a:pt x="370" y="18"/>
                </a:lnTo>
                <a:lnTo>
                  <a:pt x="369" y="11"/>
                </a:lnTo>
                <a:lnTo>
                  <a:pt x="380" y="0"/>
                </a:lnTo>
                <a:lnTo>
                  <a:pt x="388" y="2"/>
                </a:lnTo>
                <a:lnTo>
                  <a:pt x="397" y="5"/>
                </a:lnTo>
                <a:lnTo>
                  <a:pt x="409" y="5"/>
                </a:lnTo>
                <a:lnTo>
                  <a:pt x="417" y="11"/>
                </a:lnTo>
                <a:lnTo>
                  <a:pt x="420" y="18"/>
                </a:lnTo>
                <a:lnTo>
                  <a:pt x="423" y="24"/>
                </a:lnTo>
                <a:lnTo>
                  <a:pt x="426" y="32"/>
                </a:lnTo>
                <a:lnTo>
                  <a:pt x="434" y="35"/>
                </a:lnTo>
                <a:lnTo>
                  <a:pt x="437" y="37"/>
                </a:lnTo>
                <a:lnTo>
                  <a:pt x="448" y="35"/>
                </a:lnTo>
                <a:lnTo>
                  <a:pt x="458" y="35"/>
                </a:lnTo>
                <a:lnTo>
                  <a:pt x="464" y="42"/>
                </a:lnTo>
                <a:lnTo>
                  <a:pt x="469" y="46"/>
                </a:lnTo>
                <a:lnTo>
                  <a:pt x="474" y="51"/>
                </a:lnTo>
                <a:lnTo>
                  <a:pt x="482" y="45"/>
                </a:lnTo>
                <a:lnTo>
                  <a:pt x="483" y="42"/>
                </a:lnTo>
                <a:lnTo>
                  <a:pt x="488" y="38"/>
                </a:lnTo>
                <a:lnTo>
                  <a:pt x="493" y="38"/>
                </a:lnTo>
                <a:lnTo>
                  <a:pt x="494" y="43"/>
                </a:lnTo>
                <a:lnTo>
                  <a:pt x="501" y="45"/>
                </a:lnTo>
                <a:lnTo>
                  <a:pt x="507" y="49"/>
                </a:lnTo>
                <a:lnTo>
                  <a:pt x="515" y="49"/>
                </a:lnTo>
                <a:lnTo>
                  <a:pt x="523" y="45"/>
                </a:lnTo>
                <a:lnTo>
                  <a:pt x="528" y="37"/>
                </a:lnTo>
                <a:lnTo>
                  <a:pt x="531" y="30"/>
                </a:lnTo>
                <a:lnTo>
                  <a:pt x="536" y="30"/>
                </a:lnTo>
                <a:lnTo>
                  <a:pt x="542" y="29"/>
                </a:lnTo>
                <a:lnTo>
                  <a:pt x="544" y="34"/>
                </a:lnTo>
                <a:lnTo>
                  <a:pt x="545" y="38"/>
                </a:lnTo>
                <a:lnTo>
                  <a:pt x="548" y="43"/>
                </a:lnTo>
                <a:lnTo>
                  <a:pt x="556" y="48"/>
                </a:lnTo>
                <a:lnTo>
                  <a:pt x="563" y="51"/>
                </a:lnTo>
                <a:lnTo>
                  <a:pt x="569" y="56"/>
                </a:lnTo>
                <a:lnTo>
                  <a:pt x="572" y="62"/>
                </a:lnTo>
                <a:lnTo>
                  <a:pt x="572" y="69"/>
                </a:lnTo>
                <a:lnTo>
                  <a:pt x="572" y="78"/>
                </a:lnTo>
                <a:lnTo>
                  <a:pt x="571" y="84"/>
                </a:lnTo>
                <a:lnTo>
                  <a:pt x="572" y="92"/>
                </a:lnTo>
                <a:lnTo>
                  <a:pt x="579" y="99"/>
                </a:lnTo>
                <a:lnTo>
                  <a:pt x="585" y="107"/>
                </a:lnTo>
                <a:lnTo>
                  <a:pt x="593" y="113"/>
                </a:lnTo>
                <a:lnTo>
                  <a:pt x="598" y="123"/>
                </a:lnTo>
                <a:lnTo>
                  <a:pt x="606" y="131"/>
                </a:lnTo>
                <a:lnTo>
                  <a:pt x="612" y="138"/>
                </a:lnTo>
                <a:lnTo>
                  <a:pt x="621" y="143"/>
                </a:lnTo>
                <a:lnTo>
                  <a:pt x="628" y="150"/>
                </a:lnTo>
                <a:lnTo>
                  <a:pt x="634" y="151"/>
                </a:lnTo>
                <a:lnTo>
                  <a:pt x="628" y="161"/>
                </a:lnTo>
                <a:lnTo>
                  <a:pt x="620" y="165"/>
                </a:lnTo>
                <a:lnTo>
                  <a:pt x="612" y="173"/>
                </a:lnTo>
                <a:lnTo>
                  <a:pt x="606" y="178"/>
                </a:lnTo>
                <a:lnTo>
                  <a:pt x="599" y="186"/>
                </a:lnTo>
                <a:lnTo>
                  <a:pt x="593" y="191"/>
                </a:lnTo>
                <a:lnTo>
                  <a:pt x="588" y="192"/>
                </a:lnTo>
                <a:lnTo>
                  <a:pt x="585" y="196"/>
                </a:lnTo>
                <a:lnTo>
                  <a:pt x="582" y="200"/>
                </a:lnTo>
                <a:lnTo>
                  <a:pt x="582" y="210"/>
                </a:lnTo>
                <a:lnTo>
                  <a:pt x="577" y="215"/>
                </a:lnTo>
                <a:lnTo>
                  <a:pt x="572" y="218"/>
                </a:lnTo>
                <a:lnTo>
                  <a:pt x="571" y="219"/>
                </a:lnTo>
                <a:lnTo>
                  <a:pt x="569" y="224"/>
                </a:lnTo>
                <a:lnTo>
                  <a:pt x="567" y="227"/>
                </a:lnTo>
                <a:lnTo>
                  <a:pt x="563" y="231"/>
                </a:lnTo>
                <a:lnTo>
                  <a:pt x="556" y="235"/>
                </a:lnTo>
                <a:lnTo>
                  <a:pt x="553" y="237"/>
                </a:lnTo>
                <a:lnTo>
                  <a:pt x="552" y="243"/>
                </a:lnTo>
                <a:lnTo>
                  <a:pt x="547" y="250"/>
                </a:lnTo>
                <a:lnTo>
                  <a:pt x="544" y="254"/>
                </a:lnTo>
                <a:lnTo>
                  <a:pt x="385" y="278"/>
                </a:lnTo>
                <a:lnTo>
                  <a:pt x="313" y="283"/>
                </a:lnTo>
                <a:lnTo>
                  <a:pt x="278" y="289"/>
                </a:lnTo>
                <a:lnTo>
                  <a:pt x="245" y="296"/>
                </a:lnTo>
                <a:lnTo>
                  <a:pt x="181" y="299"/>
                </a:lnTo>
                <a:lnTo>
                  <a:pt x="124" y="302"/>
                </a:lnTo>
                <a:lnTo>
                  <a:pt x="123" y="320"/>
                </a:lnTo>
                <a:lnTo>
                  <a:pt x="0" y="329"/>
                </a:lnTo>
                <a:close/>
              </a:path>
            </a:pathLst>
          </a:custGeom>
          <a:solidFill>
            <a:schemeClr val="bg1">
              <a:lumMod val="95000"/>
            </a:schemeClr>
          </a:solidFill>
          <a:ln w="0" algn="ctr">
            <a:solidFill>
              <a:srgbClr val="808080"/>
            </a:solidFill>
            <a:round/>
            <a:headEnd/>
            <a:tailEnd/>
          </a:ln>
        </p:spPr>
        <p:txBody>
          <a:bodyPr lIns="101798" tIns="50899" rIns="101798" bIns="50899"/>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endParaRPr>
          </a:p>
        </p:txBody>
      </p:sp>
      <p:sp>
        <p:nvSpPr>
          <p:cNvPr id="49" name="State: Kansas"/>
          <p:cNvSpPr>
            <a:spLocks/>
          </p:cNvSpPr>
          <p:nvPr/>
        </p:nvSpPr>
        <p:spPr bwMode="auto">
          <a:xfrm>
            <a:off x="3324354" y="3757204"/>
            <a:ext cx="962960" cy="541447"/>
          </a:xfrm>
          <a:custGeom>
            <a:avLst/>
            <a:gdLst>
              <a:gd name="T0" fmla="*/ 38100 w 645"/>
              <a:gd name="T1" fmla="*/ 0 h 352"/>
              <a:gd name="T2" fmla="*/ 917575 w 645"/>
              <a:gd name="T3" fmla="*/ 31750 h 352"/>
              <a:gd name="T4" fmla="*/ 922338 w 645"/>
              <a:gd name="T5" fmla="*/ 39688 h 352"/>
              <a:gd name="T6" fmla="*/ 930275 w 645"/>
              <a:gd name="T7" fmla="*/ 49213 h 352"/>
              <a:gd name="T8" fmla="*/ 942975 w 645"/>
              <a:gd name="T9" fmla="*/ 57150 h 352"/>
              <a:gd name="T10" fmla="*/ 950913 w 645"/>
              <a:gd name="T11" fmla="*/ 65088 h 352"/>
              <a:gd name="T12" fmla="*/ 963613 w 645"/>
              <a:gd name="T13" fmla="*/ 61913 h 352"/>
              <a:gd name="T14" fmla="*/ 968375 w 645"/>
              <a:gd name="T15" fmla="*/ 53975 h 352"/>
              <a:gd name="T16" fmla="*/ 973138 w 645"/>
              <a:gd name="T17" fmla="*/ 52388 h 352"/>
              <a:gd name="T18" fmla="*/ 977900 w 645"/>
              <a:gd name="T19" fmla="*/ 49213 h 352"/>
              <a:gd name="T20" fmla="*/ 977900 w 645"/>
              <a:gd name="T21" fmla="*/ 57150 h 352"/>
              <a:gd name="T22" fmla="*/ 984250 w 645"/>
              <a:gd name="T23" fmla="*/ 65088 h 352"/>
              <a:gd name="T24" fmla="*/ 985838 w 645"/>
              <a:gd name="T25" fmla="*/ 69850 h 352"/>
              <a:gd name="T26" fmla="*/ 985838 w 645"/>
              <a:gd name="T27" fmla="*/ 77788 h 352"/>
              <a:gd name="T28" fmla="*/ 985838 w 645"/>
              <a:gd name="T29" fmla="*/ 82550 h 352"/>
              <a:gd name="T30" fmla="*/ 981075 w 645"/>
              <a:gd name="T31" fmla="*/ 85725 h 352"/>
              <a:gd name="T32" fmla="*/ 973138 w 645"/>
              <a:gd name="T33" fmla="*/ 85725 h 352"/>
              <a:gd name="T34" fmla="*/ 965200 w 645"/>
              <a:gd name="T35" fmla="*/ 92075 h 352"/>
              <a:gd name="T36" fmla="*/ 965200 w 645"/>
              <a:gd name="T37" fmla="*/ 96838 h 352"/>
              <a:gd name="T38" fmla="*/ 965200 w 645"/>
              <a:gd name="T39" fmla="*/ 103188 h 352"/>
              <a:gd name="T40" fmla="*/ 963613 w 645"/>
              <a:gd name="T41" fmla="*/ 104775 h 352"/>
              <a:gd name="T42" fmla="*/ 958850 w 645"/>
              <a:gd name="T43" fmla="*/ 109538 h 352"/>
              <a:gd name="T44" fmla="*/ 955675 w 645"/>
              <a:gd name="T45" fmla="*/ 112713 h 352"/>
              <a:gd name="T46" fmla="*/ 954088 w 645"/>
              <a:gd name="T47" fmla="*/ 117475 h 352"/>
              <a:gd name="T48" fmla="*/ 954088 w 645"/>
              <a:gd name="T49" fmla="*/ 122238 h 352"/>
              <a:gd name="T50" fmla="*/ 958850 w 645"/>
              <a:gd name="T51" fmla="*/ 125413 h 352"/>
              <a:gd name="T52" fmla="*/ 965200 w 645"/>
              <a:gd name="T53" fmla="*/ 130175 h 352"/>
              <a:gd name="T54" fmla="*/ 968375 w 645"/>
              <a:gd name="T55" fmla="*/ 139700 h 352"/>
              <a:gd name="T56" fmla="*/ 977900 w 645"/>
              <a:gd name="T57" fmla="*/ 139700 h 352"/>
              <a:gd name="T58" fmla="*/ 984250 w 645"/>
              <a:gd name="T59" fmla="*/ 150813 h 352"/>
              <a:gd name="T60" fmla="*/ 985838 w 645"/>
              <a:gd name="T61" fmla="*/ 158750 h 352"/>
              <a:gd name="T62" fmla="*/ 989013 w 645"/>
              <a:gd name="T63" fmla="*/ 160338 h 352"/>
              <a:gd name="T64" fmla="*/ 989013 w 645"/>
              <a:gd name="T65" fmla="*/ 171450 h 352"/>
              <a:gd name="T66" fmla="*/ 993775 w 645"/>
              <a:gd name="T67" fmla="*/ 177800 h 352"/>
              <a:gd name="T68" fmla="*/ 1003300 w 645"/>
              <a:gd name="T69" fmla="*/ 188913 h 352"/>
              <a:gd name="T70" fmla="*/ 1011238 w 645"/>
              <a:gd name="T71" fmla="*/ 188913 h 352"/>
              <a:gd name="T72" fmla="*/ 1019175 w 645"/>
              <a:gd name="T73" fmla="*/ 190500 h 352"/>
              <a:gd name="T74" fmla="*/ 1023938 w 645"/>
              <a:gd name="T75" fmla="*/ 198438 h 352"/>
              <a:gd name="T76" fmla="*/ 1023938 w 645"/>
              <a:gd name="T77" fmla="*/ 558800 h 352"/>
              <a:gd name="T78" fmla="*/ 0 w 645"/>
              <a:gd name="T79" fmla="*/ 523875 h 352"/>
              <a:gd name="T80" fmla="*/ 38100 w 645"/>
              <a:gd name="T81" fmla="*/ 0 h 35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45"/>
              <a:gd name="T124" fmla="*/ 0 h 352"/>
              <a:gd name="T125" fmla="*/ 645 w 645"/>
              <a:gd name="T126" fmla="*/ 352 h 35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45" h="352">
                <a:moveTo>
                  <a:pt x="24" y="0"/>
                </a:moveTo>
                <a:lnTo>
                  <a:pt x="578" y="20"/>
                </a:lnTo>
                <a:lnTo>
                  <a:pt x="581" y="25"/>
                </a:lnTo>
                <a:lnTo>
                  <a:pt x="586" y="31"/>
                </a:lnTo>
                <a:lnTo>
                  <a:pt x="594" y="36"/>
                </a:lnTo>
                <a:lnTo>
                  <a:pt x="599" y="41"/>
                </a:lnTo>
                <a:lnTo>
                  <a:pt x="607" y="39"/>
                </a:lnTo>
                <a:lnTo>
                  <a:pt x="610" y="34"/>
                </a:lnTo>
                <a:lnTo>
                  <a:pt x="613" y="33"/>
                </a:lnTo>
                <a:lnTo>
                  <a:pt x="616" y="31"/>
                </a:lnTo>
                <a:lnTo>
                  <a:pt x="616" y="36"/>
                </a:lnTo>
                <a:lnTo>
                  <a:pt x="620" y="41"/>
                </a:lnTo>
                <a:lnTo>
                  <a:pt x="621" y="44"/>
                </a:lnTo>
                <a:lnTo>
                  <a:pt x="621" y="49"/>
                </a:lnTo>
                <a:lnTo>
                  <a:pt x="621" y="52"/>
                </a:lnTo>
                <a:lnTo>
                  <a:pt x="618" y="54"/>
                </a:lnTo>
                <a:lnTo>
                  <a:pt x="613" y="54"/>
                </a:lnTo>
                <a:lnTo>
                  <a:pt x="608" y="58"/>
                </a:lnTo>
                <a:lnTo>
                  <a:pt x="608" y="61"/>
                </a:lnTo>
                <a:lnTo>
                  <a:pt x="608" y="65"/>
                </a:lnTo>
                <a:lnTo>
                  <a:pt x="607" y="66"/>
                </a:lnTo>
                <a:lnTo>
                  <a:pt x="604" y="69"/>
                </a:lnTo>
                <a:lnTo>
                  <a:pt x="602" y="71"/>
                </a:lnTo>
                <a:lnTo>
                  <a:pt x="601" y="74"/>
                </a:lnTo>
                <a:lnTo>
                  <a:pt x="601" y="77"/>
                </a:lnTo>
                <a:lnTo>
                  <a:pt x="604" y="79"/>
                </a:lnTo>
                <a:lnTo>
                  <a:pt x="608" y="82"/>
                </a:lnTo>
                <a:lnTo>
                  <a:pt x="610" y="88"/>
                </a:lnTo>
                <a:lnTo>
                  <a:pt x="616" y="88"/>
                </a:lnTo>
                <a:lnTo>
                  <a:pt x="620" y="95"/>
                </a:lnTo>
                <a:lnTo>
                  <a:pt x="621" y="100"/>
                </a:lnTo>
                <a:lnTo>
                  <a:pt x="623" y="101"/>
                </a:lnTo>
                <a:lnTo>
                  <a:pt x="623" y="108"/>
                </a:lnTo>
                <a:lnTo>
                  <a:pt x="626" y="112"/>
                </a:lnTo>
                <a:lnTo>
                  <a:pt x="632" y="119"/>
                </a:lnTo>
                <a:lnTo>
                  <a:pt x="637" y="119"/>
                </a:lnTo>
                <a:lnTo>
                  <a:pt x="642" y="120"/>
                </a:lnTo>
                <a:lnTo>
                  <a:pt x="645" y="125"/>
                </a:lnTo>
                <a:lnTo>
                  <a:pt x="645" y="352"/>
                </a:lnTo>
                <a:lnTo>
                  <a:pt x="0" y="330"/>
                </a:lnTo>
                <a:lnTo>
                  <a:pt x="24" y="0"/>
                </a:lnTo>
                <a:close/>
              </a:path>
            </a:pathLst>
          </a:custGeom>
          <a:solidFill>
            <a:schemeClr val="bg1">
              <a:lumMod val="95000"/>
            </a:schemeClr>
          </a:solidFill>
          <a:ln w="0" algn="ctr">
            <a:solidFill>
              <a:srgbClr val="808080"/>
            </a:solidFill>
            <a:round/>
            <a:headEnd/>
            <a:tailEnd/>
          </a:ln>
        </p:spPr>
        <p:txBody>
          <a:bodyPr lIns="101798" tIns="50899" rIns="101798" bIns="50899"/>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endParaRPr>
          </a:p>
        </p:txBody>
      </p:sp>
      <p:sp>
        <p:nvSpPr>
          <p:cNvPr id="50" name="State: Iowa"/>
          <p:cNvSpPr>
            <a:spLocks/>
          </p:cNvSpPr>
          <p:nvPr/>
        </p:nvSpPr>
        <p:spPr bwMode="auto">
          <a:xfrm>
            <a:off x="4032024" y="3203449"/>
            <a:ext cx="785297" cy="535294"/>
          </a:xfrm>
          <a:custGeom>
            <a:avLst/>
            <a:gdLst>
              <a:gd name="T0" fmla="*/ 2147483647 w 526"/>
              <a:gd name="T1" fmla="*/ 2147483647 h 348"/>
              <a:gd name="T2" fmla="*/ 2147483647 w 526"/>
              <a:gd name="T3" fmla="*/ 2147483647 h 348"/>
              <a:gd name="T4" fmla="*/ 2147483647 w 526"/>
              <a:gd name="T5" fmla="*/ 2147483647 h 348"/>
              <a:gd name="T6" fmla="*/ 2147483647 w 526"/>
              <a:gd name="T7" fmla="*/ 2147483647 h 348"/>
              <a:gd name="T8" fmla="*/ 2147483647 w 526"/>
              <a:gd name="T9" fmla="*/ 2147483647 h 348"/>
              <a:gd name="T10" fmla="*/ 2147483647 w 526"/>
              <a:gd name="T11" fmla="*/ 2147483647 h 348"/>
              <a:gd name="T12" fmla="*/ 2147483647 w 526"/>
              <a:gd name="T13" fmla="*/ 2147483647 h 348"/>
              <a:gd name="T14" fmla="*/ 2147483647 w 526"/>
              <a:gd name="T15" fmla="*/ 2147483647 h 348"/>
              <a:gd name="T16" fmla="*/ 2147483647 w 526"/>
              <a:gd name="T17" fmla="*/ 2147483647 h 348"/>
              <a:gd name="T18" fmla="*/ 2147483647 w 526"/>
              <a:gd name="T19" fmla="*/ 2147483647 h 348"/>
              <a:gd name="T20" fmla="*/ 2147483647 w 526"/>
              <a:gd name="T21" fmla="*/ 2147483647 h 348"/>
              <a:gd name="T22" fmla="*/ 2147483647 w 526"/>
              <a:gd name="T23" fmla="*/ 2147483647 h 348"/>
              <a:gd name="T24" fmla="*/ 2147483647 w 526"/>
              <a:gd name="T25" fmla="*/ 2147483647 h 348"/>
              <a:gd name="T26" fmla="*/ 2147483647 w 526"/>
              <a:gd name="T27" fmla="*/ 2147483647 h 348"/>
              <a:gd name="T28" fmla="*/ 2147483647 w 526"/>
              <a:gd name="T29" fmla="*/ 2147483647 h 348"/>
              <a:gd name="T30" fmla="*/ 2147483647 w 526"/>
              <a:gd name="T31" fmla="*/ 2147483647 h 348"/>
              <a:gd name="T32" fmla="*/ 2147483647 w 526"/>
              <a:gd name="T33" fmla="*/ 2147483647 h 348"/>
              <a:gd name="T34" fmla="*/ 2147483647 w 526"/>
              <a:gd name="T35" fmla="*/ 2147483647 h 348"/>
              <a:gd name="T36" fmla="*/ 2147483647 w 526"/>
              <a:gd name="T37" fmla="*/ 2147483647 h 348"/>
              <a:gd name="T38" fmla="*/ 2147483647 w 526"/>
              <a:gd name="T39" fmla="*/ 2147483647 h 348"/>
              <a:gd name="T40" fmla="*/ 2147483647 w 526"/>
              <a:gd name="T41" fmla="*/ 2147483647 h 348"/>
              <a:gd name="T42" fmla="*/ 2147483647 w 526"/>
              <a:gd name="T43" fmla="*/ 2147483647 h 348"/>
              <a:gd name="T44" fmla="*/ 2147483647 w 526"/>
              <a:gd name="T45" fmla="*/ 2147483647 h 348"/>
              <a:gd name="T46" fmla="*/ 2147483647 w 526"/>
              <a:gd name="T47" fmla="*/ 2147483647 h 348"/>
              <a:gd name="T48" fmla="*/ 2147483647 w 526"/>
              <a:gd name="T49" fmla="*/ 2147483647 h 348"/>
              <a:gd name="T50" fmla="*/ 2147483647 w 526"/>
              <a:gd name="T51" fmla="*/ 2147483647 h 348"/>
              <a:gd name="T52" fmla="*/ 2147483647 w 526"/>
              <a:gd name="T53" fmla="*/ 2147483647 h 348"/>
              <a:gd name="T54" fmla="*/ 2147483647 w 526"/>
              <a:gd name="T55" fmla="*/ 2147483647 h 348"/>
              <a:gd name="T56" fmla="*/ 2147483647 w 526"/>
              <a:gd name="T57" fmla="*/ 2147483647 h 348"/>
              <a:gd name="T58" fmla="*/ 2147483647 w 526"/>
              <a:gd name="T59" fmla="*/ 2147483647 h 348"/>
              <a:gd name="T60" fmla="*/ 2147483647 w 526"/>
              <a:gd name="T61" fmla="*/ 2147483647 h 348"/>
              <a:gd name="T62" fmla="*/ 2147483647 w 526"/>
              <a:gd name="T63" fmla="*/ 2147483647 h 348"/>
              <a:gd name="T64" fmla="*/ 2147483647 w 526"/>
              <a:gd name="T65" fmla="*/ 2147483647 h 348"/>
              <a:gd name="T66" fmla="*/ 2147483647 w 526"/>
              <a:gd name="T67" fmla="*/ 2147483647 h 348"/>
              <a:gd name="T68" fmla="*/ 2147483647 w 526"/>
              <a:gd name="T69" fmla="*/ 2147483647 h 348"/>
              <a:gd name="T70" fmla="*/ 2147483647 w 526"/>
              <a:gd name="T71" fmla="*/ 2147483647 h 348"/>
              <a:gd name="T72" fmla="*/ 2147483647 w 526"/>
              <a:gd name="T73" fmla="*/ 2147483647 h 348"/>
              <a:gd name="T74" fmla="*/ 2147483647 w 526"/>
              <a:gd name="T75" fmla="*/ 2147483647 h 348"/>
              <a:gd name="T76" fmla="*/ 2147483647 w 526"/>
              <a:gd name="T77" fmla="*/ 2147483647 h 348"/>
              <a:gd name="T78" fmla="*/ 2147483647 w 526"/>
              <a:gd name="T79" fmla="*/ 2147483647 h 348"/>
              <a:gd name="T80" fmla="*/ 2147483647 w 526"/>
              <a:gd name="T81" fmla="*/ 2147483647 h 348"/>
              <a:gd name="T82" fmla="*/ 2147483647 w 526"/>
              <a:gd name="T83" fmla="*/ 2147483647 h 348"/>
              <a:gd name="T84" fmla="*/ 2147483647 w 526"/>
              <a:gd name="T85" fmla="*/ 2147483647 h 348"/>
              <a:gd name="T86" fmla="*/ 2147483647 w 526"/>
              <a:gd name="T87" fmla="*/ 2147483647 h 348"/>
              <a:gd name="T88" fmla="*/ 2147483647 w 526"/>
              <a:gd name="T89" fmla="*/ 2147483647 h 348"/>
              <a:gd name="T90" fmla="*/ 2147483647 w 526"/>
              <a:gd name="T91" fmla="*/ 2147483647 h 348"/>
              <a:gd name="T92" fmla="*/ 2147483647 w 526"/>
              <a:gd name="T93" fmla="*/ 2147483647 h 348"/>
              <a:gd name="T94" fmla="*/ 2147483647 w 526"/>
              <a:gd name="T95" fmla="*/ 2147483647 h 348"/>
              <a:gd name="T96" fmla="*/ 2147483647 w 526"/>
              <a:gd name="T97" fmla="*/ 2147483647 h 348"/>
              <a:gd name="T98" fmla="*/ 2147483647 w 526"/>
              <a:gd name="T99" fmla="*/ 2147483647 h 34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26"/>
              <a:gd name="T151" fmla="*/ 0 h 348"/>
              <a:gd name="T152" fmla="*/ 526 w 526"/>
              <a:gd name="T153" fmla="*/ 348 h 34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26" h="348">
                <a:moveTo>
                  <a:pt x="15" y="5"/>
                </a:moveTo>
                <a:lnTo>
                  <a:pt x="431" y="0"/>
                </a:lnTo>
                <a:lnTo>
                  <a:pt x="431" y="10"/>
                </a:lnTo>
                <a:lnTo>
                  <a:pt x="433" y="15"/>
                </a:lnTo>
                <a:lnTo>
                  <a:pt x="434" y="19"/>
                </a:lnTo>
                <a:lnTo>
                  <a:pt x="434" y="24"/>
                </a:lnTo>
                <a:lnTo>
                  <a:pt x="437" y="31"/>
                </a:lnTo>
                <a:lnTo>
                  <a:pt x="439" y="37"/>
                </a:lnTo>
                <a:lnTo>
                  <a:pt x="437" y="45"/>
                </a:lnTo>
                <a:lnTo>
                  <a:pt x="440" y="50"/>
                </a:lnTo>
                <a:lnTo>
                  <a:pt x="442" y="53"/>
                </a:lnTo>
                <a:lnTo>
                  <a:pt x="442" y="59"/>
                </a:lnTo>
                <a:lnTo>
                  <a:pt x="440" y="64"/>
                </a:lnTo>
                <a:lnTo>
                  <a:pt x="440" y="67"/>
                </a:lnTo>
                <a:lnTo>
                  <a:pt x="444" y="70"/>
                </a:lnTo>
                <a:lnTo>
                  <a:pt x="445" y="75"/>
                </a:lnTo>
                <a:lnTo>
                  <a:pt x="447" y="81"/>
                </a:lnTo>
                <a:lnTo>
                  <a:pt x="447" y="86"/>
                </a:lnTo>
                <a:lnTo>
                  <a:pt x="452" y="88"/>
                </a:lnTo>
                <a:lnTo>
                  <a:pt x="460" y="88"/>
                </a:lnTo>
                <a:lnTo>
                  <a:pt x="464" y="91"/>
                </a:lnTo>
                <a:lnTo>
                  <a:pt x="472" y="91"/>
                </a:lnTo>
                <a:lnTo>
                  <a:pt x="480" y="96"/>
                </a:lnTo>
                <a:lnTo>
                  <a:pt x="480" y="102"/>
                </a:lnTo>
                <a:lnTo>
                  <a:pt x="480" y="108"/>
                </a:lnTo>
                <a:lnTo>
                  <a:pt x="485" y="113"/>
                </a:lnTo>
                <a:lnTo>
                  <a:pt x="488" y="118"/>
                </a:lnTo>
                <a:lnTo>
                  <a:pt x="494" y="121"/>
                </a:lnTo>
                <a:lnTo>
                  <a:pt x="501" y="127"/>
                </a:lnTo>
                <a:lnTo>
                  <a:pt x="502" y="137"/>
                </a:lnTo>
                <a:lnTo>
                  <a:pt x="507" y="140"/>
                </a:lnTo>
                <a:lnTo>
                  <a:pt x="514" y="145"/>
                </a:lnTo>
                <a:lnTo>
                  <a:pt x="520" y="148"/>
                </a:lnTo>
                <a:lnTo>
                  <a:pt x="521" y="156"/>
                </a:lnTo>
                <a:lnTo>
                  <a:pt x="525" y="162"/>
                </a:lnTo>
                <a:lnTo>
                  <a:pt x="526" y="166"/>
                </a:lnTo>
                <a:lnTo>
                  <a:pt x="525" y="170"/>
                </a:lnTo>
                <a:lnTo>
                  <a:pt x="523" y="175"/>
                </a:lnTo>
                <a:lnTo>
                  <a:pt x="521" y="180"/>
                </a:lnTo>
                <a:lnTo>
                  <a:pt x="520" y="185"/>
                </a:lnTo>
                <a:lnTo>
                  <a:pt x="517" y="186"/>
                </a:lnTo>
                <a:lnTo>
                  <a:pt x="514" y="189"/>
                </a:lnTo>
                <a:lnTo>
                  <a:pt x="510" y="193"/>
                </a:lnTo>
                <a:lnTo>
                  <a:pt x="510" y="199"/>
                </a:lnTo>
                <a:lnTo>
                  <a:pt x="510" y="207"/>
                </a:lnTo>
                <a:lnTo>
                  <a:pt x="507" y="208"/>
                </a:lnTo>
                <a:lnTo>
                  <a:pt x="502" y="213"/>
                </a:lnTo>
                <a:lnTo>
                  <a:pt x="499" y="215"/>
                </a:lnTo>
                <a:lnTo>
                  <a:pt x="496" y="218"/>
                </a:lnTo>
                <a:lnTo>
                  <a:pt x="491" y="218"/>
                </a:lnTo>
                <a:lnTo>
                  <a:pt x="490" y="221"/>
                </a:lnTo>
                <a:lnTo>
                  <a:pt x="488" y="223"/>
                </a:lnTo>
                <a:lnTo>
                  <a:pt x="485" y="226"/>
                </a:lnTo>
                <a:lnTo>
                  <a:pt x="480" y="226"/>
                </a:lnTo>
                <a:lnTo>
                  <a:pt x="472" y="226"/>
                </a:lnTo>
                <a:lnTo>
                  <a:pt x="467" y="229"/>
                </a:lnTo>
                <a:lnTo>
                  <a:pt x="463" y="231"/>
                </a:lnTo>
                <a:lnTo>
                  <a:pt x="456" y="232"/>
                </a:lnTo>
                <a:lnTo>
                  <a:pt x="452" y="234"/>
                </a:lnTo>
                <a:lnTo>
                  <a:pt x="450" y="237"/>
                </a:lnTo>
                <a:lnTo>
                  <a:pt x="448" y="242"/>
                </a:lnTo>
                <a:lnTo>
                  <a:pt x="448" y="248"/>
                </a:lnTo>
                <a:lnTo>
                  <a:pt x="450" y="250"/>
                </a:lnTo>
                <a:lnTo>
                  <a:pt x="452" y="255"/>
                </a:lnTo>
                <a:lnTo>
                  <a:pt x="456" y="258"/>
                </a:lnTo>
                <a:lnTo>
                  <a:pt x="461" y="262"/>
                </a:lnTo>
                <a:lnTo>
                  <a:pt x="463" y="267"/>
                </a:lnTo>
                <a:lnTo>
                  <a:pt x="464" y="274"/>
                </a:lnTo>
                <a:lnTo>
                  <a:pt x="463" y="278"/>
                </a:lnTo>
                <a:lnTo>
                  <a:pt x="461" y="285"/>
                </a:lnTo>
                <a:lnTo>
                  <a:pt x="458" y="288"/>
                </a:lnTo>
                <a:lnTo>
                  <a:pt x="455" y="291"/>
                </a:lnTo>
                <a:lnTo>
                  <a:pt x="455" y="296"/>
                </a:lnTo>
                <a:lnTo>
                  <a:pt x="453" y="304"/>
                </a:lnTo>
                <a:lnTo>
                  <a:pt x="452" y="309"/>
                </a:lnTo>
                <a:lnTo>
                  <a:pt x="450" y="312"/>
                </a:lnTo>
                <a:lnTo>
                  <a:pt x="447" y="316"/>
                </a:lnTo>
                <a:lnTo>
                  <a:pt x="444" y="318"/>
                </a:lnTo>
                <a:lnTo>
                  <a:pt x="439" y="320"/>
                </a:lnTo>
                <a:lnTo>
                  <a:pt x="433" y="323"/>
                </a:lnTo>
                <a:lnTo>
                  <a:pt x="429" y="326"/>
                </a:lnTo>
                <a:lnTo>
                  <a:pt x="429" y="332"/>
                </a:lnTo>
                <a:lnTo>
                  <a:pt x="431" y="344"/>
                </a:lnTo>
                <a:lnTo>
                  <a:pt x="426" y="348"/>
                </a:lnTo>
                <a:lnTo>
                  <a:pt x="399" y="321"/>
                </a:lnTo>
                <a:lnTo>
                  <a:pt x="67" y="328"/>
                </a:lnTo>
                <a:lnTo>
                  <a:pt x="65" y="321"/>
                </a:lnTo>
                <a:lnTo>
                  <a:pt x="61" y="316"/>
                </a:lnTo>
                <a:lnTo>
                  <a:pt x="58" y="312"/>
                </a:lnTo>
                <a:lnTo>
                  <a:pt x="58" y="307"/>
                </a:lnTo>
                <a:lnTo>
                  <a:pt x="59" y="301"/>
                </a:lnTo>
                <a:lnTo>
                  <a:pt x="62" y="296"/>
                </a:lnTo>
                <a:lnTo>
                  <a:pt x="62" y="289"/>
                </a:lnTo>
                <a:lnTo>
                  <a:pt x="61" y="282"/>
                </a:lnTo>
                <a:lnTo>
                  <a:pt x="58" y="275"/>
                </a:lnTo>
                <a:lnTo>
                  <a:pt x="53" y="270"/>
                </a:lnTo>
                <a:lnTo>
                  <a:pt x="51" y="262"/>
                </a:lnTo>
                <a:lnTo>
                  <a:pt x="54" y="255"/>
                </a:lnTo>
                <a:lnTo>
                  <a:pt x="53" y="245"/>
                </a:lnTo>
                <a:lnTo>
                  <a:pt x="53" y="239"/>
                </a:lnTo>
                <a:lnTo>
                  <a:pt x="53" y="235"/>
                </a:lnTo>
                <a:lnTo>
                  <a:pt x="54" y="232"/>
                </a:lnTo>
                <a:lnTo>
                  <a:pt x="53" y="229"/>
                </a:lnTo>
                <a:lnTo>
                  <a:pt x="50" y="228"/>
                </a:lnTo>
                <a:lnTo>
                  <a:pt x="46" y="224"/>
                </a:lnTo>
                <a:lnTo>
                  <a:pt x="42" y="220"/>
                </a:lnTo>
                <a:lnTo>
                  <a:pt x="42" y="213"/>
                </a:lnTo>
                <a:lnTo>
                  <a:pt x="42" y="201"/>
                </a:lnTo>
                <a:lnTo>
                  <a:pt x="43" y="189"/>
                </a:lnTo>
                <a:lnTo>
                  <a:pt x="42" y="186"/>
                </a:lnTo>
                <a:lnTo>
                  <a:pt x="38" y="180"/>
                </a:lnTo>
                <a:lnTo>
                  <a:pt x="35" y="174"/>
                </a:lnTo>
                <a:lnTo>
                  <a:pt x="32" y="167"/>
                </a:lnTo>
                <a:lnTo>
                  <a:pt x="27" y="158"/>
                </a:lnTo>
                <a:lnTo>
                  <a:pt x="24" y="153"/>
                </a:lnTo>
                <a:lnTo>
                  <a:pt x="23" y="147"/>
                </a:lnTo>
                <a:lnTo>
                  <a:pt x="26" y="142"/>
                </a:lnTo>
                <a:lnTo>
                  <a:pt x="26" y="137"/>
                </a:lnTo>
                <a:lnTo>
                  <a:pt x="23" y="134"/>
                </a:lnTo>
                <a:lnTo>
                  <a:pt x="19" y="129"/>
                </a:lnTo>
                <a:lnTo>
                  <a:pt x="19" y="124"/>
                </a:lnTo>
                <a:lnTo>
                  <a:pt x="16" y="119"/>
                </a:lnTo>
                <a:lnTo>
                  <a:pt x="11" y="115"/>
                </a:lnTo>
                <a:lnTo>
                  <a:pt x="8" y="108"/>
                </a:lnTo>
                <a:lnTo>
                  <a:pt x="7" y="102"/>
                </a:lnTo>
                <a:lnTo>
                  <a:pt x="5" y="97"/>
                </a:lnTo>
                <a:lnTo>
                  <a:pt x="4" y="89"/>
                </a:lnTo>
                <a:lnTo>
                  <a:pt x="0" y="83"/>
                </a:lnTo>
                <a:lnTo>
                  <a:pt x="2" y="78"/>
                </a:lnTo>
                <a:lnTo>
                  <a:pt x="5" y="77"/>
                </a:lnTo>
                <a:lnTo>
                  <a:pt x="7" y="70"/>
                </a:lnTo>
                <a:lnTo>
                  <a:pt x="10" y="64"/>
                </a:lnTo>
                <a:lnTo>
                  <a:pt x="10" y="59"/>
                </a:lnTo>
                <a:lnTo>
                  <a:pt x="11" y="53"/>
                </a:lnTo>
                <a:lnTo>
                  <a:pt x="15" y="50"/>
                </a:lnTo>
                <a:lnTo>
                  <a:pt x="16" y="46"/>
                </a:lnTo>
                <a:lnTo>
                  <a:pt x="16" y="42"/>
                </a:lnTo>
                <a:lnTo>
                  <a:pt x="15" y="38"/>
                </a:lnTo>
                <a:lnTo>
                  <a:pt x="10" y="37"/>
                </a:lnTo>
                <a:lnTo>
                  <a:pt x="7" y="34"/>
                </a:lnTo>
                <a:lnTo>
                  <a:pt x="5" y="29"/>
                </a:lnTo>
                <a:lnTo>
                  <a:pt x="7" y="26"/>
                </a:lnTo>
                <a:lnTo>
                  <a:pt x="10" y="23"/>
                </a:lnTo>
                <a:lnTo>
                  <a:pt x="11" y="19"/>
                </a:lnTo>
                <a:lnTo>
                  <a:pt x="8" y="18"/>
                </a:lnTo>
                <a:lnTo>
                  <a:pt x="4" y="16"/>
                </a:lnTo>
                <a:lnTo>
                  <a:pt x="2" y="13"/>
                </a:lnTo>
                <a:lnTo>
                  <a:pt x="2" y="8"/>
                </a:lnTo>
                <a:lnTo>
                  <a:pt x="4" y="5"/>
                </a:lnTo>
                <a:lnTo>
                  <a:pt x="15" y="5"/>
                </a:lnTo>
                <a:close/>
              </a:path>
            </a:pathLst>
          </a:custGeom>
          <a:solidFill>
            <a:schemeClr val="bg1">
              <a:lumMod val="95000"/>
            </a:schemeClr>
          </a:solidFill>
          <a:ln w="0" algn="ctr">
            <a:solidFill>
              <a:srgbClr val="808080"/>
            </a:solidFill>
            <a:round/>
            <a:headEnd/>
            <a:tailEnd/>
          </a:ln>
        </p:spPr>
        <p:txBody>
          <a:bodyPr lIns="101798" tIns="50899" rIns="101798" bIns="50899"/>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endParaRPr>
          </a:p>
        </p:txBody>
      </p:sp>
      <p:sp>
        <p:nvSpPr>
          <p:cNvPr id="51" name="State: Indiana"/>
          <p:cNvSpPr>
            <a:spLocks/>
          </p:cNvSpPr>
          <p:nvPr/>
        </p:nvSpPr>
        <p:spPr bwMode="auto">
          <a:xfrm>
            <a:off x="5115910" y="3437256"/>
            <a:ext cx="406085" cy="721417"/>
          </a:xfrm>
          <a:custGeom>
            <a:avLst/>
            <a:gdLst>
              <a:gd name="T0" fmla="*/ 2147483647 w 272"/>
              <a:gd name="T1" fmla="*/ 2147483647 h 469"/>
              <a:gd name="T2" fmla="*/ 2147483647 w 272"/>
              <a:gd name="T3" fmla="*/ 2147483647 h 469"/>
              <a:gd name="T4" fmla="*/ 2147483647 w 272"/>
              <a:gd name="T5" fmla="*/ 2147483647 h 469"/>
              <a:gd name="T6" fmla="*/ 2147483647 w 272"/>
              <a:gd name="T7" fmla="*/ 2147483647 h 469"/>
              <a:gd name="T8" fmla="*/ 2147483647 w 272"/>
              <a:gd name="T9" fmla="*/ 2147483647 h 469"/>
              <a:gd name="T10" fmla="*/ 2147483647 w 272"/>
              <a:gd name="T11" fmla="*/ 2147483647 h 469"/>
              <a:gd name="T12" fmla="*/ 2147483647 w 272"/>
              <a:gd name="T13" fmla="*/ 2147483647 h 469"/>
              <a:gd name="T14" fmla="*/ 2147483647 w 272"/>
              <a:gd name="T15" fmla="*/ 2147483647 h 469"/>
              <a:gd name="T16" fmla="*/ 2147483647 w 272"/>
              <a:gd name="T17" fmla="*/ 2147483647 h 469"/>
              <a:gd name="T18" fmla="*/ 2147483647 w 272"/>
              <a:gd name="T19" fmla="*/ 2147483647 h 469"/>
              <a:gd name="T20" fmla="*/ 2147483647 w 272"/>
              <a:gd name="T21" fmla="*/ 2147483647 h 469"/>
              <a:gd name="T22" fmla="*/ 2147483647 w 272"/>
              <a:gd name="T23" fmla="*/ 2147483647 h 469"/>
              <a:gd name="T24" fmla="*/ 2147483647 w 272"/>
              <a:gd name="T25" fmla="*/ 2147483647 h 469"/>
              <a:gd name="T26" fmla="*/ 2147483647 w 272"/>
              <a:gd name="T27" fmla="*/ 2147483647 h 469"/>
              <a:gd name="T28" fmla="*/ 2147483647 w 272"/>
              <a:gd name="T29" fmla="*/ 2147483647 h 469"/>
              <a:gd name="T30" fmla="*/ 2147483647 w 272"/>
              <a:gd name="T31" fmla="*/ 2147483647 h 469"/>
              <a:gd name="T32" fmla="*/ 2147483647 w 272"/>
              <a:gd name="T33" fmla="*/ 2147483647 h 469"/>
              <a:gd name="T34" fmla="*/ 2147483647 w 272"/>
              <a:gd name="T35" fmla="*/ 2147483647 h 469"/>
              <a:gd name="T36" fmla="*/ 2147483647 w 272"/>
              <a:gd name="T37" fmla="*/ 2147483647 h 469"/>
              <a:gd name="T38" fmla="*/ 2147483647 w 272"/>
              <a:gd name="T39" fmla="*/ 2147483647 h 469"/>
              <a:gd name="T40" fmla="*/ 2147483647 w 272"/>
              <a:gd name="T41" fmla="*/ 2147483647 h 469"/>
              <a:gd name="T42" fmla="*/ 2147483647 w 272"/>
              <a:gd name="T43" fmla="*/ 2147483647 h 469"/>
              <a:gd name="T44" fmla="*/ 2147483647 w 272"/>
              <a:gd name="T45" fmla="*/ 2147483647 h 469"/>
              <a:gd name="T46" fmla="*/ 2147483647 w 272"/>
              <a:gd name="T47" fmla="*/ 2147483647 h 469"/>
              <a:gd name="T48" fmla="*/ 2147483647 w 272"/>
              <a:gd name="T49" fmla="*/ 2147483647 h 469"/>
              <a:gd name="T50" fmla="*/ 2147483647 w 272"/>
              <a:gd name="T51" fmla="*/ 2147483647 h 469"/>
              <a:gd name="T52" fmla="*/ 2147483647 w 272"/>
              <a:gd name="T53" fmla="*/ 2147483647 h 469"/>
              <a:gd name="T54" fmla="*/ 2147483647 w 272"/>
              <a:gd name="T55" fmla="*/ 2147483647 h 469"/>
              <a:gd name="T56" fmla="*/ 2147483647 w 272"/>
              <a:gd name="T57" fmla="*/ 2147483647 h 469"/>
              <a:gd name="T58" fmla="*/ 2147483647 w 272"/>
              <a:gd name="T59" fmla="*/ 2147483647 h 469"/>
              <a:gd name="T60" fmla="*/ 2147483647 w 272"/>
              <a:gd name="T61" fmla="*/ 2147483647 h 469"/>
              <a:gd name="T62" fmla="*/ 2147483647 w 272"/>
              <a:gd name="T63" fmla="*/ 2147483647 h 469"/>
              <a:gd name="T64" fmla="*/ 2147483647 w 272"/>
              <a:gd name="T65" fmla="*/ 2147483647 h 469"/>
              <a:gd name="T66" fmla="*/ 2147483647 w 272"/>
              <a:gd name="T67" fmla="*/ 2147483647 h 469"/>
              <a:gd name="T68" fmla="*/ 2147483647 w 272"/>
              <a:gd name="T69" fmla="*/ 2147483647 h 469"/>
              <a:gd name="T70" fmla="*/ 2147483647 w 272"/>
              <a:gd name="T71" fmla="*/ 2147483647 h 469"/>
              <a:gd name="T72" fmla="*/ 0 w 272"/>
              <a:gd name="T73" fmla="*/ 2147483647 h 469"/>
              <a:gd name="T74" fmla="*/ 2147483647 w 272"/>
              <a:gd name="T75" fmla="*/ 2147483647 h 469"/>
              <a:gd name="T76" fmla="*/ 2147483647 w 272"/>
              <a:gd name="T77" fmla="*/ 2147483647 h 469"/>
              <a:gd name="T78" fmla="*/ 2147483647 w 272"/>
              <a:gd name="T79" fmla="*/ 2147483647 h 469"/>
              <a:gd name="T80" fmla="*/ 2147483647 w 272"/>
              <a:gd name="T81" fmla="*/ 2147483647 h 469"/>
              <a:gd name="T82" fmla="*/ 2147483647 w 272"/>
              <a:gd name="T83" fmla="*/ 2147483647 h 469"/>
              <a:gd name="T84" fmla="*/ 2147483647 w 272"/>
              <a:gd name="T85" fmla="*/ 2147483647 h 469"/>
              <a:gd name="T86" fmla="*/ 2147483647 w 272"/>
              <a:gd name="T87" fmla="*/ 2147483647 h 469"/>
              <a:gd name="T88" fmla="*/ 2147483647 w 272"/>
              <a:gd name="T89" fmla="*/ 2147483647 h 469"/>
              <a:gd name="T90" fmla="*/ 2147483647 w 272"/>
              <a:gd name="T91" fmla="*/ 2147483647 h 469"/>
              <a:gd name="T92" fmla="*/ 2147483647 w 272"/>
              <a:gd name="T93" fmla="*/ 2147483647 h 469"/>
              <a:gd name="T94" fmla="*/ 2147483647 w 272"/>
              <a:gd name="T95" fmla="*/ 2147483647 h 469"/>
              <a:gd name="T96" fmla="*/ 2147483647 w 272"/>
              <a:gd name="T97" fmla="*/ 2147483647 h 469"/>
              <a:gd name="T98" fmla="*/ 2147483647 w 272"/>
              <a:gd name="T99" fmla="*/ 2147483647 h 469"/>
              <a:gd name="T100" fmla="*/ 2147483647 w 272"/>
              <a:gd name="T101" fmla="*/ 2147483647 h 46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72"/>
              <a:gd name="T154" fmla="*/ 0 h 469"/>
              <a:gd name="T155" fmla="*/ 272 w 272"/>
              <a:gd name="T156" fmla="*/ 469 h 46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72" h="469">
                <a:moveTo>
                  <a:pt x="13" y="32"/>
                </a:moveTo>
                <a:lnTo>
                  <a:pt x="19" y="34"/>
                </a:lnTo>
                <a:lnTo>
                  <a:pt x="26" y="35"/>
                </a:lnTo>
                <a:lnTo>
                  <a:pt x="32" y="35"/>
                </a:lnTo>
                <a:lnTo>
                  <a:pt x="37" y="37"/>
                </a:lnTo>
                <a:lnTo>
                  <a:pt x="43" y="35"/>
                </a:lnTo>
                <a:lnTo>
                  <a:pt x="50" y="30"/>
                </a:lnTo>
                <a:lnTo>
                  <a:pt x="54" y="26"/>
                </a:lnTo>
                <a:lnTo>
                  <a:pt x="61" y="19"/>
                </a:lnTo>
                <a:lnTo>
                  <a:pt x="64" y="16"/>
                </a:lnTo>
                <a:lnTo>
                  <a:pt x="89" y="15"/>
                </a:lnTo>
                <a:lnTo>
                  <a:pt x="100" y="13"/>
                </a:lnTo>
                <a:lnTo>
                  <a:pt x="115" y="15"/>
                </a:lnTo>
                <a:lnTo>
                  <a:pt x="129" y="11"/>
                </a:lnTo>
                <a:lnTo>
                  <a:pt x="140" y="10"/>
                </a:lnTo>
                <a:lnTo>
                  <a:pt x="150" y="11"/>
                </a:lnTo>
                <a:lnTo>
                  <a:pt x="158" y="7"/>
                </a:lnTo>
                <a:lnTo>
                  <a:pt x="177" y="5"/>
                </a:lnTo>
                <a:lnTo>
                  <a:pt x="189" y="3"/>
                </a:lnTo>
                <a:lnTo>
                  <a:pt x="204" y="5"/>
                </a:lnTo>
                <a:lnTo>
                  <a:pt x="213" y="3"/>
                </a:lnTo>
                <a:lnTo>
                  <a:pt x="224" y="0"/>
                </a:lnTo>
                <a:lnTo>
                  <a:pt x="232" y="2"/>
                </a:lnTo>
                <a:lnTo>
                  <a:pt x="237" y="7"/>
                </a:lnTo>
                <a:lnTo>
                  <a:pt x="264" y="288"/>
                </a:lnTo>
                <a:lnTo>
                  <a:pt x="264" y="293"/>
                </a:lnTo>
                <a:lnTo>
                  <a:pt x="261" y="297"/>
                </a:lnTo>
                <a:lnTo>
                  <a:pt x="259" y="301"/>
                </a:lnTo>
                <a:lnTo>
                  <a:pt x="261" y="304"/>
                </a:lnTo>
                <a:lnTo>
                  <a:pt x="267" y="308"/>
                </a:lnTo>
                <a:lnTo>
                  <a:pt x="267" y="312"/>
                </a:lnTo>
                <a:lnTo>
                  <a:pt x="269" y="320"/>
                </a:lnTo>
                <a:lnTo>
                  <a:pt x="272" y="323"/>
                </a:lnTo>
                <a:lnTo>
                  <a:pt x="270" y="328"/>
                </a:lnTo>
                <a:lnTo>
                  <a:pt x="264" y="331"/>
                </a:lnTo>
                <a:lnTo>
                  <a:pt x="258" y="331"/>
                </a:lnTo>
                <a:lnTo>
                  <a:pt x="251" y="331"/>
                </a:lnTo>
                <a:lnTo>
                  <a:pt x="250" y="335"/>
                </a:lnTo>
                <a:lnTo>
                  <a:pt x="248" y="340"/>
                </a:lnTo>
                <a:lnTo>
                  <a:pt x="242" y="340"/>
                </a:lnTo>
                <a:lnTo>
                  <a:pt x="240" y="343"/>
                </a:lnTo>
                <a:lnTo>
                  <a:pt x="237" y="342"/>
                </a:lnTo>
                <a:lnTo>
                  <a:pt x="234" y="340"/>
                </a:lnTo>
                <a:lnTo>
                  <a:pt x="229" y="339"/>
                </a:lnTo>
                <a:lnTo>
                  <a:pt x="224" y="339"/>
                </a:lnTo>
                <a:lnTo>
                  <a:pt x="220" y="340"/>
                </a:lnTo>
                <a:lnTo>
                  <a:pt x="218" y="343"/>
                </a:lnTo>
                <a:lnTo>
                  <a:pt x="220" y="350"/>
                </a:lnTo>
                <a:lnTo>
                  <a:pt x="218" y="355"/>
                </a:lnTo>
                <a:lnTo>
                  <a:pt x="223" y="358"/>
                </a:lnTo>
                <a:lnTo>
                  <a:pt x="224" y="359"/>
                </a:lnTo>
                <a:lnTo>
                  <a:pt x="223" y="362"/>
                </a:lnTo>
                <a:lnTo>
                  <a:pt x="218" y="364"/>
                </a:lnTo>
                <a:lnTo>
                  <a:pt x="215" y="367"/>
                </a:lnTo>
                <a:lnTo>
                  <a:pt x="212" y="370"/>
                </a:lnTo>
                <a:lnTo>
                  <a:pt x="208" y="375"/>
                </a:lnTo>
                <a:lnTo>
                  <a:pt x="207" y="378"/>
                </a:lnTo>
                <a:lnTo>
                  <a:pt x="204" y="382"/>
                </a:lnTo>
                <a:lnTo>
                  <a:pt x="199" y="386"/>
                </a:lnTo>
                <a:lnTo>
                  <a:pt x="197" y="393"/>
                </a:lnTo>
                <a:lnTo>
                  <a:pt x="189" y="397"/>
                </a:lnTo>
                <a:lnTo>
                  <a:pt x="186" y="404"/>
                </a:lnTo>
                <a:lnTo>
                  <a:pt x="186" y="409"/>
                </a:lnTo>
                <a:lnTo>
                  <a:pt x="185" y="417"/>
                </a:lnTo>
                <a:lnTo>
                  <a:pt x="183" y="421"/>
                </a:lnTo>
                <a:lnTo>
                  <a:pt x="181" y="426"/>
                </a:lnTo>
                <a:lnTo>
                  <a:pt x="177" y="429"/>
                </a:lnTo>
                <a:lnTo>
                  <a:pt x="172" y="432"/>
                </a:lnTo>
                <a:lnTo>
                  <a:pt x="166" y="429"/>
                </a:lnTo>
                <a:lnTo>
                  <a:pt x="161" y="426"/>
                </a:lnTo>
                <a:lnTo>
                  <a:pt x="154" y="420"/>
                </a:lnTo>
                <a:lnTo>
                  <a:pt x="151" y="415"/>
                </a:lnTo>
                <a:lnTo>
                  <a:pt x="145" y="410"/>
                </a:lnTo>
                <a:lnTo>
                  <a:pt x="140" y="413"/>
                </a:lnTo>
                <a:lnTo>
                  <a:pt x="137" y="418"/>
                </a:lnTo>
                <a:lnTo>
                  <a:pt x="134" y="424"/>
                </a:lnTo>
                <a:lnTo>
                  <a:pt x="134" y="431"/>
                </a:lnTo>
                <a:lnTo>
                  <a:pt x="134" y="436"/>
                </a:lnTo>
                <a:lnTo>
                  <a:pt x="131" y="439"/>
                </a:lnTo>
                <a:lnTo>
                  <a:pt x="127" y="444"/>
                </a:lnTo>
                <a:lnTo>
                  <a:pt x="124" y="447"/>
                </a:lnTo>
                <a:lnTo>
                  <a:pt x="119" y="447"/>
                </a:lnTo>
                <a:lnTo>
                  <a:pt x="115" y="442"/>
                </a:lnTo>
                <a:lnTo>
                  <a:pt x="112" y="440"/>
                </a:lnTo>
                <a:lnTo>
                  <a:pt x="107" y="437"/>
                </a:lnTo>
                <a:lnTo>
                  <a:pt x="104" y="436"/>
                </a:lnTo>
                <a:lnTo>
                  <a:pt x="99" y="437"/>
                </a:lnTo>
                <a:lnTo>
                  <a:pt x="96" y="439"/>
                </a:lnTo>
                <a:lnTo>
                  <a:pt x="94" y="445"/>
                </a:lnTo>
                <a:lnTo>
                  <a:pt x="91" y="448"/>
                </a:lnTo>
                <a:lnTo>
                  <a:pt x="89" y="450"/>
                </a:lnTo>
                <a:lnTo>
                  <a:pt x="86" y="455"/>
                </a:lnTo>
                <a:lnTo>
                  <a:pt x="84" y="458"/>
                </a:lnTo>
                <a:lnTo>
                  <a:pt x="80" y="458"/>
                </a:lnTo>
                <a:lnTo>
                  <a:pt x="78" y="455"/>
                </a:lnTo>
                <a:lnTo>
                  <a:pt x="72" y="450"/>
                </a:lnTo>
                <a:lnTo>
                  <a:pt x="65" y="448"/>
                </a:lnTo>
                <a:lnTo>
                  <a:pt x="57" y="445"/>
                </a:lnTo>
                <a:lnTo>
                  <a:pt x="53" y="445"/>
                </a:lnTo>
                <a:lnTo>
                  <a:pt x="48" y="448"/>
                </a:lnTo>
                <a:lnTo>
                  <a:pt x="43" y="453"/>
                </a:lnTo>
                <a:lnTo>
                  <a:pt x="40" y="458"/>
                </a:lnTo>
                <a:lnTo>
                  <a:pt x="35" y="455"/>
                </a:lnTo>
                <a:lnTo>
                  <a:pt x="30" y="453"/>
                </a:lnTo>
                <a:lnTo>
                  <a:pt x="24" y="451"/>
                </a:lnTo>
                <a:lnTo>
                  <a:pt x="19" y="455"/>
                </a:lnTo>
                <a:lnTo>
                  <a:pt x="16" y="458"/>
                </a:lnTo>
                <a:lnTo>
                  <a:pt x="15" y="464"/>
                </a:lnTo>
                <a:lnTo>
                  <a:pt x="8" y="469"/>
                </a:lnTo>
                <a:lnTo>
                  <a:pt x="2" y="467"/>
                </a:lnTo>
                <a:lnTo>
                  <a:pt x="0" y="458"/>
                </a:lnTo>
                <a:lnTo>
                  <a:pt x="3" y="455"/>
                </a:lnTo>
                <a:lnTo>
                  <a:pt x="3" y="450"/>
                </a:lnTo>
                <a:lnTo>
                  <a:pt x="3" y="444"/>
                </a:lnTo>
                <a:lnTo>
                  <a:pt x="3" y="437"/>
                </a:lnTo>
                <a:lnTo>
                  <a:pt x="7" y="434"/>
                </a:lnTo>
                <a:lnTo>
                  <a:pt x="10" y="428"/>
                </a:lnTo>
                <a:lnTo>
                  <a:pt x="11" y="426"/>
                </a:lnTo>
                <a:lnTo>
                  <a:pt x="10" y="421"/>
                </a:lnTo>
                <a:lnTo>
                  <a:pt x="7" y="418"/>
                </a:lnTo>
                <a:lnTo>
                  <a:pt x="8" y="413"/>
                </a:lnTo>
                <a:lnTo>
                  <a:pt x="11" y="412"/>
                </a:lnTo>
                <a:lnTo>
                  <a:pt x="15" y="409"/>
                </a:lnTo>
                <a:lnTo>
                  <a:pt x="18" y="407"/>
                </a:lnTo>
                <a:lnTo>
                  <a:pt x="19" y="402"/>
                </a:lnTo>
                <a:lnTo>
                  <a:pt x="21" y="397"/>
                </a:lnTo>
                <a:lnTo>
                  <a:pt x="23" y="391"/>
                </a:lnTo>
                <a:lnTo>
                  <a:pt x="27" y="390"/>
                </a:lnTo>
                <a:lnTo>
                  <a:pt x="30" y="386"/>
                </a:lnTo>
                <a:lnTo>
                  <a:pt x="32" y="382"/>
                </a:lnTo>
                <a:lnTo>
                  <a:pt x="32" y="378"/>
                </a:lnTo>
                <a:lnTo>
                  <a:pt x="35" y="370"/>
                </a:lnTo>
                <a:lnTo>
                  <a:pt x="38" y="366"/>
                </a:lnTo>
                <a:lnTo>
                  <a:pt x="42" y="358"/>
                </a:lnTo>
                <a:lnTo>
                  <a:pt x="45" y="355"/>
                </a:lnTo>
                <a:lnTo>
                  <a:pt x="43" y="350"/>
                </a:lnTo>
                <a:lnTo>
                  <a:pt x="42" y="347"/>
                </a:lnTo>
                <a:lnTo>
                  <a:pt x="38" y="340"/>
                </a:lnTo>
                <a:lnTo>
                  <a:pt x="40" y="335"/>
                </a:lnTo>
                <a:lnTo>
                  <a:pt x="35" y="331"/>
                </a:lnTo>
                <a:lnTo>
                  <a:pt x="32" y="326"/>
                </a:lnTo>
                <a:lnTo>
                  <a:pt x="29" y="318"/>
                </a:lnTo>
                <a:lnTo>
                  <a:pt x="27" y="310"/>
                </a:lnTo>
                <a:lnTo>
                  <a:pt x="29" y="302"/>
                </a:lnTo>
                <a:lnTo>
                  <a:pt x="29" y="299"/>
                </a:lnTo>
                <a:lnTo>
                  <a:pt x="30" y="293"/>
                </a:lnTo>
                <a:lnTo>
                  <a:pt x="35" y="288"/>
                </a:lnTo>
                <a:lnTo>
                  <a:pt x="37" y="283"/>
                </a:lnTo>
                <a:lnTo>
                  <a:pt x="30" y="226"/>
                </a:lnTo>
                <a:lnTo>
                  <a:pt x="24" y="178"/>
                </a:lnTo>
                <a:lnTo>
                  <a:pt x="21" y="124"/>
                </a:lnTo>
                <a:lnTo>
                  <a:pt x="13" y="34"/>
                </a:lnTo>
                <a:lnTo>
                  <a:pt x="13" y="32"/>
                </a:lnTo>
                <a:close/>
              </a:path>
            </a:pathLst>
          </a:custGeom>
          <a:solidFill>
            <a:schemeClr val="bg1">
              <a:lumMod val="95000"/>
            </a:schemeClr>
          </a:solidFill>
          <a:ln w="0" algn="ctr">
            <a:solidFill>
              <a:srgbClr val="808080"/>
            </a:solidFill>
            <a:round/>
            <a:headEnd/>
            <a:tailEnd/>
          </a:ln>
        </p:spPr>
        <p:txBody>
          <a:bodyPr lIns="101798" tIns="50899" rIns="101798" bIns="50899"/>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endParaRPr>
          </a:p>
        </p:txBody>
      </p:sp>
      <p:sp>
        <p:nvSpPr>
          <p:cNvPr id="52" name="State: Illinois"/>
          <p:cNvSpPr>
            <a:spLocks/>
          </p:cNvSpPr>
          <p:nvPr/>
        </p:nvSpPr>
        <p:spPr bwMode="auto">
          <a:xfrm>
            <a:off x="4659060" y="3360349"/>
            <a:ext cx="516564" cy="935227"/>
          </a:xfrm>
          <a:custGeom>
            <a:avLst/>
            <a:gdLst>
              <a:gd name="T0" fmla="*/ 2147483647 w 346"/>
              <a:gd name="T1" fmla="*/ 2147483647 h 608"/>
              <a:gd name="T2" fmla="*/ 2147483647 w 346"/>
              <a:gd name="T3" fmla="*/ 2147483647 h 608"/>
              <a:gd name="T4" fmla="*/ 2147483647 w 346"/>
              <a:gd name="T5" fmla="*/ 2147483647 h 608"/>
              <a:gd name="T6" fmla="*/ 2147483647 w 346"/>
              <a:gd name="T7" fmla="*/ 2147483647 h 608"/>
              <a:gd name="T8" fmla="*/ 2147483647 w 346"/>
              <a:gd name="T9" fmla="*/ 2147483647 h 608"/>
              <a:gd name="T10" fmla="*/ 2147483647 w 346"/>
              <a:gd name="T11" fmla="*/ 2147483647 h 608"/>
              <a:gd name="T12" fmla="*/ 2147483647 w 346"/>
              <a:gd name="T13" fmla="*/ 2147483647 h 608"/>
              <a:gd name="T14" fmla="*/ 2147483647 w 346"/>
              <a:gd name="T15" fmla="*/ 2147483647 h 608"/>
              <a:gd name="T16" fmla="*/ 2147483647 w 346"/>
              <a:gd name="T17" fmla="*/ 2147483647 h 608"/>
              <a:gd name="T18" fmla="*/ 2147483647 w 346"/>
              <a:gd name="T19" fmla="*/ 2147483647 h 608"/>
              <a:gd name="T20" fmla="*/ 2147483647 w 346"/>
              <a:gd name="T21" fmla="*/ 2147483647 h 608"/>
              <a:gd name="T22" fmla="*/ 2147483647 w 346"/>
              <a:gd name="T23" fmla="*/ 2147483647 h 608"/>
              <a:gd name="T24" fmla="*/ 2147483647 w 346"/>
              <a:gd name="T25" fmla="*/ 2147483647 h 608"/>
              <a:gd name="T26" fmla="*/ 2147483647 w 346"/>
              <a:gd name="T27" fmla="*/ 2147483647 h 608"/>
              <a:gd name="T28" fmla="*/ 2147483647 w 346"/>
              <a:gd name="T29" fmla="*/ 2147483647 h 608"/>
              <a:gd name="T30" fmla="*/ 2147483647 w 346"/>
              <a:gd name="T31" fmla="*/ 2147483647 h 608"/>
              <a:gd name="T32" fmla="*/ 2147483647 w 346"/>
              <a:gd name="T33" fmla="*/ 2147483647 h 608"/>
              <a:gd name="T34" fmla="*/ 2147483647 w 346"/>
              <a:gd name="T35" fmla="*/ 2147483647 h 608"/>
              <a:gd name="T36" fmla="*/ 2147483647 w 346"/>
              <a:gd name="T37" fmla="*/ 2147483647 h 608"/>
              <a:gd name="T38" fmla="*/ 2147483647 w 346"/>
              <a:gd name="T39" fmla="*/ 2147483647 h 608"/>
              <a:gd name="T40" fmla="*/ 2147483647 w 346"/>
              <a:gd name="T41" fmla="*/ 2147483647 h 608"/>
              <a:gd name="T42" fmla="*/ 2147483647 w 346"/>
              <a:gd name="T43" fmla="*/ 2147483647 h 608"/>
              <a:gd name="T44" fmla="*/ 2147483647 w 346"/>
              <a:gd name="T45" fmla="*/ 2147483647 h 608"/>
              <a:gd name="T46" fmla="*/ 2147483647 w 346"/>
              <a:gd name="T47" fmla="*/ 2147483647 h 608"/>
              <a:gd name="T48" fmla="*/ 2147483647 w 346"/>
              <a:gd name="T49" fmla="*/ 2147483647 h 608"/>
              <a:gd name="T50" fmla="*/ 2147483647 w 346"/>
              <a:gd name="T51" fmla="*/ 2147483647 h 608"/>
              <a:gd name="T52" fmla="*/ 2147483647 w 346"/>
              <a:gd name="T53" fmla="*/ 2147483647 h 608"/>
              <a:gd name="T54" fmla="*/ 2147483647 w 346"/>
              <a:gd name="T55" fmla="*/ 2147483647 h 608"/>
              <a:gd name="T56" fmla="*/ 2147483647 w 346"/>
              <a:gd name="T57" fmla="*/ 2147483647 h 608"/>
              <a:gd name="T58" fmla="*/ 2147483647 w 346"/>
              <a:gd name="T59" fmla="*/ 2147483647 h 608"/>
              <a:gd name="T60" fmla="*/ 2147483647 w 346"/>
              <a:gd name="T61" fmla="*/ 2147483647 h 608"/>
              <a:gd name="T62" fmla="*/ 2147483647 w 346"/>
              <a:gd name="T63" fmla="*/ 2147483647 h 608"/>
              <a:gd name="T64" fmla="*/ 2147483647 w 346"/>
              <a:gd name="T65" fmla="*/ 2147483647 h 608"/>
              <a:gd name="T66" fmla="*/ 2147483647 w 346"/>
              <a:gd name="T67" fmla="*/ 2147483647 h 608"/>
              <a:gd name="T68" fmla="*/ 2147483647 w 346"/>
              <a:gd name="T69" fmla="*/ 2147483647 h 608"/>
              <a:gd name="T70" fmla="*/ 2147483647 w 346"/>
              <a:gd name="T71" fmla="*/ 2147483647 h 608"/>
              <a:gd name="T72" fmla="*/ 2147483647 w 346"/>
              <a:gd name="T73" fmla="*/ 2147483647 h 608"/>
              <a:gd name="T74" fmla="*/ 0 w 346"/>
              <a:gd name="T75" fmla="*/ 2147483647 h 608"/>
              <a:gd name="T76" fmla="*/ 2147483647 w 346"/>
              <a:gd name="T77" fmla="*/ 2147483647 h 608"/>
              <a:gd name="T78" fmla="*/ 2147483647 w 346"/>
              <a:gd name="T79" fmla="*/ 2147483647 h 608"/>
              <a:gd name="T80" fmla="*/ 2147483647 w 346"/>
              <a:gd name="T81" fmla="*/ 2147483647 h 608"/>
              <a:gd name="T82" fmla="*/ 2147483647 w 346"/>
              <a:gd name="T83" fmla="*/ 2147483647 h 608"/>
              <a:gd name="T84" fmla="*/ 2147483647 w 346"/>
              <a:gd name="T85" fmla="*/ 2147483647 h 608"/>
              <a:gd name="T86" fmla="*/ 2147483647 w 346"/>
              <a:gd name="T87" fmla="*/ 2147483647 h 608"/>
              <a:gd name="T88" fmla="*/ 2147483647 w 346"/>
              <a:gd name="T89" fmla="*/ 2147483647 h 608"/>
              <a:gd name="T90" fmla="*/ 2147483647 w 346"/>
              <a:gd name="T91" fmla="*/ 2147483647 h 608"/>
              <a:gd name="T92" fmla="*/ 2147483647 w 346"/>
              <a:gd name="T93" fmla="*/ 2147483647 h 608"/>
              <a:gd name="T94" fmla="*/ 2147483647 w 346"/>
              <a:gd name="T95" fmla="*/ 2147483647 h 608"/>
              <a:gd name="T96" fmla="*/ 2147483647 w 346"/>
              <a:gd name="T97" fmla="*/ 2147483647 h 608"/>
              <a:gd name="T98" fmla="*/ 2147483647 w 346"/>
              <a:gd name="T99" fmla="*/ 2147483647 h 608"/>
              <a:gd name="T100" fmla="*/ 2147483647 w 346"/>
              <a:gd name="T101" fmla="*/ 2147483647 h 60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46"/>
              <a:gd name="T154" fmla="*/ 0 h 608"/>
              <a:gd name="T155" fmla="*/ 346 w 346"/>
              <a:gd name="T156" fmla="*/ 608 h 60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46" h="608">
                <a:moveTo>
                  <a:pt x="63" y="11"/>
                </a:moveTo>
                <a:lnTo>
                  <a:pt x="283" y="0"/>
                </a:lnTo>
                <a:lnTo>
                  <a:pt x="286" y="8"/>
                </a:lnTo>
                <a:lnTo>
                  <a:pt x="287" y="17"/>
                </a:lnTo>
                <a:lnTo>
                  <a:pt x="289" y="25"/>
                </a:lnTo>
                <a:lnTo>
                  <a:pt x="294" y="32"/>
                </a:lnTo>
                <a:lnTo>
                  <a:pt x="297" y="38"/>
                </a:lnTo>
                <a:lnTo>
                  <a:pt x="300" y="46"/>
                </a:lnTo>
                <a:lnTo>
                  <a:pt x="305" y="52"/>
                </a:lnTo>
                <a:lnTo>
                  <a:pt x="308" y="55"/>
                </a:lnTo>
                <a:lnTo>
                  <a:pt x="311" y="59"/>
                </a:lnTo>
                <a:lnTo>
                  <a:pt x="316" y="62"/>
                </a:lnTo>
                <a:lnTo>
                  <a:pt x="316" y="76"/>
                </a:lnTo>
                <a:lnTo>
                  <a:pt x="316" y="84"/>
                </a:lnTo>
                <a:lnTo>
                  <a:pt x="319" y="97"/>
                </a:lnTo>
                <a:lnTo>
                  <a:pt x="321" y="108"/>
                </a:lnTo>
                <a:lnTo>
                  <a:pt x="322" y="121"/>
                </a:lnTo>
                <a:lnTo>
                  <a:pt x="321" y="138"/>
                </a:lnTo>
                <a:lnTo>
                  <a:pt x="324" y="156"/>
                </a:lnTo>
                <a:lnTo>
                  <a:pt x="326" y="171"/>
                </a:lnTo>
                <a:lnTo>
                  <a:pt x="326" y="202"/>
                </a:lnTo>
                <a:lnTo>
                  <a:pt x="329" y="227"/>
                </a:lnTo>
                <a:lnTo>
                  <a:pt x="330" y="257"/>
                </a:lnTo>
                <a:lnTo>
                  <a:pt x="335" y="279"/>
                </a:lnTo>
                <a:lnTo>
                  <a:pt x="335" y="310"/>
                </a:lnTo>
                <a:lnTo>
                  <a:pt x="338" y="327"/>
                </a:lnTo>
                <a:lnTo>
                  <a:pt x="340" y="337"/>
                </a:lnTo>
                <a:lnTo>
                  <a:pt x="337" y="341"/>
                </a:lnTo>
                <a:lnTo>
                  <a:pt x="333" y="346"/>
                </a:lnTo>
                <a:lnTo>
                  <a:pt x="332" y="351"/>
                </a:lnTo>
                <a:lnTo>
                  <a:pt x="332" y="359"/>
                </a:lnTo>
                <a:lnTo>
                  <a:pt x="332" y="370"/>
                </a:lnTo>
                <a:lnTo>
                  <a:pt x="335" y="380"/>
                </a:lnTo>
                <a:lnTo>
                  <a:pt x="340" y="384"/>
                </a:lnTo>
                <a:lnTo>
                  <a:pt x="343" y="392"/>
                </a:lnTo>
                <a:lnTo>
                  <a:pt x="343" y="399"/>
                </a:lnTo>
                <a:lnTo>
                  <a:pt x="346" y="403"/>
                </a:lnTo>
                <a:lnTo>
                  <a:pt x="346" y="410"/>
                </a:lnTo>
                <a:lnTo>
                  <a:pt x="343" y="416"/>
                </a:lnTo>
                <a:lnTo>
                  <a:pt x="340" y="419"/>
                </a:lnTo>
                <a:lnTo>
                  <a:pt x="338" y="424"/>
                </a:lnTo>
                <a:lnTo>
                  <a:pt x="335" y="430"/>
                </a:lnTo>
                <a:lnTo>
                  <a:pt x="335" y="437"/>
                </a:lnTo>
                <a:lnTo>
                  <a:pt x="333" y="442"/>
                </a:lnTo>
                <a:lnTo>
                  <a:pt x="326" y="445"/>
                </a:lnTo>
                <a:lnTo>
                  <a:pt x="322" y="454"/>
                </a:lnTo>
                <a:lnTo>
                  <a:pt x="319" y="462"/>
                </a:lnTo>
                <a:lnTo>
                  <a:pt x="316" y="464"/>
                </a:lnTo>
                <a:lnTo>
                  <a:pt x="311" y="465"/>
                </a:lnTo>
                <a:lnTo>
                  <a:pt x="310" y="469"/>
                </a:lnTo>
                <a:lnTo>
                  <a:pt x="311" y="473"/>
                </a:lnTo>
                <a:lnTo>
                  <a:pt x="314" y="475"/>
                </a:lnTo>
                <a:lnTo>
                  <a:pt x="314" y="480"/>
                </a:lnTo>
                <a:lnTo>
                  <a:pt x="313" y="483"/>
                </a:lnTo>
                <a:lnTo>
                  <a:pt x="308" y="486"/>
                </a:lnTo>
                <a:lnTo>
                  <a:pt x="306" y="491"/>
                </a:lnTo>
                <a:lnTo>
                  <a:pt x="306" y="496"/>
                </a:lnTo>
                <a:lnTo>
                  <a:pt x="306" y="500"/>
                </a:lnTo>
                <a:lnTo>
                  <a:pt x="305" y="508"/>
                </a:lnTo>
                <a:lnTo>
                  <a:pt x="303" y="511"/>
                </a:lnTo>
                <a:lnTo>
                  <a:pt x="303" y="518"/>
                </a:lnTo>
                <a:lnTo>
                  <a:pt x="303" y="524"/>
                </a:lnTo>
                <a:lnTo>
                  <a:pt x="302" y="529"/>
                </a:lnTo>
                <a:lnTo>
                  <a:pt x="300" y="530"/>
                </a:lnTo>
                <a:lnTo>
                  <a:pt x="300" y="537"/>
                </a:lnTo>
                <a:lnTo>
                  <a:pt x="303" y="540"/>
                </a:lnTo>
                <a:lnTo>
                  <a:pt x="306" y="545"/>
                </a:lnTo>
                <a:lnTo>
                  <a:pt x="306" y="550"/>
                </a:lnTo>
                <a:lnTo>
                  <a:pt x="305" y="551"/>
                </a:lnTo>
                <a:lnTo>
                  <a:pt x="297" y="553"/>
                </a:lnTo>
                <a:lnTo>
                  <a:pt x="289" y="554"/>
                </a:lnTo>
                <a:lnTo>
                  <a:pt x="284" y="561"/>
                </a:lnTo>
                <a:lnTo>
                  <a:pt x="276" y="562"/>
                </a:lnTo>
                <a:lnTo>
                  <a:pt x="273" y="567"/>
                </a:lnTo>
                <a:lnTo>
                  <a:pt x="272" y="575"/>
                </a:lnTo>
                <a:lnTo>
                  <a:pt x="273" y="580"/>
                </a:lnTo>
                <a:lnTo>
                  <a:pt x="276" y="584"/>
                </a:lnTo>
                <a:lnTo>
                  <a:pt x="279" y="589"/>
                </a:lnTo>
                <a:lnTo>
                  <a:pt x="278" y="594"/>
                </a:lnTo>
                <a:lnTo>
                  <a:pt x="275" y="597"/>
                </a:lnTo>
                <a:lnTo>
                  <a:pt x="268" y="599"/>
                </a:lnTo>
                <a:lnTo>
                  <a:pt x="260" y="597"/>
                </a:lnTo>
                <a:lnTo>
                  <a:pt x="248" y="592"/>
                </a:lnTo>
                <a:lnTo>
                  <a:pt x="241" y="589"/>
                </a:lnTo>
                <a:lnTo>
                  <a:pt x="235" y="588"/>
                </a:lnTo>
                <a:lnTo>
                  <a:pt x="229" y="589"/>
                </a:lnTo>
                <a:lnTo>
                  <a:pt x="224" y="592"/>
                </a:lnTo>
                <a:lnTo>
                  <a:pt x="221" y="599"/>
                </a:lnTo>
                <a:lnTo>
                  <a:pt x="217" y="602"/>
                </a:lnTo>
                <a:lnTo>
                  <a:pt x="214" y="607"/>
                </a:lnTo>
                <a:lnTo>
                  <a:pt x="211" y="608"/>
                </a:lnTo>
                <a:lnTo>
                  <a:pt x="200" y="605"/>
                </a:lnTo>
                <a:lnTo>
                  <a:pt x="192" y="597"/>
                </a:lnTo>
                <a:lnTo>
                  <a:pt x="183" y="581"/>
                </a:lnTo>
                <a:lnTo>
                  <a:pt x="186" y="578"/>
                </a:lnTo>
                <a:lnTo>
                  <a:pt x="190" y="570"/>
                </a:lnTo>
                <a:lnTo>
                  <a:pt x="192" y="567"/>
                </a:lnTo>
                <a:lnTo>
                  <a:pt x="189" y="562"/>
                </a:lnTo>
                <a:lnTo>
                  <a:pt x="186" y="559"/>
                </a:lnTo>
                <a:lnTo>
                  <a:pt x="181" y="556"/>
                </a:lnTo>
                <a:lnTo>
                  <a:pt x="181" y="550"/>
                </a:lnTo>
                <a:lnTo>
                  <a:pt x="183" y="545"/>
                </a:lnTo>
                <a:lnTo>
                  <a:pt x="181" y="540"/>
                </a:lnTo>
                <a:lnTo>
                  <a:pt x="178" y="535"/>
                </a:lnTo>
                <a:lnTo>
                  <a:pt x="171" y="530"/>
                </a:lnTo>
                <a:lnTo>
                  <a:pt x="163" y="524"/>
                </a:lnTo>
                <a:lnTo>
                  <a:pt x="154" y="519"/>
                </a:lnTo>
                <a:lnTo>
                  <a:pt x="141" y="510"/>
                </a:lnTo>
                <a:lnTo>
                  <a:pt x="133" y="507"/>
                </a:lnTo>
                <a:lnTo>
                  <a:pt x="125" y="500"/>
                </a:lnTo>
                <a:lnTo>
                  <a:pt x="119" y="492"/>
                </a:lnTo>
                <a:lnTo>
                  <a:pt x="113" y="489"/>
                </a:lnTo>
                <a:lnTo>
                  <a:pt x="108" y="484"/>
                </a:lnTo>
                <a:lnTo>
                  <a:pt x="105" y="481"/>
                </a:lnTo>
                <a:lnTo>
                  <a:pt x="103" y="469"/>
                </a:lnTo>
                <a:lnTo>
                  <a:pt x="105" y="459"/>
                </a:lnTo>
                <a:lnTo>
                  <a:pt x="108" y="453"/>
                </a:lnTo>
                <a:lnTo>
                  <a:pt x="111" y="445"/>
                </a:lnTo>
                <a:lnTo>
                  <a:pt x="119" y="438"/>
                </a:lnTo>
                <a:lnTo>
                  <a:pt x="117" y="432"/>
                </a:lnTo>
                <a:lnTo>
                  <a:pt x="121" y="424"/>
                </a:lnTo>
                <a:lnTo>
                  <a:pt x="124" y="416"/>
                </a:lnTo>
                <a:lnTo>
                  <a:pt x="121" y="411"/>
                </a:lnTo>
                <a:lnTo>
                  <a:pt x="116" y="407"/>
                </a:lnTo>
                <a:lnTo>
                  <a:pt x="109" y="402"/>
                </a:lnTo>
                <a:lnTo>
                  <a:pt x="103" y="399"/>
                </a:lnTo>
                <a:lnTo>
                  <a:pt x="100" y="400"/>
                </a:lnTo>
                <a:lnTo>
                  <a:pt x="94" y="402"/>
                </a:lnTo>
                <a:lnTo>
                  <a:pt x="90" y="407"/>
                </a:lnTo>
                <a:lnTo>
                  <a:pt x="87" y="410"/>
                </a:lnTo>
                <a:lnTo>
                  <a:pt x="82" y="408"/>
                </a:lnTo>
                <a:lnTo>
                  <a:pt x="78" y="403"/>
                </a:lnTo>
                <a:lnTo>
                  <a:pt x="71" y="394"/>
                </a:lnTo>
                <a:lnTo>
                  <a:pt x="70" y="386"/>
                </a:lnTo>
                <a:lnTo>
                  <a:pt x="68" y="376"/>
                </a:lnTo>
                <a:lnTo>
                  <a:pt x="68" y="370"/>
                </a:lnTo>
                <a:lnTo>
                  <a:pt x="60" y="362"/>
                </a:lnTo>
                <a:lnTo>
                  <a:pt x="51" y="354"/>
                </a:lnTo>
                <a:lnTo>
                  <a:pt x="44" y="351"/>
                </a:lnTo>
                <a:lnTo>
                  <a:pt x="36" y="341"/>
                </a:lnTo>
                <a:lnTo>
                  <a:pt x="28" y="335"/>
                </a:lnTo>
                <a:lnTo>
                  <a:pt x="20" y="327"/>
                </a:lnTo>
                <a:lnTo>
                  <a:pt x="16" y="324"/>
                </a:lnTo>
                <a:lnTo>
                  <a:pt x="11" y="314"/>
                </a:lnTo>
                <a:lnTo>
                  <a:pt x="9" y="306"/>
                </a:lnTo>
                <a:lnTo>
                  <a:pt x="6" y="299"/>
                </a:lnTo>
                <a:lnTo>
                  <a:pt x="5" y="292"/>
                </a:lnTo>
                <a:lnTo>
                  <a:pt x="3" y="284"/>
                </a:lnTo>
                <a:lnTo>
                  <a:pt x="0" y="279"/>
                </a:lnTo>
                <a:lnTo>
                  <a:pt x="0" y="275"/>
                </a:lnTo>
                <a:lnTo>
                  <a:pt x="1" y="267"/>
                </a:lnTo>
                <a:lnTo>
                  <a:pt x="0" y="264"/>
                </a:lnTo>
                <a:lnTo>
                  <a:pt x="0" y="257"/>
                </a:lnTo>
                <a:lnTo>
                  <a:pt x="5" y="249"/>
                </a:lnTo>
                <a:lnTo>
                  <a:pt x="8" y="246"/>
                </a:lnTo>
                <a:lnTo>
                  <a:pt x="11" y="241"/>
                </a:lnTo>
                <a:lnTo>
                  <a:pt x="11" y="235"/>
                </a:lnTo>
                <a:lnTo>
                  <a:pt x="9" y="225"/>
                </a:lnTo>
                <a:lnTo>
                  <a:pt x="13" y="224"/>
                </a:lnTo>
                <a:lnTo>
                  <a:pt x="19" y="221"/>
                </a:lnTo>
                <a:lnTo>
                  <a:pt x="24" y="216"/>
                </a:lnTo>
                <a:lnTo>
                  <a:pt x="30" y="213"/>
                </a:lnTo>
                <a:lnTo>
                  <a:pt x="35" y="203"/>
                </a:lnTo>
                <a:lnTo>
                  <a:pt x="33" y="195"/>
                </a:lnTo>
                <a:lnTo>
                  <a:pt x="35" y="190"/>
                </a:lnTo>
                <a:lnTo>
                  <a:pt x="41" y="186"/>
                </a:lnTo>
                <a:lnTo>
                  <a:pt x="44" y="183"/>
                </a:lnTo>
                <a:lnTo>
                  <a:pt x="46" y="176"/>
                </a:lnTo>
                <a:lnTo>
                  <a:pt x="46" y="173"/>
                </a:lnTo>
                <a:lnTo>
                  <a:pt x="44" y="165"/>
                </a:lnTo>
                <a:lnTo>
                  <a:pt x="40" y="159"/>
                </a:lnTo>
                <a:lnTo>
                  <a:pt x="32" y="154"/>
                </a:lnTo>
                <a:lnTo>
                  <a:pt x="28" y="146"/>
                </a:lnTo>
                <a:lnTo>
                  <a:pt x="30" y="136"/>
                </a:lnTo>
                <a:lnTo>
                  <a:pt x="33" y="133"/>
                </a:lnTo>
                <a:lnTo>
                  <a:pt x="38" y="133"/>
                </a:lnTo>
                <a:lnTo>
                  <a:pt x="46" y="130"/>
                </a:lnTo>
                <a:lnTo>
                  <a:pt x="51" y="129"/>
                </a:lnTo>
                <a:lnTo>
                  <a:pt x="59" y="127"/>
                </a:lnTo>
                <a:lnTo>
                  <a:pt x="65" y="127"/>
                </a:lnTo>
                <a:lnTo>
                  <a:pt x="68" y="124"/>
                </a:lnTo>
                <a:lnTo>
                  <a:pt x="73" y="117"/>
                </a:lnTo>
                <a:lnTo>
                  <a:pt x="79" y="117"/>
                </a:lnTo>
                <a:lnTo>
                  <a:pt x="82" y="114"/>
                </a:lnTo>
                <a:lnTo>
                  <a:pt x="87" y="109"/>
                </a:lnTo>
                <a:lnTo>
                  <a:pt x="90" y="106"/>
                </a:lnTo>
                <a:lnTo>
                  <a:pt x="90" y="100"/>
                </a:lnTo>
                <a:lnTo>
                  <a:pt x="90" y="97"/>
                </a:lnTo>
                <a:lnTo>
                  <a:pt x="92" y="90"/>
                </a:lnTo>
                <a:lnTo>
                  <a:pt x="98" y="87"/>
                </a:lnTo>
                <a:lnTo>
                  <a:pt x="101" y="81"/>
                </a:lnTo>
                <a:lnTo>
                  <a:pt x="105" y="75"/>
                </a:lnTo>
                <a:lnTo>
                  <a:pt x="106" y="68"/>
                </a:lnTo>
                <a:lnTo>
                  <a:pt x="105" y="62"/>
                </a:lnTo>
                <a:lnTo>
                  <a:pt x="101" y="55"/>
                </a:lnTo>
                <a:lnTo>
                  <a:pt x="100" y="49"/>
                </a:lnTo>
                <a:lnTo>
                  <a:pt x="92" y="44"/>
                </a:lnTo>
                <a:lnTo>
                  <a:pt x="87" y="41"/>
                </a:lnTo>
                <a:lnTo>
                  <a:pt x="81" y="35"/>
                </a:lnTo>
                <a:lnTo>
                  <a:pt x="79" y="30"/>
                </a:lnTo>
                <a:lnTo>
                  <a:pt x="78" y="28"/>
                </a:lnTo>
                <a:lnTo>
                  <a:pt x="74" y="24"/>
                </a:lnTo>
                <a:lnTo>
                  <a:pt x="70" y="20"/>
                </a:lnTo>
                <a:lnTo>
                  <a:pt x="65" y="16"/>
                </a:lnTo>
                <a:lnTo>
                  <a:pt x="63" y="11"/>
                </a:lnTo>
                <a:close/>
              </a:path>
            </a:pathLst>
          </a:custGeom>
          <a:solidFill>
            <a:schemeClr val="bg1">
              <a:lumMod val="95000"/>
            </a:schemeClr>
          </a:solidFill>
          <a:ln w="0" algn="ctr">
            <a:solidFill>
              <a:srgbClr val="808080"/>
            </a:solidFill>
            <a:round/>
            <a:headEnd/>
            <a:tailEnd/>
          </a:ln>
        </p:spPr>
        <p:txBody>
          <a:bodyPr lIns="101798" tIns="50899" rIns="101798" bIns="50899"/>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endParaRPr>
          </a:p>
        </p:txBody>
      </p:sp>
      <p:sp>
        <p:nvSpPr>
          <p:cNvPr id="53" name="State: Idano"/>
          <p:cNvSpPr>
            <a:spLocks/>
          </p:cNvSpPr>
          <p:nvPr/>
        </p:nvSpPr>
        <p:spPr bwMode="auto">
          <a:xfrm>
            <a:off x="1604466" y="1948277"/>
            <a:ext cx="773353" cy="1329006"/>
          </a:xfrm>
          <a:custGeom>
            <a:avLst/>
            <a:gdLst>
              <a:gd name="T0" fmla="*/ 2147483647 w 518"/>
              <a:gd name="T1" fmla="*/ 2147483647 h 864"/>
              <a:gd name="T2" fmla="*/ 2147483647 w 518"/>
              <a:gd name="T3" fmla="*/ 2147483647 h 864"/>
              <a:gd name="T4" fmla="*/ 2147483647 w 518"/>
              <a:gd name="T5" fmla="*/ 2147483647 h 864"/>
              <a:gd name="T6" fmla="*/ 2147483647 w 518"/>
              <a:gd name="T7" fmla="*/ 2147483647 h 864"/>
              <a:gd name="T8" fmla="*/ 2147483647 w 518"/>
              <a:gd name="T9" fmla="*/ 2147483647 h 864"/>
              <a:gd name="T10" fmla="*/ 2147483647 w 518"/>
              <a:gd name="T11" fmla="*/ 2147483647 h 864"/>
              <a:gd name="T12" fmla="*/ 2147483647 w 518"/>
              <a:gd name="T13" fmla="*/ 2147483647 h 864"/>
              <a:gd name="T14" fmla="*/ 2147483647 w 518"/>
              <a:gd name="T15" fmla="*/ 2147483647 h 864"/>
              <a:gd name="T16" fmla="*/ 2147483647 w 518"/>
              <a:gd name="T17" fmla="*/ 2147483647 h 864"/>
              <a:gd name="T18" fmla="*/ 2147483647 w 518"/>
              <a:gd name="T19" fmla="*/ 2147483647 h 864"/>
              <a:gd name="T20" fmla="*/ 2147483647 w 518"/>
              <a:gd name="T21" fmla="*/ 2147483647 h 864"/>
              <a:gd name="T22" fmla="*/ 2147483647 w 518"/>
              <a:gd name="T23" fmla="*/ 2147483647 h 864"/>
              <a:gd name="T24" fmla="*/ 2147483647 w 518"/>
              <a:gd name="T25" fmla="*/ 2147483647 h 864"/>
              <a:gd name="T26" fmla="*/ 2147483647 w 518"/>
              <a:gd name="T27" fmla="*/ 2147483647 h 864"/>
              <a:gd name="T28" fmla="*/ 2147483647 w 518"/>
              <a:gd name="T29" fmla="*/ 2147483647 h 864"/>
              <a:gd name="T30" fmla="*/ 2147483647 w 518"/>
              <a:gd name="T31" fmla="*/ 2147483647 h 864"/>
              <a:gd name="T32" fmla="*/ 2147483647 w 518"/>
              <a:gd name="T33" fmla="*/ 2147483647 h 864"/>
              <a:gd name="T34" fmla="*/ 2147483647 w 518"/>
              <a:gd name="T35" fmla="*/ 2147483647 h 864"/>
              <a:gd name="T36" fmla="*/ 2147483647 w 518"/>
              <a:gd name="T37" fmla="*/ 2147483647 h 864"/>
              <a:gd name="T38" fmla="*/ 2147483647 w 518"/>
              <a:gd name="T39" fmla="*/ 2147483647 h 864"/>
              <a:gd name="T40" fmla="*/ 2147483647 w 518"/>
              <a:gd name="T41" fmla="*/ 2147483647 h 864"/>
              <a:gd name="T42" fmla="*/ 2147483647 w 518"/>
              <a:gd name="T43" fmla="*/ 2147483647 h 864"/>
              <a:gd name="T44" fmla="*/ 2147483647 w 518"/>
              <a:gd name="T45" fmla="*/ 2147483647 h 864"/>
              <a:gd name="T46" fmla="*/ 2147483647 w 518"/>
              <a:gd name="T47" fmla="*/ 2147483647 h 864"/>
              <a:gd name="T48" fmla="*/ 2147483647 w 518"/>
              <a:gd name="T49" fmla="*/ 2147483647 h 864"/>
              <a:gd name="T50" fmla="*/ 2147483647 w 518"/>
              <a:gd name="T51" fmla="*/ 2147483647 h 864"/>
              <a:gd name="T52" fmla="*/ 2147483647 w 518"/>
              <a:gd name="T53" fmla="*/ 2147483647 h 864"/>
              <a:gd name="T54" fmla="*/ 2147483647 w 518"/>
              <a:gd name="T55" fmla="*/ 2147483647 h 864"/>
              <a:gd name="T56" fmla="*/ 2147483647 w 518"/>
              <a:gd name="T57" fmla="*/ 2147483647 h 864"/>
              <a:gd name="T58" fmla="*/ 2147483647 w 518"/>
              <a:gd name="T59" fmla="*/ 2147483647 h 864"/>
              <a:gd name="T60" fmla="*/ 2147483647 w 518"/>
              <a:gd name="T61" fmla="*/ 2147483647 h 864"/>
              <a:gd name="T62" fmla="*/ 2147483647 w 518"/>
              <a:gd name="T63" fmla="*/ 2147483647 h 864"/>
              <a:gd name="T64" fmla="*/ 2147483647 w 518"/>
              <a:gd name="T65" fmla="*/ 2147483647 h 864"/>
              <a:gd name="T66" fmla="*/ 2147483647 w 518"/>
              <a:gd name="T67" fmla="*/ 2147483647 h 864"/>
              <a:gd name="T68" fmla="*/ 2147483647 w 518"/>
              <a:gd name="T69" fmla="*/ 2147483647 h 864"/>
              <a:gd name="T70" fmla="*/ 2147483647 w 518"/>
              <a:gd name="T71" fmla="*/ 2147483647 h 864"/>
              <a:gd name="T72" fmla="*/ 2147483647 w 518"/>
              <a:gd name="T73" fmla="*/ 2147483647 h 864"/>
              <a:gd name="T74" fmla="*/ 2147483647 w 518"/>
              <a:gd name="T75" fmla="*/ 2147483647 h 864"/>
              <a:gd name="T76" fmla="*/ 2147483647 w 518"/>
              <a:gd name="T77" fmla="*/ 2147483647 h 864"/>
              <a:gd name="T78" fmla="*/ 2147483647 w 518"/>
              <a:gd name="T79" fmla="*/ 2147483647 h 864"/>
              <a:gd name="T80" fmla="*/ 2147483647 w 518"/>
              <a:gd name="T81" fmla="*/ 2147483647 h 864"/>
              <a:gd name="T82" fmla="*/ 2147483647 w 518"/>
              <a:gd name="T83" fmla="*/ 2147483647 h 864"/>
              <a:gd name="T84" fmla="*/ 2147483647 w 518"/>
              <a:gd name="T85" fmla="*/ 2147483647 h 864"/>
              <a:gd name="T86" fmla="*/ 2147483647 w 518"/>
              <a:gd name="T87" fmla="*/ 2147483647 h 864"/>
              <a:gd name="T88" fmla="*/ 2147483647 w 518"/>
              <a:gd name="T89" fmla="*/ 2147483647 h 864"/>
              <a:gd name="T90" fmla="*/ 2147483647 w 518"/>
              <a:gd name="T91" fmla="*/ 2147483647 h 864"/>
              <a:gd name="T92" fmla="*/ 2147483647 w 518"/>
              <a:gd name="T93" fmla="*/ 2147483647 h 864"/>
              <a:gd name="T94" fmla="*/ 2147483647 w 518"/>
              <a:gd name="T95" fmla="*/ 2147483647 h 864"/>
              <a:gd name="T96" fmla="*/ 2147483647 w 518"/>
              <a:gd name="T97" fmla="*/ 2147483647 h 864"/>
              <a:gd name="T98" fmla="*/ 2147483647 w 518"/>
              <a:gd name="T99" fmla="*/ 2147483647 h 864"/>
              <a:gd name="T100" fmla="*/ 2147483647 w 518"/>
              <a:gd name="T101" fmla="*/ 2147483647 h 864"/>
              <a:gd name="T102" fmla="*/ 2147483647 w 518"/>
              <a:gd name="T103" fmla="*/ 2147483647 h 864"/>
              <a:gd name="T104" fmla="*/ 2147483647 w 518"/>
              <a:gd name="T105" fmla="*/ 2147483647 h 864"/>
              <a:gd name="T106" fmla="*/ 2147483647 w 518"/>
              <a:gd name="T107" fmla="*/ 2147483647 h 864"/>
              <a:gd name="T108" fmla="*/ 2147483647 w 518"/>
              <a:gd name="T109" fmla="*/ 2147483647 h 86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18"/>
              <a:gd name="T166" fmla="*/ 0 h 864"/>
              <a:gd name="T167" fmla="*/ 518 w 518"/>
              <a:gd name="T168" fmla="*/ 864 h 86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18" h="864">
                <a:moveTo>
                  <a:pt x="199" y="0"/>
                </a:moveTo>
                <a:lnTo>
                  <a:pt x="264" y="19"/>
                </a:lnTo>
                <a:lnTo>
                  <a:pt x="262" y="43"/>
                </a:lnTo>
                <a:lnTo>
                  <a:pt x="256" y="63"/>
                </a:lnTo>
                <a:lnTo>
                  <a:pt x="251" y="75"/>
                </a:lnTo>
                <a:lnTo>
                  <a:pt x="245" y="86"/>
                </a:lnTo>
                <a:lnTo>
                  <a:pt x="245" y="102"/>
                </a:lnTo>
                <a:lnTo>
                  <a:pt x="243" y="110"/>
                </a:lnTo>
                <a:lnTo>
                  <a:pt x="238" y="116"/>
                </a:lnTo>
                <a:lnTo>
                  <a:pt x="237" y="130"/>
                </a:lnTo>
                <a:lnTo>
                  <a:pt x="245" y="140"/>
                </a:lnTo>
                <a:lnTo>
                  <a:pt x="250" y="151"/>
                </a:lnTo>
                <a:lnTo>
                  <a:pt x="254" y="162"/>
                </a:lnTo>
                <a:lnTo>
                  <a:pt x="256" y="172"/>
                </a:lnTo>
                <a:lnTo>
                  <a:pt x="254" y="176"/>
                </a:lnTo>
                <a:lnTo>
                  <a:pt x="251" y="179"/>
                </a:lnTo>
                <a:lnTo>
                  <a:pt x="251" y="187"/>
                </a:lnTo>
                <a:lnTo>
                  <a:pt x="246" y="191"/>
                </a:lnTo>
                <a:lnTo>
                  <a:pt x="246" y="195"/>
                </a:lnTo>
                <a:lnTo>
                  <a:pt x="251" y="203"/>
                </a:lnTo>
                <a:lnTo>
                  <a:pt x="256" y="206"/>
                </a:lnTo>
                <a:lnTo>
                  <a:pt x="259" y="214"/>
                </a:lnTo>
                <a:lnTo>
                  <a:pt x="265" y="219"/>
                </a:lnTo>
                <a:lnTo>
                  <a:pt x="270" y="222"/>
                </a:lnTo>
                <a:lnTo>
                  <a:pt x="275" y="235"/>
                </a:lnTo>
                <a:lnTo>
                  <a:pt x="277" y="246"/>
                </a:lnTo>
                <a:lnTo>
                  <a:pt x="283" y="257"/>
                </a:lnTo>
                <a:lnTo>
                  <a:pt x="288" y="264"/>
                </a:lnTo>
                <a:lnTo>
                  <a:pt x="289" y="272"/>
                </a:lnTo>
                <a:lnTo>
                  <a:pt x="293" y="278"/>
                </a:lnTo>
                <a:lnTo>
                  <a:pt x="297" y="286"/>
                </a:lnTo>
                <a:lnTo>
                  <a:pt x="304" y="292"/>
                </a:lnTo>
                <a:lnTo>
                  <a:pt x="305" y="300"/>
                </a:lnTo>
                <a:lnTo>
                  <a:pt x="312" y="303"/>
                </a:lnTo>
                <a:lnTo>
                  <a:pt x="320" y="299"/>
                </a:lnTo>
                <a:lnTo>
                  <a:pt x="324" y="302"/>
                </a:lnTo>
                <a:lnTo>
                  <a:pt x="326" y="307"/>
                </a:lnTo>
                <a:lnTo>
                  <a:pt x="323" y="313"/>
                </a:lnTo>
                <a:lnTo>
                  <a:pt x="320" y="316"/>
                </a:lnTo>
                <a:lnTo>
                  <a:pt x="316" y="319"/>
                </a:lnTo>
                <a:lnTo>
                  <a:pt x="316" y="329"/>
                </a:lnTo>
                <a:lnTo>
                  <a:pt x="312" y="334"/>
                </a:lnTo>
                <a:lnTo>
                  <a:pt x="308" y="340"/>
                </a:lnTo>
                <a:lnTo>
                  <a:pt x="308" y="346"/>
                </a:lnTo>
                <a:lnTo>
                  <a:pt x="307" y="351"/>
                </a:lnTo>
                <a:lnTo>
                  <a:pt x="300" y="353"/>
                </a:lnTo>
                <a:lnTo>
                  <a:pt x="299" y="359"/>
                </a:lnTo>
                <a:lnTo>
                  <a:pt x="300" y="362"/>
                </a:lnTo>
                <a:lnTo>
                  <a:pt x="300" y="369"/>
                </a:lnTo>
                <a:lnTo>
                  <a:pt x="302" y="376"/>
                </a:lnTo>
                <a:lnTo>
                  <a:pt x="302" y="380"/>
                </a:lnTo>
                <a:lnTo>
                  <a:pt x="302" y="386"/>
                </a:lnTo>
                <a:lnTo>
                  <a:pt x="297" y="388"/>
                </a:lnTo>
                <a:lnTo>
                  <a:pt x="294" y="391"/>
                </a:lnTo>
                <a:lnTo>
                  <a:pt x="289" y="392"/>
                </a:lnTo>
                <a:lnTo>
                  <a:pt x="288" y="397"/>
                </a:lnTo>
                <a:lnTo>
                  <a:pt x="288" y="405"/>
                </a:lnTo>
                <a:lnTo>
                  <a:pt x="288" y="410"/>
                </a:lnTo>
                <a:lnTo>
                  <a:pt x="285" y="410"/>
                </a:lnTo>
                <a:lnTo>
                  <a:pt x="285" y="415"/>
                </a:lnTo>
                <a:lnTo>
                  <a:pt x="285" y="419"/>
                </a:lnTo>
                <a:lnTo>
                  <a:pt x="288" y="419"/>
                </a:lnTo>
                <a:lnTo>
                  <a:pt x="294" y="427"/>
                </a:lnTo>
                <a:lnTo>
                  <a:pt x="296" y="430"/>
                </a:lnTo>
                <a:lnTo>
                  <a:pt x="300" y="432"/>
                </a:lnTo>
                <a:lnTo>
                  <a:pt x="304" y="427"/>
                </a:lnTo>
                <a:lnTo>
                  <a:pt x="308" y="426"/>
                </a:lnTo>
                <a:lnTo>
                  <a:pt x="312" y="426"/>
                </a:lnTo>
                <a:lnTo>
                  <a:pt x="316" y="423"/>
                </a:lnTo>
                <a:lnTo>
                  <a:pt x="320" y="423"/>
                </a:lnTo>
                <a:lnTo>
                  <a:pt x="323" y="418"/>
                </a:lnTo>
                <a:lnTo>
                  <a:pt x="326" y="415"/>
                </a:lnTo>
                <a:lnTo>
                  <a:pt x="327" y="415"/>
                </a:lnTo>
                <a:lnTo>
                  <a:pt x="332" y="419"/>
                </a:lnTo>
                <a:lnTo>
                  <a:pt x="335" y="423"/>
                </a:lnTo>
                <a:lnTo>
                  <a:pt x="337" y="424"/>
                </a:lnTo>
                <a:lnTo>
                  <a:pt x="337" y="461"/>
                </a:lnTo>
                <a:lnTo>
                  <a:pt x="342" y="469"/>
                </a:lnTo>
                <a:lnTo>
                  <a:pt x="342" y="470"/>
                </a:lnTo>
                <a:lnTo>
                  <a:pt x="343" y="480"/>
                </a:lnTo>
                <a:lnTo>
                  <a:pt x="347" y="486"/>
                </a:lnTo>
                <a:lnTo>
                  <a:pt x="351" y="489"/>
                </a:lnTo>
                <a:lnTo>
                  <a:pt x="351" y="494"/>
                </a:lnTo>
                <a:lnTo>
                  <a:pt x="351" y="499"/>
                </a:lnTo>
                <a:lnTo>
                  <a:pt x="347" y="507"/>
                </a:lnTo>
                <a:lnTo>
                  <a:pt x="347" y="508"/>
                </a:lnTo>
                <a:lnTo>
                  <a:pt x="347" y="513"/>
                </a:lnTo>
                <a:lnTo>
                  <a:pt x="350" y="516"/>
                </a:lnTo>
                <a:lnTo>
                  <a:pt x="351" y="519"/>
                </a:lnTo>
                <a:lnTo>
                  <a:pt x="358" y="524"/>
                </a:lnTo>
                <a:lnTo>
                  <a:pt x="364" y="524"/>
                </a:lnTo>
                <a:lnTo>
                  <a:pt x="367" y="531"/>
                </a:lnTo>
                <a:lnTo>
                  <a:pt x="370" y="534"/>
                </a:lnTo>
                <a:lnTo>
                  <a:pt x="372" y="540"/>
                </a:lnTo>
                <a:lnTo>
                  <a:pt x="372" y="548"/>
                </a:lnTo>
                <a:lnTo>
                  <a:pt x="369" y="551"/>
                </a:lnTo>
                <a:lnTo>
                  <a:pt x="370" y="556"/>
                </a:lnTo>
                <a:lnTo>
                  <a:pt x="372" y="558"/>
                </a:lnTo>
                <a:lnTo>
                  <a:pt x="372" y="562"/>
                </a:lnTo>
                <a:lnTo>
                  <a:pt x="374" y="569"/>
                </a:lnTo>
                <a:lnTo>
                  <a:pt x="377" y="572"/>
                </a:lnTo>
                <a:lnTo>
                  <a:pt x="380" y="578"/>
                </a:lnTo>
                <a:lnTo>
                  <a:pt x="385" y="575"/>
                </a:lnTo>
                <a:lnTo>
                  <a:pt x="386" y="569"/>
                </a:lnTo>
                <a:lnTo>
                  <a:pt x="393" y="566"/>
                </a:lnTo>
                <a:lnTo>
                  <a:pt x="396" y="564"/>
                </a:lnTo>
                <a:lnTo>
                  <a:pt x="401" y="567"/>
                </a:lnTo>
                <a:lnTo>
                  <a:pt x="405" y="570"/>
                </a:lnTo>
                <a:lnTo>
                  <a:pt x="408" y="573"/>
                </a:lnTo>
                <a:lnTo>
                  <a:pt x="415" y="575"/>
                </a:lnTo>
                <a:lnTo>
                  <a:pt x="420" y="573"/>
                </a:lnTo>
                <a:lnTo>
                  <a:pt x="426" y="567"/>
                </a:lnTo>
                <a:lnTo>
                  <a:pt x="431" y="564"/>
                </a:lnTo>
                <a:lnTo>
                  <a:pt x="434" y="566"/>
                </a:lnTo>
                <a:lnTo>
                  <a:pt x="437" y="569"/>
                </a:lnTo>
                <a:lnTo>
                  <a:pt x="440" y="572"/>
                </a:lnTo>
                <a:lnTo>
                  <a:pt x="448" y="573"/>
                </a:lnTo>
                <a:lnTo>
                  <a:pt x="459" y="570"/>
                </a:lnTo>
                <a:lnTo>
                  <a:pt x="461" y="573"/>
                </a:lnTo>
                <a:lnTo>
                  <a:pt x="464" y="575"/>
                </a:lnTo>
                <a:lnTo>
                  <a:pt x="474" y="575"/>
                </a:lnTo>
                <a:lnTo>
                  <a:pt x="482" y="575"/>
                </a:lnTo>
                <a:lnTo>
                  <a:pt x="485" y="578"/>
                </a:lnTo>
                <a:lnTo>
                  <a:pt x="488" y="573"/>
                </a:lnTo>
                <a:lnTo>
                  <a:pt x="491" y="572"/>
                </a:lnTo>
                <a:lnTo>
                  <a:pt x="493" y="567"/>
                </a:lnTo>
                <a:lnTo>
                  <a:pt x="497" y="559"/>
                </a:lnTo>
                <a:lnTo>
                  <a:pt x="502" y="559"/>
                </a:lnTo>
                <a:lnTo>
                  <a:pt x="505" y="562"/>
                </a:lnTo>
                <a:lnTo>
                  <a:pt x="507" y="569"/>
                </a:lnTo>
                <a:lnTo>
                  <a:pt x="509" y="578"/>
                </a:lnTo>
                <a:lnTo>
                  <a:pt x="510" y="581"/>
                </a:lnTo>
                <a:lnTo>
                  <a:pt x="518" y="583"/>
                </a:lnTo>
                <a:lnTo>
                  <a:pt x="466" y="864"/>
                </a:lnTo>
                <a:lnTo>
                  <a:pt x="232" y="815"/>
                </a:lnTo>
                <a:lnTo>
                  <a:pt x="0" y="753"/>
                </a:lnTo>
                <a:lnTo>
                  <a:pt x="18" y="677"/>
                </a:lnTo>
                <a:lnTo>
                  <a:pt x="29" y="637"/>
                </a:lnTo>
                <a:lnTo>
                  <a:pt x="38" y="591"/>
                </a:lnTo>
                <a:lnTo>
                  <a:pt x="48" y="566"/>
                </a:lnTo>
                <a:lnTo>
                  <a:pt x="56" y="550"/>
                </a:lnTo>
                <a:lnTo>
                  <a:pt x="62" y="538"/>
                </a:lnTo>
                <a:lnTo>
                  <a:pt x="67" y="526"/>
                </a:lnTo>
                <a:lnTo>
                  <a:pt x="65" y="516"/>
                </a:lnTo>
                <a:lnTo>
                  <a:pt x="57" y="508"/>
                </a:lnTo>
                <a:lnTo>
                  <a:pt x="48" y="500"/>
                </a:lnTo>
                <a:lnTo>
                  <a:pt x="48" y="492"/>
                </a:lnTo>
                <a:lnTo>
                  <a:pt x="46" y="488"/>
                </a:lnTo>
                <a:lnTo>
                  <a:pt x="57" y="477"/>
                </a:lnTo>
                <a:lnTo>
                  <a:pt x="75" y="459"/>
                </a:lnTo>
                <a:lnTo>
                  <a:pt x="88" y="450"/>
                </a:lnTo>
                <a:lnTo>
                  <a:pt x="92" y="448"/>
                </a:lnTo>
                <a:lnTo>
                  <a:pt x="97" y="430"/>
                </a:lnTo>
                <a:lnTo>
                  <a:pt x="110" y="421"/>
                </a:lnTo>
                <a:lnTo>
                  <a:pt x="115" y="408"/>
                </a:lnTo>
                <a:lnTo>
                  <a:pt x="124" y="394"/>
                </a:lnTo>
                <a:lnTo>
                  <a:pt x="135" y="381"/>
                </a:lnTo>
                <a:lnTo>
                  <a:pt x="140" y="370"/>
                </a:lnTo>
                <a:lnTo>
                  <a:pt x="140" y="362"/>
                </a:lnTo>
                <a:lnTo>
                  <a:pt x="126" y="346"/>
                </a:lnTo>
                <a:lnTo>
                  <a:pt x="118" y="327"/>
                </a:lnTo>
                <a:lnTo>
                  <a:pt x="119" y="314"/>
                </a:lnTo>
                <a:lnTo>
                  <a:pt x="122" y="294"/>
                </a:lnTo>
                <a:lnTo>
                  <a:pt x="122" y="283"/>
                </a:lnTo>
                <a:lnTo>
                  <a:pt x="121" y="273"/>
                </a:lnTo>
                <a:lnTo>
                  <a:pt x="122" y="267"/>
                </a:lnTo>
                <a:lnTo>
                  <a:pt x="199" y="0"/>
                </a:lnTo>
                <a:close/>
              </a:path>
            </a:pathLst>
          </a:custGeom>
          <a:solidFill>
            <a:schemeClr val="bg1">
              <a:lumMod val="95000"/>
            </a:schemeClr>
          </a:solidFill>
          <a:ln w="0" algn="ctr">
            <a:solidFill>
              <a:srgbClr val="808080"/>
            </a:solidFill>
            <a:round/>
            <a:headEnd/>
            <a:tailEnd/>
          </a:ln>
        </p:spPr>
        <p:txBody>
          <a:bodyPr lIns="101798" tIns="50899" rIns="101798" bIns="50899"/>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endParaRPr>
          </a:p>
        </p:txBody>
      </p:sp>
      <p:grpSp>
        <p:nvGrpSpPr>
          <p:cNvPr id="54" name="State: Hawaii"/>
          <p:cNvGrpSpPr/>
          <p:nvPr/>
        </p:nvGrpSpPr>
        <p:grpSpPr>
          <a:xfrm>
            <a:off x="1968753" y="5735330"/>
            <a:ext cx="780819" cy="515296"/>
            <a:chOff x="2567354" y="5735330"/>
            <a:chExt cx="780819" cy="515296"/>
          </a:xfrm>
          <a:solidFill>
            <a:schemeClr val="bg1">
              <a:lumMod val="95000"/>
            </a:schemeClr>
          </a:solidFill>
        </p:grpSpPr>
        <p:sp>
          <p:nvSpPr>
            <p:cNvPr id="55" name="Island of Hawai'i"/>
            <p:cNvSpPr>
              <a:spLocks/>
            </p:cNvSpPr>
            <p:nvPr/>
          </p:nvSpPr>
          <p:spPr bwMode="auto">
            <a:xfrm>
              <a:off x="3167524" y="6036817"/>
              <a:ext cx="180649" cy="213809"/>
            </a:xfrm>
            <a:custGeom>
              <a:avLst/>
              <a:gdLst>
                <a:gd name="T0" fmla="*/ 2147483647 w 121"/>
                <a:gd name="T1" fmla="*/ 2147483647 h 139"/>
                <a:gd name="T2" fmla="*/ 2147483647 w 121"/>
                <a:gd name="T3" fmla="*/ 0 h 139"/>
                <a:gd name="T4" fmla="*/ 2147483647 w 121"/>
                <a:gd name="T5" fmla="*/ 2147483647 h 139"/>
                <a:gd name="T6" fmla="*/ 2147483647 w 121"/>
                <a:gd name="T7" fmla="*/ 2147483647 h 139"/>
                <a:gd name="T8" fmla="*/ 2147483647 w 121"/>
                <a:gd name="T9" fmla="*/ 2147483647 h 139"/>
                <a:gd name="T10" fmla="*/ 2147483647 w 121"/>
                <a:gd name="T11" fmla="*/ 2147483647 h 139"/>
                <a:gd name="T12" fmla="*/ 2147483647 w 121"/>
                <a:gd name="T13" fmla="*/ 2147483647 h 139"/>
                <a:gd name="T14" fmla="*/ 2147483647 w 121"/>
                <a:gd name="T15" fmla="*/ 2147483647 h 139"/>
                <a:gd name="T16" fmla="*/ 2147483647 w 121"/>
                <a:gd name="T17" fmla="*/ 2147483647 h 139"/>
                <a:gd name="T18" fmla="*/ 2147483647 w 121"/>
                <a:gd name="T19" fmla="*/ 2147483647 h 139"/>
                <a:gd name="T20" fmla="*/ 2147483647 w 121"/>
                <a:gd name="T21" fmla="*/ 2147483647 h 139"/>
                <a:gd name="T22" fmla="*/ 2147483647 w 121"/>
                <a:gd name="T23" fmla="*/ 2147483647 h 139"/>
                <a:gd name="T24" fmla="*/ 2147483647 w 121"/>
                <a:gd name="T25" fmla="*/ 2147483647 h 139"/>
                <a:gd name="T26" fmla="*/ 2147483647 w 121"/>
                <a:gd name="T27" fmla="*/ 2147483647 h 139"/>
                <a:gd name="T28" fmla="*/ 2147483647 w 121"/>
                <a:gd name="T29" fmla="*/ 2147483647 h 139"/>
                <a:gd name="T30" fmla="*/ 2147483647 w 121"/>
                <a:gd name="T31" fmla="*/ 2147483647 h 139"/>
                <a:gd name="T32" fmla="*/ 2147483647 w 121"/>
                <a:gd name="T33" fmla="*/ 2147483647 h 139"/>
                <a:gd name="T34" fmla="*/ 2147483647 w 121"/>
                <a:gd name="T35" fmla="*/ 2147483647 h 139"/>
                <a:gd name="T36" fmla="*/ 2147483647 w 121"/>
                <a:gd name="T37" fmla="*/ 2147483647 h 139"/>
                <a:gd name="T38" fmla="*/ 2147483647 w 121"/>
                <a:gd name="T39" fmla="*/ 2147483647 h 139"/>
                <a:gd name="T40" fmla="*/ 2147483647 w 121"/>
                <a:gd name="T41" fmla="*/ 2147483647 h 139"/>
                <a:gd name="T42" fmla="*/ 2147483647 w 121"/>
                <a:gd name="T43" fmla="*/ 2147483647 h 139"/>
                <a:gd name="T44" fmla="*/ 2147483647 w 121"/>
                <a:gd name="T45" fmla="*/ 2147483647 h 139"/>
                <a:gd name="T46" fmla="*/ 2147483647 w 121"/>
                <a:gd name="T47" fmla="*/ 2147483647 h 139"/>
                <a:gd name="T48" fmla="*/ 2147483647 w 121"/>
                <a:gd name="T49" fmla="*/ 2147483647 h 139"/>
                <a:gd name="T50" fmla="*/ 2147483647 w 121"/>
                <a:gd name="T51" fmla="*/ 2147483647 h 139"/>
                <a:gd name="T52" fmla="*/ 2147483647 w 121"/>
                <a:gd name="T53" fmla="*/ 2147483647 h 139"/>
                <a:gd name="T54" fmla="*/ 2147483647 w 121"/>
                <a:gd name="T55" fmla="*/ 2147483647 h 139"/>
                <a:gd name="T56" fmla="*/ 2147483647 w 121"/>
                <a:gd name="T57" fmla="*/ 2147483647 h 139"/>
                <a:gd name="T58" fmla="*/ 2147483647 w 121"/>
                <a:gd name="T59" fmla="*/ 2147483647 h 139"/>
                <a:gd name="T60" fmla="*/ 2147483647 w 121"/>
                <a:gd name="T61" fmla="*/ 2147483647 h 139"/>
                <a:gd name="T62" fmla="*/ 2147483647 w 121"/>
                <a:gd name="T63" fmla="*/ 2147483647 h 139"/>
                <a:gd name="T64" fmla="*/ 0 w 121"/>
                <a:gd name="T65" fmla="*/ 2147483647 h 139"/>
                <a:gd name="T66" fmla="*/ 0 w 121"/>
                <a:gd name="T67" fmla="*/ 2147483647 h 139"/>
                <a:gd name="T68" fmla="*/ 2147483647 w 121"/>
                <a:gd name="T69" fmla="*/ 2147483647 h 139"/>
                <a:gd name="T70" fmla="*/ 2147483647 w 121"/>
                <a:gd name="T71" fmla="*/ 2147483647 h 139"/>
                <a:gd name="T72" fmla="*/ 2147483647 w 121"/>
                <a:gd name="T73" fmla="*/ 2147483647 h 139"/>
                <a:gd name="T74" fmla="*/ 2147483647 w 121"/>
                <a:gd name="T75" fmla="*/ 2147483647 h 139"/>
                <a:gd name="T76" fmla="*/ 2147483647 w 121"/>
                <a:gd name="T77" fmla="*/ 2147483647 h 139"/>
                <a:gd name="T78" fmla="*/ 2147483647 w 121"/>
                <a:gd name="T79" fmla="*/ 2147483647 h 139"/>
                <a:gd name="T80" fmla="*/ 2147483647 w 121"/>
                <a:gd name="T81" fmla="*/ 2147483647 h 139"/>
                <a:gd name="T82" fmla="*/ 2147483647 w 121"/>
                <a:gd name="T83" fmla="*/ 2147483647 h 139"/>
                <a:gd name="T84" fmla="*/ 2147483647 w 121"/>
                <a:gd name="T85" fmla="*/ 2147483647 h 139"/>
                <a:gd name="T86" fmla="*/ 2147483647 w 121"/>
                <a:gd name="T87" fmla="*/ 2147483647 h 139"/>
                <a:gd name="T88" fmla="*/ 2147483647 w 121"/>
                <a:gd name="T89" fmla="*/ 2147483647 h 13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1"/>
                <a:gd name="T136" fmla="*/ 0 h 139"/>
                <a:gd name="T137" fmla="*/ 121 w 121"/>
                <a:gd name="T138" fmla="*/ 139 h 13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1" h="139">
                  <a:moveTo>
                    <a:pt x="16" y="11"/>
                  </a:moveTo>
                  <a:lnTo>
                    <a:pt x="25" y="0"/>
                  </a:lnTo>
                  <a:lnTo>
                    <a:pt x="38" y="14"/>
                  </a:lnTo>
                  <a:lnTo>
                    <a:pt x="86" y="35"/>
                  </a:lnTo>
                  <a:lnTo>
                    <a:pt x="99" y="41"/>
                  </a:lnTo>
                  <a:lnTo>
                    <a:pt x="99" y="54"/>
                  </a:lnTo>
                  <a:lnTo>
                    <a:pt x="113" y="73"/>
                  </a:lnTo>
                  <a:lnTo>
                    <a:pt x="116" y="73"/>
                  </a:lnTo>
                  <a:lnTo>
                    <a:pt x="121" y="77"/>
                  </a:lnTo>
                  <a:lnTo>
                    <a:pt x="121" y="79"/>
                  </a:lnTo>
                  <a:lnTo>
                    <a:pt x="119" y="84"/>
                  </a:lnTo>
                  <a:lnTo>
                    <a:pt x="116" y="89"/>
                  </a:lnTo>
                  <a:lnTo>
                    <a:pt x="106" y="98"/>
                  </a:lnTo>
                  <a:lnTo>
                    <a:pt x="102" y="98"/>
                  </a:lnTo>
                  <a:lnTo>
                    <a:pt x="97" y="98"/>
                  </a:lnTo>
                  <a:lnTo>
                    <a:pt x="89" y="98"/>
                  </a:lnTo>
                  <a:lnTo>
                    <a:pt x="79" y="103"/>
                  </a:lnTo>
                  <a:lnTo>
                    <a:pt x="68" y="106"/>
                  </a:lnTo>
                  <a:lnTo>
                    <a:pt x="59" y="116"/>
                  </a:lnTo>
                  <a:lnTo>
                    <a:pt x="49" y="125"/>
                  </a:lnTo>
                  <a:lnTo>
                    <a:pt x="43" y="139"/>
                  </a:lnTo>
                  <a:lnTo>
                    <a:pt x="37" y="138"/>
                  </a:lnTo>
                  <a:lnTo>
                    <a:pt x="29" y="133"/>
                  </a:lnTo>
                  <a:lnTo>
                    <a:pt x="22" y="127"/>
                  </a:lnTo>
                  <a:lnTo>
                    <a:pt x="18" y="120"/>
                  </a:lnTo>
                  <a:lnTo>
                    <a:pt x="14" y="111"/>
                  </a:lnTo>
                  <a:lnTo>
                    <a:pt x="14" y="101"/>
                  </a:lnTo>
                  <a:lnTo>
                    <a:pt x="14" y="97"/>
                  </a:lnTo>
                  <a:lnTo>
                    <a:pt x="16" y="90"/>
                  </a:lnTo>
                  <a:lnTo>
                    <a:pt x="14" y="81"/>
                  </a:lnTo>
                  <a:lnTo>
                    <a:pt x="6" y="68"/>
                  </a:lnTo>
                  <a:lnTo>
                    <a:pt x="3" y="62"/>
                  </a:lnTo>
                  <a:lnTo>
                    <a:pt x="0" y="55"/>
                  </a:lnTo>
                  <a:lnTo>
                    <a:pt x="0" y="50"/>
                  </a:lnTo>
                  <a:lnTo>
                    <a:pt x="2" y="47"/>
                  </a:lnTo>
                  <a:lnTo>
                    <a:pt x="5" y="44"/>
                  </a:lnTo>
                  <a:lnTo>
                    <a:pt x="14" y="44"/>
                  </a:lnTo>
                  <a:lnTo>
                    <a:pt x="16" y="46"/>
                  </a:lnTo>
                  <a:lnTo>
                    <a:pt x="18" y="43"/>
                  </a:lnTo>
                  <a:lnTo>
                    <a:pt x="19" y="38"/>
                  </a:lnTo>
                  <a:lnTo>
                    <a:pt x="19" y="30"/>
                  </a:lnTo>
                  <a:lnTo>
                    <a:pt x="21" y="19"/>
                  </a:lnTo>
                  <a:lnTo>
                    <a:pt x="18" y="14"/>
                  </a:lnTo>
                  <a:lnTo>
                    <a:pt x="16" y="11"/>
                  </a:lnTo>
                  <a:close/>
                </a:path>
              </a:pathLst>
            </a:custGeom>
            <a:grpFill/>
            <a:ln w="0" algn="ctr">
              <a:solidFill>
                <a:srgbClr val="808080"/>
              </a:solidFill>
              <a:round/>
              <a:headEnd/>
              <a:tailEnd/>
            </a:ln>
          </p:spPr>
          <p:txBody>
            <a:bodyPr lIns="101882" tIns="50941" rIns="101882" bIns="50941"/>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itchFamily="34" charset="0"/>
              </a:endParaRPr>
            </a:p>
          </p:txBody>
        </p:sp>
        <p:sp>
          <p:nvSpPr>
            <p:cNvPr id="56" name="Maui"/>
            <p:cNvSpPr>
              <a:spLocks/>
            </p:cNvSpPr>
            <p:nvPr/>
          </p:nvSpPr>
          <p:spPr bwMode="auto">
            <a:xfrm>
              <a:off x="3079440" y="5926067"/>
              <a:ext cx="97042" cy="70757"/>
            </a:xfrm>
            <a:custGeom>
              <a:avLst/>
              <a:gdLst>
                <a:gd name="T0" fmla="*/ 2147483647 w 65"/>
                <a:gd name="T1" fmla="*/ 2147483647 h 46"/>
                <a:gd name="T2" fmla="*/ 2147483647 w 65"/>
                <a:gd name="T3" fmla="*/ 2147483647 h 46"/>
                <a:gd name="T4" fmla="*/ 0 w 65"/>
                <a:gd name="T5" fmla="*/ 2147483647 h 46"/>
                <a:gd name="T6" fmla="*/ 0 w 65"/>
                <a:gd name="T7" fmla="*/ 0 h 46"/>
                <a:gd name="T8" fmla="*/ 2147483647 w 65"/>
                <a:gd name="T9" fmla="*/ 0 h 46"/>
                <a:gd name="T10" fmla="*/ 2147483647 w 65"/>
                <a:gd name="T11" fmla="*/ 0 h 46"/>
                <a:gd name="T12" fmla="*/ 2147483647 w 65"/>
                <a:gd name="T13" fmla="*/ 2147483647 h 46"/>
                <a:gd name="T14" fmla="*/ 2147483647 w 65"/>
                <a:gd name="T15" fmla="*/ 2147483647 h 46"/>
                <a:gd name="T16" fmla="*/ 2147483647 w 65"/>
                <a:gd name="T17" fmla="*/ 2147483647 h 46"/>
                <a:gd name="T18" fmla="*/ 2147483647 w 65"/>
                <a:gd name="T19" fmla="*/ 2147483647 h 46"/>
                <a:gd name="T20" fmla="*/ 2147483647 w 65"/>
                <a:gd name="T21" fmla="*/ 2147483647 h 46"/>
                <a:gd name="T22" fmla="*/ 2147483647 w 65"/>
                <a:gd name="T23" fmla="*/ 2147483647 h 46"/>
                <a:gd name="T24" fmla="*/ 2147483647 w 65"/>
                <a:gd name="T25" fmla="*/ 2147483647 h 46"/>
                <a:gd name="T26" fmla="*/ 2147483647 w 65"/>
                <a:gd name="T27" fmla="*/ 2147483647 h 46"/>
                <a:gd name="T28" fmla="*/ 2147483647 w 65"/>
                <a:gd name="T29" fmla="*/ 2147483647 h 46"/>
                <a:gd name="T30" fmla="*/ 2147483647 w 65"/>
                <a:gd name="T31" fmla="*/ 2147483647 h 46"/>
                <a:gd name="T32" fmla="*/ 2147483647 w 65"/>
                <a:gd name="T33" fmla="*/ 2147483647 h 46"/>
                <a:gd name="T34" fmla="*/ 2147483647 w 65"/>
                <a:gd name="T35" fmla="*/ 2147483647 h 46"/>
                <a:gd name="T36" fmla="*/ 2147483647 w 65"/>
                <a:gd name="T37" fmla="*/ 2147483647 h 46"/>
                <a:gd name="T38" fmla="*/ 2147483647 w 65"/>
                <a:gd name="T39" fmla="*/ 2147483647 h 46"/>
                <a:gd name="T40" fmla="*/ 2147483647 w 65"/>
                <a:gd name="T41" fmla="*/ 2147483647 h 46"/>
                <a:gd name="T42" fmla="*/ 2147483647 w 65"/>
                <a:gd name="T43" fmla="*/ 2147483647 h 46"/>
                <a:gd name="T44" fmla="*/ 2147483647 w 65"/>
                <a:gd name="T45" fmla="*/ 2147483647 h 46"/>
                <a:gd name="T46" fmla="*/ 2147483647 w 65"/>
                <a:gd name="T47" fmla="*/ 2147483647 h 46"/>
                <a:gd name="T48" fmla="*/ 2147483647 w 65"/>
                <a:gd name="T49" fmla="*/ 2147483647 h 46"/>
                <a:gd name="T50" fmla="*/ 2147483647 w 65"/>
                <a:gd name="T51" fmla="*/ 2147483647 h 46"/>
                <a:gd name="T52" fmla="*/ 2147483647 w 65"/>
                <a:gd name="T53" fmla="*/ 2147483647 h 46"/>
                <a:gd name="T54" fmla="*/ 2147483647 w 65"/>
                <a:gd name="T55" fmla="*/ 2147483647 h 4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5"/>
                <a:gd name="T85" fmla="*/ 0 h 46"/>
                <a:gd name="T86" fmla="*/ 65 w 65"/>
                <a:gd name="T87" fmla="*/ 46 h 4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5" h="46">
                  <a:moveTo>
                    <a:pt x="5" y="16"/>
                  </a:moveTo>
                  <a:lnTo>
                    <a:pt x="2" y="11"/>
                  </a:lnTo>
                  <a:lnTo>
                    <a:pt x="0" y="5"/>
                  </a:lnTo>
                  <a:lnTo>
                    <a:pt x="0" y="0"/>
                  </a:lnTo>
                  <a:lnTo>
                    <a:pt x="3" y="0"/>
                  </a:lnTo>
                  <a:lnTo>
                    <a:pt x="8" y="0"/>
                  </a:lnTo>
                  <a:lnTo>
                    <a:pt x="18" y="5"/>
                  </a:lnTo>
                  <a:lnTo>
                    <a:pt x="26" y="7"/>
                  </a:lnTo>
                  <a:lnTo>
                    <a:pt x="30" y="10"/>
                  </a:lnTo>
                  <a:lnTo>
                    <a:pt x="43" y="10"/>
                  </a:lnTo>
                  <a:lnTo>
                    <a:pt x="56" y="18"/>
                  </a:lnTo>
                  <a:lnTo>
                    <a:pt x="59" y="21"/>
                  </a:lnTo>
                  <a:lnTo>
                    <a:pt x="65" y="29"/>
                  </a:lnTo>
                  <a:lnTo>
                    <a:pt x="65" y="30"/>
                  </a:lnTo>
                  <a:lnTo>
                    <a:pt x="64" y="35"/>
                  </a:lnTo>
                  <a:lnTo>
                    <a:pt x="57" y="38"/>
                  </a:lnTo>
                  <a:lnTo>
                    <a:pt x="49" y="40"/>
                  </a:lnTo>
                  <a:lnTo>
                    <a:pt x="43" y="41"/>
                  </a:lnTo>
                  <a:lnTo>
                    <a:pt x="37" y="46"/>
                  </a:lnTo>
                  <a:lnTo>
                    <a:pt x="34" y="45"/>
                  </a:lnTo>
                  <a:lnTo>
                    <a:pt x="30" y="43"/>
                  </a:lnTo>
                  <a:lnTo>
                    <a:pt x="27" y="37"/>
                  </a:lnTo>
                  <a:lnTo>
                    <a:pt x="24" y="30"/>
                  </a:lnTo>
                  <a:lnTo>
                    <a:pt x="19" y="26"/>
                  </a:lnTo>
                  <a:lnTo>
                    <a:pt x="13" y="21"/>
                  </a:lnTo>
                  <a:lnTo>
                    <a:pt x="7" y="16"/>
                  </a:lnTo>
                  <a:lnTo>
                    <a:pt x="5" y="16"/>
                  </a:lnTo>
                  <a:close/>
                </a:path>
              </a:pathLst>
            </a:custGeom>
            <a:grpFill/>
            <a:ln w="0" algn="ctr">
              <a:solidFill>
                <a:srgbClr val="808080"/>
              </a:solidFill>
              <a:round/>
              <a:headEnd/>
              <a:tailEnd/>
            </a:ln>
          </p:spPr>
          <p:txBody>
            <a:bodyPr lIns="101882" tIns="50941" rIns="101882" bIns="50941"/>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itchFamily="34" charset="0"/>
              </a:endParaRPr>
            </a:p>
          </p:txBody>
        </p:sp>
        <p:sp>
          <p:nvSpPr>
            <p:cNvPr id="57" name="Kaho‘olawe"/>
            <p:cNvSpPr>
              <a:spLocks/>
            </p:cNvSpPr>
            <p:nvPr/>
          </p:nvSpPr>
          <p:spPr bwMode="auto">
            <a:xfrm>
              <a:off x="3059907" y="5962650"/>
              <a:ext cx="45719" cy="33814"/>
            </a:xfrm>
            <a:custGeom>
              <a:avLst/>
              <a:gdLst>
                <a:gd name="T0" fmla="*/ 0 w 16"/>
                <a:gd name="T1" fmla="*/ 2147483647 h 16"/>
                <a:gd name="T2" fmla="*/ 2147483647 w 16"/>
                <a:gd name="T3" fmla="*/ 2147483647 h 16"/>
                <a:gd name="T4" fmla="*/ 2147483647 w 16"/>
                <a:gd name="T5" fmla="*/ 0 h 16"/>
                <a:gd name="T6" fmla="*/ 2147483647 w 16"/>
                <a:gd name="T7" fmla="*/ 2147483647 h 16"/>
                <a:gd name="T8" fmla="*/ 2147483647 w 16"/>
                <a:gd name="T9" fmla="*/ 2147483647 h 16"/>
                <a:gd name="T10" fmla="*/ 2147483647 w 16"/>
                <a:gd name="T11" fmla="*/ 2147483647 h 16"/>
                <a:gd name="T12" fmla="*/ 2147483647 w 16"/>
                <a:gd name="T13" fmla="*/ 2147483647 h 16"/>
                <a:gd name="T14" fmla="*/ 2147483647 w 16"/>
                <a:gd name="T15" fmla="*/ 2147483647 h 16"/>
                <a:gd name="T16" fmla="*/ 0 w 16"/>
                <a:gd name="T17" fmla="*/ 2147483647 h 16"/>
                <a:gd name="T18" fmla="*/ 0 w 16"/>
                <a:gd name="T19" fmla="*/ 2147483647 h 1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
                <a:gd name="T31" fmla="*/ 0 h 16"/>
                <a:gd name="T32" fmla="*/ 16 w 16"/>
                <a:gd name="T33" fmla="*/ 16 h 16"/>
                <a:gd name="connsiteX0" fmla="*/ 0 w 10000"/>
                <a:gd name="connsiteY0" fmla="*/ 5000 h 8125"/>
                <a:gd name="connsiteX1" fmla="*/ 1250 w 10000"/>
                <a:gd name="connsiteY1" fmla="*/ 1250 h 8125"/>
                <a:gd name="connsiteX2" fmla="*/ 5000 w 10000"/>
                <a:gd name="connsiteY2" fmla="*/ 0 h 8125"/>
                <a:gd name="connsiteX3" fmla="*/ 8125 w 10000"/>
                <a:gd name="connsiteY3" fmla="*/ 1250 h 8125"/>
                <a:gd name="connsiteX4" fmla="*/ 10000 w 10000"/>
                <a:gd name="connsiteY4" fmla="*/ 5000 h 8125"/>
                <a:gd name="connsiteX5" fmla="*/ 8125 w 10000"/>
                <a:gd name="connsiteY5" fmla="*/ 8125 h 8125"/>
                <a:gd name="connsiteX6" fmla="*/ 3959 w 10000"/>
                <a:gd name="connsiteY6" fmla="*/ 6875 h 8125"/>
                <a:gd name="connsiteX7" fmla="*/ 1250 w 10000"/>
                <a:gd name="connsiteY7" fmla="*/ 8125 h 8125"/>
                <a:gd name="connsiteX8" fmla="*/ 0 w 10000"/>
                <a:gd name="connsiteY8" fmla="*/ 5000 h 8125"/>
                <a:gd name="connsiteX0" fmla="*/ 0 w 10000"/>
                <a:gd name="connsiteY0" fmla="*/ 6154 h 10000"/>
                <a:gd name="connsiteX1" fmla="*/ 1250 w 10000"/>
                <a:gd name="connsiteY1" fmla="*/ 1538 h 10000"/>
                <a:gd name="connsiteX2" fmla="*/ 5000 w 10000"/>
                <a:gd name="connsiteY2" fmla="*/ 0 h 10000"/>
                <a:gd name="connsiteX3" fmla="*/ 8125 w 10000"/>
                <a:gd name="connsiteY3" fmla="*/ 1538 h 10000"/>
                <a:gd name="connsiteX4" fmla="*/ 10000 w 10000"/>
                <a:gd name="connsiteY4" fmla="*/ 6154 h 10000"/>
                <a:gd name="connsiteX5" fmla="*/ 6562 w 10000"/>
                <a:gd name="connsiteY5" fmla="*/ 7436 h 10000"/>
                <a:gd name="connsiteX6" fmla="*/ 3959 w 10000"/>
                <a:gd name="connsiteY6" fmla="*/ 8462 h 10000"/>
                <a:gd name="connsiteX7" fmla="*/ 1250 w 10000"/>
                <a:gd name="connsiteY7" fmla="*/ 10000 h 10000"/>
                <a:gd name="connsiteX8" fmla="*/ 0 w 10000"/>
                <a:gd name="connsiteY8" fmla="*/ 6154 h 10000"/>
                <a:gd name="connsiteX0" fmla="*/ 0 w 10000"/>
                <a:gd name="connsiteY0" fmla="*/ 6154 h 10000"/>
                <a:gd name="connsiteX1" fmla="*/ 5000 w 10000"/>
                <a:gd name="connsiteY1" fmla="*/ 0 h 10000"/>
                <a:gd name="connsiteX2" fmla="*/ 8125 w 10000"/>
                <a:gd name="connsiteY2" fmla="*/ 1538 h 10000"/>
                <a:gd name="connsiteX3" fmla="*/ 10000 w 10000"/>
                <a:gd name="connsiteY3" fmla="*/ 6154 h 10000"/>
                <a:gd name="connsiteX4" fmla="*/ 6562 w 10000"/>
                <a:gd name="connsiteY4" fmla="*/ 7436 h 10000"/>
                <a:gd name="connsiteX5" fmla="*/ 3959 w 10000"/>
                <a:gd name="connsiteY5" fmla="*/ 8462 h 10000"/>
                <a:gd name="connsiteX6" fmla="*/ 1250 w 10000"/>
                <a:gd name="connsiteY6" fmla="*/ 10000 h 10000"/>
                <a:gd name="connsiteX7" fmla="*/ 0 w 10000"/>
                <a:gd name="connsiteY7" fmla="*/ 6154 h 10000"/>
                <a:gd name="connsiteX0" fmla="*/ 0 w 10000"/>
                <a:gd name="connsiteY0" fmla="*/ 4616 h 8462"/>
                <a:gd name="connsiteX1" fmla="*/ 8125 w 10000"/>
                <a:gd name="connsiteY1" fmla="*/ 0 h 8462"/>
                <a:gd name="connsiteX2" fmla="*/ 10000 w 10000"/>
                <a:gd name="connsiteY2" fmla="*/ 4616 h 8462"/>
                <a:gd name="connsiteX3" fmla="*/ 6562 w 10000"/>
                <a:gd name="connsiteY3" fmla="*/ 5898 h 8462"/>
                <a:gd name="connsiteX4" fmla="*/ 3959 w 10000"/>
                <a:gd name="connsiteY4" fmla="*/ 6924 h 8462"/>
                <a:gd name="connsiteX5" fmla="*/ 1250 w 10000"/>
                <a:gd name="connsiteY5" fmla="*/ 8462 h 8462"/>
                <a:gd name="connsiteX6" fmla="*/ 0 w 10000"/>
                <a:gd name="connsiteY6" fmla="*/ 4616 h 8462"/>
                <a:gd name="connsiteX0" fmla="*/ 0 w 10000"/>
                <a:gd name="connsiteY0" fmla="*/ 5455 h 10757"/>
                <a:gd name="connsiteX1" fmla="*/ 8125 w 10000"/>
                <a:gd name="connsiteY1" fmla="*/ 0 h 10757"/>
                <a:gd name="connsiteX2" fmla="*/ 10000 w 10000"/>
                <a:gd name="connsiteY2" fmla="*/ 5455 h 10757"/>
                <a:gd name="connsiteX3" fmla="*/ 9166 w 10000"/>
                <a:gd name="connsiteY3" fmla="*/ 10757 h 10757"/>
                <a:gd name="connsiteX4" fmla="*/ 3959 w 10000"/>
                <a:gd name="connsiteY4" fmla="*/ 8182 h 10757"/>
                <a:gd name="connsiteX5" fmla="*/ 1250 w 10000"/>
                <a:gd name="connsiteY5" fmla="*/ 10000 h 10757"/>
                <a:gd name="connsiteX6" fmla="*/ 0 w 10000"/>
                <a:gd name="connsiteY6" fmla="*/ 5455 h 10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757">
                  <a:moveTo>
                    <a:pt x="0" y="5455"/>
                  </a:moveTo>
                  <a:lnTo>
                    <a:pt x="8125" y="0"/>
                  </a:lnTo>
                  <a:lnTo>
                    <a:pt x="10000" y="5455"/>
                  </a:lnTo>
                  <a:lnTo>
                    <a:pt x="9166" y="10757"/>
                  </a:lnTo>
                  <a:lnTo>
                    <a:pt x="3959" y="8182"/>
                  </a:lnTo>
                  <a:lnTo>
                    <a:pt x="1250" y="10000"/>
                  </a:lnTo>
                  <a:lnTo>
                    <a:pt x="0" y="5455"/>
                  </a:lnTo>
                  <a:close/>
                </a:path>
              </a:pathLst>
            </a:custGeom>
            <a:grpFill/>
            <a:ln w="0" algn="ctr">
              <a:solidFill>
                <a:srgbClr val="808080"/>
              </a:solidFill>
              <a:round/>
              <a:headEnd/>
              <a:tailEnd/>
            </a:ln>
          </p:spPr>
          <p:txBody>
            <a:bodyPr lIns="101882" tIns="50941" rIns="101882" bIns="50941"/>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itchFamily="34" charset="0"/>
              </a:endParaRPr>
            </a:p>
          </p:txBody>
        </p:sp>
        <p:sp>
          <p:nvSpPr>
            <p:cNvPr id="58" name="Lanai"/>
            <p:cNvSpPr>
              <a:spLocks/>
            </p:cNvSpPr>
            <p:nvPr/>
          </p:nvSpPr>
          <p:spPr bwMode="auto">
            <a:xfrm>
              <a:off x="3031665" y="5941450"/>
              <a:ext cx="29860" cy="29225"/>
            </a:xfrm>
            <a:custGeom>
              <a:avLst/>
              <a:gdLst>
                <a:gd name="T0" fmla="*/ 0 w 20"/>
                <a:gd name="T1" fmla="*/ 0 h 19"/>
                <a:gd name="T2" fmla="*/ 2147483647 w 20"/>
                <a:gd name="T3" fmla="*/ 0 h 19"/>
                <a:gd name="T4" fmla="*/ 2147483647 w 20"/>
                <a:gd name="T5" fmla="*/ 2147483647 h 19"/>
                <a:gd name="T6" fmla="*/ 2147483647 w 20"/>
                <a:gd name="T7" fmla="*/ 2147483647 h 19"/>
                <a:gd name="T8" fmla="*/ 2147483647 w 20"/>
                <a:gd name="T9" fmla="*/ 2147483647 h 19"/>
                <a:gd name="T10" fmla="*/ 0 w 20"/>
                <a:gd name="T11" fmla="*/ 0 h 19"/>
                <a:gd name="T12" fmla="*/ 0 w 20"/>
                <a:gd name="T13" fmla="*/ 0 h 19"/>
                <a:gd name="T14" fmla="*/ 0 60000 65536"/>
                <a:gd name="T15" fmla="*/ 0 60000 65536"/>
                <a:gd name="T16" fmla="*/ 0 60000 65536"/>
                <a:gd name="T17" fmla="*/ 0 60000 65536"/>
                <a:gd name="T18" fmla="*/ 0 60000 65536"/>
                <a:gd name="T19" fmla="*/ 0 60000 65536"/>
                <a:gd name="T20" fmla="*/ 0 60000 65536"/>
                <a:gd name="T21" fmla="*/ 0 w 20"/>
                <a:gd name="T22" fmla="*/ 0 h 19"/>
                <a:gd name="T23" fmla="*/ 20 w 20"/>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9">
                  <a:moveTo>
                    <a:pt x="0" y="0"/>
                  </a:moveTo>
                  <a:lnTo>
                    <a:pt x="13" y="0"/>
                  </a:lnTo>
                  <a:lnTo>
                    <a:pt x="20" y="9"/>
                  </a:lnTo>
                  <a:lnTo>
                    <a:pt x="7" y="19"/>
                  </a:lnTo>
                  <a:lnTo>
                    <a:pt x="2" y="14"/>
                  </a:lnTo>
                  <a:lnTo>
                    <a:pt x="0" y="0"/>
                  </a:lnTo>
                  <a:close/>
                </a:path>
              </a:pathLst>
            </a:custGeom>
            <a:grpFill/>
            <a:ln w="0" algn="ctr">
              <a:solidFill>
                <a:srgbClr val="808080"/>
              </a:solidFill>
              <a:round/>
              <a:headEnd/>
              <a:tailEnd/>
            </a:ln>
          </p:spPr>
          <p:txBody>
            <a:bodyPr lIns="101882" tIns="50941" rIns="101882" bIns="50941"/>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itchFamily="34" charset="0"/>
              </a:endParaRPr>
            </a:p>
          </p:txBody>
        </p:sp>
        <p:sp>
          <p:nvSpPr>
            <p:cNvPr id="59" name="Moloka'i"/>
            <p:cNvSpPr>
              <a:spLocks/>
            </p:cNvSpPr>
            <p:nvPr/>
          </p:nvSpPr>
          <p:spPr bwMode="auto">
            <a:xfrm>
              <a:off x="2994341" y="5887612"/>
              <a:ext cx="76141" cy="33840"/>
            </a:xfrm>
            <a:custGeom>
              <a:avLst/>
              <a:gdLst>
                <a:gd name="T0" fmla="*/ 2147483647 w 51"/>
                <a:gd name="T1" fmla="*/ 0 h 22"/>
                <a:gd name="T2" fmla="*/ 0 w 51"/>
                <a:gd name="T3" fmla="*/ 2147483647 h 22"/>
                <a:gd name="T4" fmla="*/ 2147483647 w 51"/>
                <a:gd name="T5" fmla="*/ 2147483647 h 22"/>
                <a:gd name="T6" fmla="*/ 2147483647 w 51"/>
                <a:gd name="T7" fmla="*/ 2147483647 h 22"/>
                <a:gd name="T8" fmla="*/ 2147483647 w 51"/>
                <a:gd name="T9" fmla="*/ 2147483647 h 22"/>
                <a:gd name="T10" fmla="*/ 2147483647 w 51"/>
                <a:gd name="T11" fmla="*/ 2147483647 h 22"/>
                <a:gd name="T12" fmla="*/ 2147483647 w 51"/>
                <a:gd name="T13" fmla="*/ 2147483647 h 22"/>
                <a:gd name="T14" fmla="*/ 2147483647 w 51"/>
                <a:gd name="T15" fmla="*/ 2147483647 h 22"/>
                <a:gd name="T16" fmla="*/ 2147483647 w 51"/>
                <a:gd name="T17" fmla="*/ 2147483647 h 22"/>
                <a:gd name="T18" fmla="*/ 2147483647 w 51"/>
                <a:gd name="T19" fmla="*/ 2147483647 h 22"/>
                <a:gd name="T20" fmla="*/ 2147483647 w 51"/>
                <a:gd name="T21" fmla="*/ 2147483647 h 22"/>
                <a:gd name="T22" fmla="*/ 2147483647 w 51"/>
                <a:gd name="T23" fmla="*/ 0 h 22"/>
                <a:gd name="T24" fmla="*/ 2147483647 w 51"/>
                <a:gd name="T25" fmla="*/ 0 h 22"/>
                <a:gd name="T26" fmla="*/ 2147483647 w 51"/>
                <a:gd name="T27" fmla="*/ 0 h 2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1"/>
                <a:gd name="T43" fmla="*/ 0 h 22"/>
                <a:gd name="T44" fmla="*/ 51 w 51"/>
                <a:gd name="T45" fmla="*/ 22 h 2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1" h="22">
                  <a:moveTo>
                    <a:pt x="3" y="0"/>
                  </a:moveTo>
                  <a:lnTo>
                    <a:pt x="0" y="14"/>
                  </a:lnTo>
                  <a:lnTo>
                    <a:pt x="32" y="22"/>
                  </a:lnTo>
                  <a:lnTo>
                    <a:pt x="37" y="19"/>
                  </a:lnTo>
                  <a:lnTo>
                    <a:pt x="48" y="14"/>
                  </a:lnTo>
                  <a:lnTo>
                    <a:pt x="51" y="9"/>
                  </a:lnTo>
                  <a:lnTo>
                    <a:pt x="49" y="6"/>
                  </a:lnTo>
                  <a:lnTo>
                    <a:pt x="43" y="5"/>
                  </a:lnTo>
                  <a:lnTo>
                    <a:pt x="32" y="5"/>
                  </a:lnTo>
                  <a:lnTo>
                    <a:pt x="25" y="3"/>
                  </a:lnTo>
                  <a:lnTo>
                    <a:pt x="14" y="1"/>
                  </a:lnTo>
                  <a:lnTo>
                    <a:pt x="6" y="0"/>
                  </a:lnTo>
                  <a:lnTo>
                    <a:pt x="3" y="0"/>
                  </a:lnTo>
                  <a:close/>
                </a:path>
              </a:pathLst>
            </a:custGeom>
            <a:grpFill/>
            <a:ln w="0" algn="ctr">
              <a:solidFill>
                <a:srgbClr val="808080"/>
              </a:solidFill>
              <a:round/>
              <a:headEnd/>
              <a:tailEnd/>
            </a:ln>
          </p:spPr>
          <p:txBody>
            <a:bodyPr lIns="101882" tIns="50941" rIns="101882" bIns="50941"/>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itchFamily="34" charset="0"/>
              </a:endParaRPr>
            </a:p>
          </p:txBody>
        </p:sp>
        <p:sp>
          <p:nvSpPr>
            <p:cNvPr id="60" name="O'ahu"/>
            <p:cNvSpPr>
              <a:spLocks/>
            </p:cNvSpPr>
            <p:nvPr/>
          </p:nvSpPr>
          <p:spPr bwMode="auto">
            <a:xfrm>
              <a:off x="2854003" y="5816855"/>
              <a:ext cx="80620" cy="70757"/>
            </a:xfrm>
            <a:custGeom>
              <a:avLst/>
              <a:gdLst>
                <a:gd name="T0" fmla="*/ 0 w 54"/>
                <a:gd name="T1" fmla="*/ 2147483647 h 46"/>
                <a:gd name="T2" fmla="*/ 2147483647 w 54"/>
                <a:gd name="T3" fmla="*/ 2147483647 h 46"/>
                <a:gd name="T4" fmla="*/ 2147483647 w 54"/>
                <a:gd name="T5" fmla="*/ 2147483647 h 46"/>
                <a:gd name="T6" fmla="*/ 2147483647 w 54"/>
                <a:gd name="T7" fmla="*/ 2147483647 h 46"/>
                <a:gd name="T8" fmla="*/ 2147483647 w 54"/>
                <a:gd name="T9" fmla="*/ 0 h 46"/>
                <a:gd name="T10" fmla="*/ 2147483647 w 54"/>
                <a:gd name="T11" fmla="*/ 2147483647 h 46"/>
                <a:gd name="T12" fmla="*/ 2147483647 w 54"/>
                <a:gd name="T13" fmla="*/ 2147483647 h 46"/>
                <a:gd name="T14" fmla="*/ 2147483647 w 54"/>
                <a:gd name="T15" fmla="*/ 2147483647 h 46"/>
                <a:gd name="T16" fmla="*/ 2147483647 w 54"/>
                <a:gd name="T17" fmla="*/ 2147483647 h 46"/>
                <a:gd name="T18" fmla="*/ 2147483647 w 54"/>
                <a:gd name="T19" fmla="*/ 2147483647 h 46"/>
                <a:gd name="T20" fmla="*/ 2147483647 w 54"/>
                <a:gd name="T21" fmla="*/ 2147483647 h 46"/>
                <a:gd name="T22" fmla="*/ 2147483647 w 54"/>
                <a:gd name="T23" fmla="*/ 2147483647 h 46"/>
                <a:gd name="T24" fmla="*/ 2147483647 w 54"/>
                <a:gd name="T25" fmla="*/ 2147483647 h 46"/>
                <a:gd name="T26" fmla="*/ 2147483647 w 54"/>
                <a:gd name="T27" fmla="*/ 2147483647 h 46"/>
                <a:gd name="T28" fmla="*/ 2147483647 w 54"/>
                <a:gd name="T29" fmla="*/ 2147483647 h 46"/>
                <a:gd name="T30" fmla="*/ 2147483647 w 54"/>
                <a:gd name="T31" fmla="*/ 2147483647 h 46"/>
                <a:gd name="T32" fmla="*/ 2147483647 w 54"/>
                <a:gd name="T33" fmla="*/ 2147483647 h 46"/>
                <a:gd name="T34" fmla="*/ 2147483647 w 54"/>
                <a:gd name="T35" fmla="*/ 2147483647 h 46"/>
                <a:gd name="T36" fmla="*/ 2147483647 w 54"/>
                <a:gd name="T37" fmla="*/ 2147483647 h 46"/>
                <a:gd name="T38" fmla="*/ 2147483647 w 54"/>
                <a:gd name="T39" fmla="*/ 2147483647 h 46"/>
                <a:gd name="T40" fmla="*/ 2147483647 w 54"/>
                <a:gd name="T41" fmla="*/ 2147483647 h 46"/>
                <a:gd name="T42" fmla="*/ 0 w 54"/>
                <a:gd name="T43" fmla="*/ 2147483647 h 46"/>
                <a:gd name="T44" fmla="*/ 0 w 54"/>
                <a:gd name="T45" fmla="*/ 2147483647 h 4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54"/>
                <a:gd name="T70" fmla="*/ 0 h 46"/>
                <a:gd name="T71" fmla="*/ 54 w 54"/>
                <a:gd name="T72" fmla="*/ 46 h 4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54" h="46">
                  <a:moveTo>
                    <a:pt x="0" y="9"/>
                  </a:moveTo>
                  <a:lnTo>
                    <a:pt x="15" y="12"/>
                  </a:lnTo>
                  <a:lnTo>
                    <a:pt x="15" y="8"/>
                  </a:lnTo>
                  <a:lnTo>
                    <a:pt x="18" y="1"/>
                  </a:lnTo>
                  <a:lnTo>
                    <a:pt x="18" y="0"/>
                  </a:lnTo>
                  <a:lnTo>
                    <a:pt x="21" y="1"/>
                  </a:lnTo>
                  <a:lnTo>
                    <a:pt x="24" y="3"/>
                  </a:lnTo>
                  <a:lnTo>
                    <a:pt x="29" y="12"/>
                  </a:lnTo>
                  <a:lnTo>
                    <a:pt x="29" y="14"/>
                  </a:lnTo>
                  <a:lnTo>
                    <a:pt x="32" y="19"/>
                  </a:lnTo>
                  <a:lnTo>
                    <a:pt x="38" y="22"/>
                  </a:lnTo>
                  <a:lnTo>
                    <a:pt x="48" y="31"/>
                  </a:lnTo>
                  <a:lnTo>
                    <a:pt x="51" y="35"/>
                  </a:lnTo>
                  <a:lnTo>
                    <a:pt x="54" y="43"/>
                  </a:lnTo>
                  <a:lnTo>
                    <a:pt x="53" y="44"/>
                  </a:lnTo>
                  <a:lnTo>
                    <a:pt x="48" y="46"/>
                  </a:lnTo>
                  <a:lnTo>
                    <a:pt x="40" y="43"/>
                  </a:lnTo>
                  <a:lnTo>
                    <a:pt x="27" y="39"/>
                  </a:lnTo>
                  <a:lnTo>
                    <a:pt x="19" y="41"/>
                  </a:lnTo>
                  <a:lnTo>
                    <a:pt x="15" y="43"/>
                  </a:lnTo>
                  <a:lnTo>
                    <a:pt x="3" y="27"/>
                  </a:lnTo>
                  <a:lnTo>
                    <a:pt x="0" y="9"/>
                  </a:lnTo>
                  <a:close/>
                </a:path>
              </a:pathLst>
            </a:custGeom>
            <a:grpFill/>
            <a:ln w="0" algn="ctr">
              <a:solidFill>
                <a:srgbClr val="808080"/>
              </a:solidFill>
              <a:round/>
              <a:headEnd/>
              <a:tailEnd/>
            </a:ln>
          </p:spPr>
          <p:txBody>
            <a:bodyPr lIns="101882" tIns="50941" rIns="101882" bIns="50941"/>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itchFamily="34" charset="0"/>
              </a:endParaRPr>
            </a:p>
          </p:txBody>
        </p:sp>
        <p:sp>
          <p:nvSpPr>
            <p:cNvPr id="61" name="Kauai"/>
            <p:cNvSpPr>
              <a:spLocks/>
            </p:cNvSpPr>
            <p:nvPr/>
          </p:nvSpPr>
          <p:spPr bwMode="auto">
            <a:xfrm>
              <a:off x="2631553" y="5735330"/>
              <a:ext cx="68676" cy="53837"/>
            </a:xfrm>
            <a:custGeom>
              <a:avLst/>
              <a:gdLst>
                <a:gd name="T0" fmla="*/ 0 w 46"/>
                <a:gd name="T1" fmla="*/ 2147483647 h 35"/>
                <a:gd name="T2" fmla="*/ 2147483647 w 46"/>
                <a:gd name="T3" fmla="*/ 2147483647 h 35"/>
                <a:gd name="T4" fmla="*/ 2147483647 w 46"/>
                <a:gd name="T5" fmla="*/ 2147483647 h 35"/>
                <a:gd name="T6" fmla="*/ 2147483647 w 46"/>
                <a:gd name="T7" fmla="*/ 2147483647 h 35"/>
                <a:gd name="T8" fmla="*/ 2147483647 w 46"/>
                <a:gd name="T9" fmla="*/ 2147483647 h 35"/>
                <a:gd name="T10" fmla="*/ 2147483647 w 46"/>
                <a:gd name="T11" fmla="*/ 0 h 35"/>
                <a:gd name="T12" fmla="*/ 2147483647 w 46"/>
                <a:gd name="T13" fmla="*/ 0 h 35"/>
                <a:gd name="T14" fmla="*/ 2147483647 w 46"/>
                <a:gd name="T15" fmla="*/ 2147483647 h 35"/>
                <a:gd name="T16" fmla="*/ 2147483647 w 46"/>
                <a:gd name="T17" fmla="*/ 2147483647 h 35"/>
                <a:gd name="T18" fmla="*/ 2147483647 w 46"/>
                <a:gd name="T19" fmla="*/ 2147483647 h 35"/>
                <a:gd name="T20" fmla="*/ 2147483647 w 46"/>
                <a:gd name="T21" fmla="*/ 2147483647 h 35"/>
                <a:gd name="T22" fmla="*/ 2147483647 w 46"/>
                <a:gd name="T23" fmla="*/ 2147483647 h 35"/>
                <a:gd name="T24" fmla="*/ 2147483647 w 46"/>
                <a:gd name="T25" fmla="*/ 2147483647 h 35"/>
                <a:gd name="T26" fmla="*/ 2147483647 w 46"/>
                <a:gd name="T27" fmla="*/ 2147483647 h 35"/>
                <a:gd name="T28" fmla="*/ 2147483647 w 46"/>
                <a:gd name="T29" fmla="*/ 2147483647 h 35"/>
                <a:gd name="T30" fmla="*/ 2147483647 w 46"/>
                <a:gd name="T31" fmla="*/ 2147483647 h 35"/>
                <a:gd name="T32" fmla="*/ 2147483647 w 46"/>
                <a:gd name="T33" fmla="*/ 2147483647 h 35"/>
                <a:gd name="T34" fmla="*/ 2147483647 w 46"/>
                <a:gd name="T35" fmla="*/ 2147483647 h 35"/>
                <a:gd name="T36" fmla="*/ 0 w 46"/>
                <a:gd name="T37" fmla="*/ 2147483647 h 35"/>
                <a:gd name="T38" fmla="*/ 0 w 46"/>
                <a:gd name="T39" fmla="*/ 2147483647 h 35"/>
                <a:gd name="T40" fmla="*/ 0 w 46"/>
                <a:gd name="T41" fmla="*/ 2147483647 h 3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6"/>
                <a:gd name="T64" fmla="*/ 0 h 35"/>
                <a:gd name="T65" fmla="*/ 46 w 46"/>
                <a:gd name="T66" fmla="*/ 35 h 3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6" h="35">
                  <a:moveTo>
                    <a:pt x="0" y="18"/>
                  </a:moveTo>
                  <a:lnTo>
                    <a:pt x="2" y="15"/>
                  </a:lnTo>
                  <a:lnTo>
                    <a:pt x="9" y="10"/>
                  </a:lnTo>
                  <a:lnTo>
                    <a:pt x="13" y="5"/>
                  </a:lnTo>
                  <a:lnTo>
                    <a:pt x="21" y="2"/>
                  </a:lnTo>
                  <a:lnTo>
                    <a:pt x="29" y="0"/>
                  </a:lnTo>
                  <a:lnTo>
                    <a:pt x="40" y="0"/>
                  </a:lnTo>
                  <a:lnTo>
                    <a:pt x="41" y="2"/>
                  </a:lnTo>
                  <a:lnTo>
                    <a:pt x="43" y="7"/>
                  </a:lnTo>
                  <a:lnTo>
                    <a:pt x="44" y="11"/>
                  </a:lnTo>
                  <a:lnTo>
                    <a:pt x="46" y="13"/>
                  </a:lnTo>
                  <a:lnTo>
                    <a:pt x="36" y="35"/>
                  </a:lnTo>
                  <a:lnTo>
                    <a:pt x="33" y="34"/>
                  </a:lnTo>
                  <a:lnTo>
                    <a:pt x="30" y="34"/>
                  </a:lnTo>
                  <a:lnTo>
                    <a:pt x="24" y="34"/>
                  </a:lnTo>
                  <a:lnTo>
                    <a:pt x="19" y="32"/>
                  </a:lnTo>
                  <a:lnTo>
                    <a:pt x="13" y="29"/>
                  </a:lnTo>
                  <a:lnTo>
                    <a:pt x="6" y="26"/>
                  </a:lnTo>
                  <a:lnTo>
                    <a:pt x="0" y="21"/>
                  </a:lnTo>
                  <a:lnTo>
                    <a:pt x="0" y="18"/>
                  </a:lnTo>
                  <a:close/>
                </a:path>
              </a:pathLst>
            </a:custGeom>
            <a:grpFill/>
            <a:ln w="0" algn="ctr">
              <a:solidFill>
                <a:srgbClr val="808080"/>
              </a:solidFill>
              <a:round/>
              <a:headEnd/>
              <a:tailEnd/>
            </a:ln>
          </p:spPr>
          <p:txBody>
            <a:bodyPr lIns="101882" tIns="50941" rIns="101882" bIns="50941"/>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endParaRPr>
            </a:p>
          </p:txBody>
        </p:sp>
        <p:sp>
          <p:nvSpPr>
            <p:cNvPr id="62" name="Ni'ihau"/>
            <p:cNvSpPr>
              <a:spLocks/>
            </p:cNvSpPr>
            <p:nvPr/>
          </p:nvSpPr>
          <p:spPr bwMode="auto">
            <a:xfrm>
              <a:off x="2567354" y="5775323"/>
              <a:ext cx="31352" cy="24611"/>
            </a:xfrm>
            <a:custGeom>
              <a:avLst/>
              <a:gdLst>
                <a:gd name="T0" fmla="*/ 0 w 21"/>
                <a:gd name="T1" fmla="*/ 2147483647 h 16"/>
                <a:gd name="T2" fmla="*/ 2147483647 w 21"/>
                <a:gd name="T3" fmla="*/ 2147483647 h 16"/>
                <a:gd name="T4" fmla="*/ 2147483647 w 21"/>
                <a:gd name="T5" fmla="*/ 0 h 16"/>
                <a:gd name="T6" fmla="*/ 2147483647 w 21"/>
                <a:gd name="T7" fmla="*/ 2147483647 h 16"/>
                <a:gd name="T8" fmla="*/ 2147483647 w 21"/>
                <a:gd name="T9" fmla="*/ 2147483647 h 16"/>
                <a:gd name="T10" fmla="*/ 2147483647 w 21"/>
                <a:gd name="T11" fmla="*/ 2147483647 h 16"/>
                <a:gd name="T12" fmla="*/ 2147483647 w 21"/>
                <a:gd name="T13" fmla="*/ 2147483647 h 16"/>
                <a:gd name="T14" fmla="*/ 2147483647 w 21"/>
                <a:gd name="T15" fmla="*/ 2147483647 h 16"/>
                <a:gd name="T16" fmla="*/ 0 w 21"/>
                <a:gd name="T17" fmla="*/ 2147483647 h 16"/>
                <a:gd name="T18" fmla="*/ 0 w 21"/>
                <a:gd name="T19" fmla="*/ 2147483647 h 1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1"/>
                <a:gd name="T31" fmla="*/ 0 h 16"/>
                <a:gd name="T32" fmla="*/ 21 w 21"/>
                <a:gd name="T33" fmla="*/ 16 h 1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 h="16">
                  <a:moveTo>
                    <a:pt x="0" y="8"/>
                  </a:moveTo>
                  <a:lnTo>
                    <a:pt x="3" y="1"/>
                  </a:lnTo>
                  <a:lnTo>
                    <a:pt x="11" y="0"/>
                  </a:lnTo>
                  <a:lnTo>
                    <a:pt x="18" y="1"/>
                  </a:lnTo>
                  <a:lnTo>
                    <a:pt x="21" y="8"/>
                  </a:lnTo>
                  <a:lnTo>
                    <a:pt x="18" y="12"/>
                  </a:lnTo>
                  <a:lnTo>
                    <a:pt x="11" y="16"/>
                  </a:lnTo>
                  <a:lnTo>
                    <a:pt x="3" y="12"/>
                  </a:lnTo>
                  <a:lnTo>
                    <a:pt x="0" y="8"/>
                  </a:lnTo>
                  <a:close/>
                </a:path>
              </a:pathLst>
            </a:custGeom>
            <a:grpFill/>
            <a:ln w="0" algn="ctr">
              <a:solidFill>
                <a:srgbClr val="808080"/>
              </a:solidFill>
              <a:round/>
              <a:headEnd/>
              <a:tailEnd/>
            </a:ln>
          </p:spPr>
          <p:txBody>
            <a:bodyPr lIns="101882" tIns="50941" rIns="101882" bIns="50941"/>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endParaRPr>
            </a:p>
          </p:txBody>
        </p:sp>
      </p:grpSp>
      <p:sp>
        <p:nvSpPr>
          <p:cNvPr id="63" name="State: Georgia"/>
          <p:cNvSpPr>
            <a:spLocks/>
          </p:cNvSpPr>
          <p:nvPr/>
        </p:nvSpPr>
        <p:spPr bwMode="auto">
          <a:xfrm>
            <a:off x="5471238" y="4547839"/>
            <a:ext cx="695719" cy="767562"/>
          </a:xfrm>
          <a:custGeom>
            <a:avLst/>
            <a:gdLst>
              <a:gd name="T0" fmla="*/ 2147483647 w 466"/>
              <a:gd name="T1" fmla="*/ 2147483647 h 499"/>
              <a:gd name="T2" fmla="*/ 2147483647 w 466"/>
              <a:gd name="T3" fmla="*/ 2147483647 h 499"/>
              <a:gd name="T4" fmla="*/ 2147483647 w 466"/>
              <a:gd name="T5" fmla="*/ 2147483647 h 499"/>
              <a:gd name="T6" fmla="*/ 2147483647 w 466"/>
              <a:gd name="T7" fmla="*/ 2147483647 h 499"/>
              <a:gd name="T8" fmla="*/ 2147483647 w 466"/>
              <a:gd name="T9" fmla="*/ 2147483647 h 499"/>
              <a:gd name="T10" fmla="*/ 2147483647 w 466"/>
              <a:gd name="T11" fmla="*/ 2147483647 h 499"/>
              <a:gd name="T12" fmla="*/ 2147483647 w 466"/>
              <a:gd name="T13" fmla="*/ 2147483647 h 499"/>
              <a:gd name="T14" fmla="*/ 2147483647 w 466"/>
              <a:gd name="T15" fmla="*/ 2147483647 h 499"/>
              <a:gd name="T16" fmla="*/ 2147483647 w 466"/>
              <a:gd name="T17" fmla="*/ 2147483647 h 499"/>
              <a:gd name="T18" fmla="*/ 2147483647 w 466"/>
              <a:gd name="T19" fmla="*/ 2147483647 h 499"/>
              <a:gd name="T20" fmla="*/ 2147483647 w 466"/>
              <a:gd name="T21" fmla="*/ 2147483647 h 499"/>
              <a:gd name="T22" fmla="*/ 2147483647 w 466"/>
              <a:gd name="T23" fmla="*/ 2147483647 h 499"/>
              <a:gd name="T24" fmla="*/ 2147483647 w 466"/>
              <a:gd name="T25" fmla="*/ 2147483647 h 499"/>
              <a:gd name="T26" fmla="*/ 2147483647 w 466"/>
              <a:gd name="T27" fmla="*/ 2147483647 h 499"/>
              <a:gd name="T28" fmla="*/ 2147483647 w 466"/>
              <a:gd name="T29" fmla="*/ 2147483647 h 499"/>
              <a:gd name="T30" fmla="*/ 2147483647 w 466"/>
              <a:gd name="T31" fmla="*/ 2147483647 h 499"/>
              <a:gd name="T32" fmla="*/ 2147483647 w 466"/>
              <a:gd name="T33" fmla="*/ 2147483647 h 499"/>
              <a:gd name="T34" fmla="*/ 2147483647 w 466"/>
              <a:gd name="T35" fmla="*/ 2147483647 h 499"/>
              <a:gd name="T36" fmla="*/ 2147483647 w 466"/>
              <a:gd name="T37" fmla="*/ 2147483647 h 499"/>
              <a:gd name="T38" fmla="*/ 2147483647 w 466"/>
              <a:gd name="T39" fmla="*/ 2147483647 h 499"/>
              <a:gd name="T40" fmla="*/ 2147483647 w 466"/>
              <a:gd name="T41" fmla="*/ 2147483647 h 499"/>
              <a:gd name="T42" fmla="*/ 2147483647 w 466"/>
              <a:gd name="T43" fmla="*/ 2147483647 h 499"/>
              <a:gd name="T44" fmla="*/ 2147483647 w 466"/>
              <a:gd name="T45" fmla="*/ 2147483647 h 499"/>
              <a:gd name="T46" fmla="*/ 2147483647 w 466"/>
              <a:gd name="T47" fmla="*/ 2147483647 h 499"/>
              <a:gd name="T48" fmla="*/ 2147483647 w 466"/>
              <a:gd name="T49" fmla="*/ 2147483647 h 499"/>
              <a:gd name="T50" fmla="*/ 2147483647 w 466"/>
              <a:gd name="T51" fmla="*/ 2147483647 h 499"/>
              <a:gd name="T52" fmla="*/ 2147483647 w 466"/>
              <a:gd name="T53" fmla="*/ 2147483647 h 499"/>
              <a:gd name="T54" fmla="*/ 2147483647 w 466"/>
              <a:gd name="T55" fmla="*/ 2147483647 h 499"/>
              <a:gd name="T56" fmla="*/ 2147483647 w 466"/>
              <a:gd name="T57" fmla="*/ 2147483647 h 499"/>
              <a:gd name="T58" fmla="*/ 2147483647 w 466"/>
              <a:gd name="T59" fmla="*/ 2147483647 h 499"/>
              <a:gd name="T60" fmla="*/ 2147483647 w 466"/>
              <a:gd name="T61" fmla="*/ 2147483647 h 499"/>
              <a:gd name="T62" fmla="*/ 2147483647 w 466"/>
              <a:gd name="T63" fmla="*/ 2147483647 h 499"/>
              <a:gd name="T64" fmla="*/ 2147483647 w 466"/>
              <a:gd name="T65" fmla="*/ 2147483647 h 499"/>
              <a:gd name="T66" fmla="*/ 2147483647 w 466"/>
              <a:gd name="T67" fmla="*/ 2147483647 h 499"/>
              <a:gd name="T68" fmla="*/ 2147483647 w 466"/>
              <a:gd name="T69" fmla="*/ 2147483647 h 499"/>
              <a:gd name="T70" fmla="*/ 2147483647 w 466"/>
              <a:gd name="T71" fmla="*/ 2147483647 h 499"/>
              <a:gd name="T72" fmla="*/ 2147483647 w 466"/>
              <a:gd name="T73" fmla="*/ 2147483647 h 499"/>
              <a:gd name="T74" fmla="*/ 2147483647 w 466"/>
              <a:gd name="T75" fmla="*/ 2147483647 h 499"/>
              <a:gd name="T76" fmla="*/ 2147483647 w 466"/>
              <a:gd name="T77" fmla="*/ 2147483647 h 499"/>
              <a:gd name="T78" fmla="*/ 2147483647 w 466"/>
              <a:gd name="T79" fmla="*/ 2147483647 h 499"/>
              <a:gd name="T80" fmla="*/ 2147483647 w 466"/>
              <a:gd name="T81" fmla="*/ 2147483647 h 499"/>
              <a:gd name="T82" fmla="*/ 2147483647 w 466"/>
              <a:gd name="T83" fmla="*/ 2147483647 h 499"/>
              <a:gd name="T84" fmla="*/ 2147483647 w 466"/>
              <a:gd name="T85" fmla="*/ 2147483647 h 499"/>
              <a:gd name="T86" fmla="*/ 2147483647 w 466"/>
              <a:gd name="T87" fmla="*/ 2147483647 h 499"/>
              <a:gd name="T88" fmla="*/ 2147483647 w 466"/>
              <a:gd name="T89" fmla="*/ 2147483647 h 499"/>
              <a:gd name="T90" fmla="*/ 0 w 466"/>
              <a:gd name="T91" fmla="*/ 2147483647 h 49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66"/>
              <a:gd name="T139" fmla="*/ 0 h 499"/>
              <a:gd name="T140" fmla="*/ 466 w 466"/>
              <a:gd name="T141" fmla="*/ 499 h 49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66" h="499">
                <a:moveTo>
                  <a:pt x="0" y="24"/>
                </a:moveTo>
                <a:lnTo>
                  <a:pt x="96" y="14"/>
                </a:lnTo>
                <a:lnTo>
                  <a:pt x="178" y="5"/>
                </a:lnTo>
                <a:lnTo>
                  <a:pt x="224" y="0"/>
                </a:lnTo>
                <a:lnTo>
                  <a:pt x="226" y="3"/>
                </a:lnTo>
                <a:lnTo>
                  <a:pt x="226" y="6"/>
                </a:lnTo>
                <a:lnTo>
                  <a:pt x="223" y="9"/>
                </a:lnTo>
                <a:lnTo>
                  <a:pt x="218" y="13"/>
                </a:lnTo>
                <a:lnTo>
                  <a:pt x="215" y="17"/>
                </a:lnTo>
                <a:lnTo>
                  <a:pt x="212" y="24"/>
                </a:lnTo>
                <a:lnTo>
                  <a:pt x="210" y="29"/>
                </a:lnTo>
                <a:lnTo>
                  <a:pt x="210" y="36"/>
                </a:lnTo>
                <a:lnTo>
                  <a:pt x="215" y="44"/>
                </a:lnTo>
                <a:lnTo>
                  <a:pt x="221" y="46"/>
                </a:lnTo>
                <a:lnTo>
                  <a:pt x="227" y="48"/>
                </a:lnTo>
                <a:lnTo>
                  <a:pt x="234" y="49"/>
                </a:lnTo>
                <a:lnTo>
                  <a:pt x="242" y="49"/>
                </a:lnTo>
                <a:lnTo>
                  <a:pt x="248" y="52"/>
                </a:lnTo>
                <a:lnTo>
                  <a:pt x="254" y="57"/>
                </a:lnTo>
                <a:lnTo>
                  <a:pt x="261" y="65"/>
                </a:lnTo>
                <a:lnTo>
                  <a:pt x="262" y="75"/>
                </a:lnTo>
                <a:lnTo>
                  <a:pt x="269" y="83"/>
                </a:lnTo>
                <a:lnTo>
                  <a:pt x="273" y="90"/>
                </a:lnTo>
                <a:lnTo>
                  <a:pt x="281" y="97"/>
                </a:lnTo>
                <a:lnTo>
                  <a:pt x="288" y="105"/>
                </a:lnTo>
                <a:lnTo>
                  <a:pt x="293" y="111"/>
                </a:lnTo>
                <a:lnTo>
                  <a:pt x="300" y="113"/>
                </a:lnTo>
                <a:lnTo>
                  <a:pt x="313" y="121"/>
                </a:lnTo>
                <a:lnTo>
                  <a:pt x="320" y="130"/>
                </a:lnTo>
                <a:lnTo>
                  <a:pt x="326" y="135"/>
                </a:lnTo>
                <a:lnTo>
                  <a:pt x="332" y="140"/>
                </a:lnTo>
                <a:lnTo>
                  <a:pt x="337" y="144"/>
                </a:lnTo>
                <a:lnTo>
                  <a:pt x="348" y="151"/>
                </a:lnTo>
                <a:lnTo>
                  <a:pt x="351" y="157"/>
                </a:lnTo>
                <a:lnTo>
                  <a:pt x="353" y="164"/>
                </a:lnTo>
                <a:lnTo>
                  <a:pt x="358" y="170"/>
                </a:lnTo>
                <a:lnTo>
                  <a:pt x="362" y="171"/>
                </a:lnTo>
                <a:lnTo>
                  <a:pt x="366" y="178"/>
                </a:lnTo>
                <a:lnTo>
                  <a:pt x="374" y="184"/>
                </a:lnTo>
                <a:lnTo>
                  <a:pt x="380" y="189"/>
                </a:lnTo>
                <a:lnTo>
                  <a:pt x="385" y="192"/>
                </a:lnTo>
                <a:lnTo>
                  <a:pt x="393" y="197"/>
                </a:lnTo>
                <a:lnTo>
                  <a:pt x="399" y="200"/>
                </a:lnTo>
                <a:lnTo>
                  <a:pt x="401" y="208"/>
                </a:lnTo>
                <a:lnTo>
                  <a:pt x="402" y="211"/>
                </a:lnTo>
                <a:lnTo>
                  <a:pt x="404" y="216"/>
                </a:lnTo>
                <a:lnTo>
                  <a:pt x="409" y="218"/>
                </a:lnTo>
                <a:lnTo>
                  <a:pt x="410" y="227"/>
                </a:lnTo>
                <a:lnTo>
                  <a:pt x="410" y="230"/>
                </a:lnTo>
                <a:lnTo>
                  <a:pt x="413" y="235"/>
                </a:lnTo>
                <a:lnTo>
                  <a:pt x="416" y="240"/>
                </a:lnTo>
                <a:lnTo>
                  <a:pt x="421" y="243"/>
                </a:lnTo>
                <a:lnTo>
                  <a:pt x="426" y="245"/>
                </a:lnTo>
                <a:lnTo>
                  <a:pt x="431" y="251"/>
                </a:lnTo>
                <a:lnTo>
                  <a:pt x="436" y="256"/>
                </a:lnTo>
                <a:lnTo>
                  <a:pt x="437" y="262"/>
                </a:lnTo>
                <a:lnTo>
                  <a:pt x="440" y="267"/>
                </a:lnTo>
                <a:lnTo>
                  <a:pt x="440" y="273"/>
                </a:lnTo>
                <a:lnTo>
                  <a:pt x="443" y="276"/>
                </a:lnTo>
                <a:lnTo>
                  <a:pt x="442" y="286"/>
                </a:lnTo>
                <a:lnTo>
                  <a:pt x="445" y="292"/>
                </a:lnTo>
                <a:lnTo>
                  <a:pt x="453" y="295"/>
                </a:lnTo>
                <a:lnTo>
                  <a:pt x="458" y="297"/>
                </a:lnTo>
                <a:lnTo>
                  <a:pt x="466" y="297"/>
                </a:lnTo>
                <a:lnTo>
                  <a:pt x="458" y="316"/>
                </a:lnTo>
                <a:lnTo>
                  <a:pt x="458" y="330"/>
                </a:lnTo>
                <a:lnTo>
                  <a:pt x="451" y="343"/>
                </a:lnTo>
                <a:lnTo>
                  <a:pt x="447" y="362"/>
                </a:lnTo>
                <a:lnTo>
                  <a:pt x="440" y="376"/>
                </a:lnTo>
                <a:lnTo>
                  <a:pt x="437" y="391"/>
                </a:lnTo>
                <a:lnTo>
                  <a:pt x="432" y="413"/>
                </a:lnTo>
                <a:lnTo>
                  <a:pt x="429" y="427"/>
                </a:lnTo>
                <a:lnTo>
                  <a:pt x="429" y="438"/>
                </a:lnTo>
                <a:lnTo>
                  <a:pt x="429" y="450"/>
                </a:lnTo>
                <a:lnTo>
                  <a:pt x="409" y="450"/>
                </a:lnTo>
                <a:lnTo>
                  <a:pt x="397" y="448"/>
                </a:lnTo>
                <a:lnTo>
                  <a:pt x="393" y="445"/>
                </a:lnTo>
                <a:lnTo>
                  <a:pt x="389" y="446"/>
                </a:lnTo>
                <a:lnTo>
                  <a:pt x="385" y="446"/>
                </a:lnTo>
                <a:lnTo>
                  <a:pt x="380" y="451"/>
                </a:lnTo>
                <a:lnTo>
                  <a:pt x="382" y="459"/>
                </a:lnTo>
                <a:lnTo>
                  <a:pt x="383" y="464"/>
                </a:lnTo>
                <a:lnTo>
                  <a:pt x="388" y="470"/>
                </a:lnTo>
                <a:lnTo>
                  <a:pt x="389" y="477"/>
                </a:lnTo>
                <a:lnTo>
                  <a:pt x="388" y="486"/>
                </a:lnTo>
                <a:lnTo>
                  <a:pt x="388" y="492"/>
                </a:lnTo>
                <a:lnTo>
                  <a:pt x="385" y="499"/>
                </a:lnTo>
                <a:lnTo>
                  <a:pt x="378" y="499"/>
                </a:lnTo>
                <a:lnTo>
                  <a:pt x="372" y="499"/>
                </a:lnTo>
                <a:lnTo>
                  <a:pt x="367" y="492"/>
                </a:lnTo>
                <a:lnTo>
                  <a:pt x="366" y="486"/>
                </a:lnTo>
                <a:lnTo>
                  <a:pt x="366" y="480"/>
                </a:lnTo>
                <a:lnTo>
                  <a:pt x="361" y="478"/>
                </a:lnTo>
                <a:lnTo>
                  <a:pt x="316" y="480"/>
                </a:lnTo>
                <a:lnTo>
                  <a:pt x="285" y="483"/>
                </a:lnTo>
                <a:lnTo>
                  <a:pt x="243" y="484"/>
                </a:lnTo>
                <a:lnTo>
                  <a:pt x="197" y="486"/>
                </a:lnTo>
                <a:lnTo>
                  <a:pt x="143" y="489"/>
                </a:lnTo>
                <a:lnTo>
                  <a:pt x="121" y="489"/>
                </a:lnTo>
                <a:lnTo>
                  <a:pt x="116" y="486"/>
                </a:lnTo>
                <a:lnTo>
                  <a:pt x="107" y="477"/>
                </a:lnTo>
                <a:lnTo>
                  <a:pt x="99" y="465"/>
                </a:lnTo>
                <a:lnTo>
                  <a:pt x="92" y="448"/>
                </a:lnTo>
                <a:lnTo>
                  <a:pt x="89" y="437"/>
                </a:lnTo>
                <a:lnTo>
                  <a:pt x="89" y="427"/>
                </a:lnTo>
                <a:lnTo>
                  <a:pt x="91" y="410"/>
                </a:lnTo>
                <a:lnTo>
                  <a:pt x="91" y="388"/>
                </a:lnTo>
                <a:lnTo>
                  <a:pt x="91" y="378"/>
                </a:lnTo>
                <a:lnTo>
                  <a:pt x="86" y="368"/>
                </a:lnTo>
                <a:lnTo>
                  <a:pt x="81" y="359"/>
                </a:lnTo>
                <a:lnTo>
                  <a:pt x="81" y="346"/>
                </a:lnTo>
                <a:lnTo>
                  <a:pt x="86" y="338"/>
                </a:lnTo>
                <a:lnTo>
                  <a:pt x="88" y="334"/>
                </a:lnTo>
                <a:lnTo>
                  <a:pt x="91" y="327"/>
                </a:lnTo>
                <a:lnTo>
                  <a:pt x="97" y="321"/>
                </a:lnTo>
                <a:lnTo>
                  <a:pt x="97" y="316"/>
                </a:lnTo>
                <a:lnTo>
                  <a:pt x="88" y="311"/>
                </a:lnTo>
                <a:lnTo>
                  <a:pt x="89" y="302"/>
                </a:lnTo>
                <a:lnTo>
                  <a:pt x="88" y="297"/>
                </a:lnTo>
                <a:lnTo>
                  <a:pt x="80" y="287"/>
                </a:lnTo>
                <a:lnTo>
                  <a:pt x="73" y="273"/>
                </a:lnTo>
                <a:lnTo>
                  <a:pt x="67" y="260"/>
                </a:lnTo>
                <a:lnTo>
                  <a:pt x="64" y="240"/>
                </a:lnTo>
                <a:lnTo>
                  <a:pt x="59" y="229"/>
                </a:lnTo>
                <a:lnTo>
                  <a:pt x="54" y="218"/>
                </a:lnTo>
                <a:lnTo>
                  <a:pt x="49" y="198"/>
                </a:lnTo>
                <a:lnTo>
                  <a:pt x="48" y="186"/>
                </a:lnTo>
                <a:lnTo>
                  <a:pt x="45" y="171"/>
                </a:lnTo>
                <a:lnTo>
                  <a:pt x="37" y="151"/>
                </a:lnTo>
                <a:lnTo>
                  <a:pt x="30" y="130"/>
                </a:lnTo>
                <a:lnTo>
                  <a:pt x="27" y="110"/>
                </a:lnTo>
                <a:lnTo>
                  <a:pt x="22" y="90"/>
                </a:lnTo>
                <a:lnTo>
                  <a:pt x="16" y="78"/>
                </a:lnTo>
                <a:lnTo>
                  <a:pt x="11" y="67"/>
                </a:lnTo>
                <a:lnTo>
                  <a:pt x="8" y="56"/>
                </a:lnTo>
                <a:lnTo>
                  <a:pt x="8" y="46"/>
                </a:lnTo>
                <a:lnTo>
                  <a:pt x="0" y="21"/>
                </a:lnTo>
                <a:lnTo>
                  <a:pt x="0" y="24"/>
                </a:lnTo>
                <a:close/>
              </a:path>
            </a:pathLst>
          </a:custGeom>
          <a:solidFill>
            <a:schemeClr val="bg1">
              <a:lumMod val="95000"/>
            </a:schemeClr>
          </a:solidFill>
          <a:ln w="0" algn="ctr">
            <a:solidFill>
              <a:schemeClr val="bg1">
                <a:lumMod val="50000"/>
              </a:schemeClr>
            </a:solidFill>
            <a:round/>
            <a:headEnd/>
            <a:tailEnd/>
          </a:ln>
        </p:spPr>
        <p:txBody>
          <a:bodyPr lIns="101798" tIns="50899" rIns="101798" bIns="50899"/>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endParaRPr>
          </a:p>
        </p:txBody>
      </p:sp>
      <p:sp>
        <p:nvSpPr>
          <p:cNvPr id="64" name="State: Florida"/>
          <p:cNvSpPr>
            <a:spLocks/>
          </p:cNvSpPr>
          <p:nvPr/>
        </p:nvSpPr>
        <p:spPr bwMode="auto">
          <a:xfrm>
            <a:off x="5257741" y="5233875"/>
            <a:ext cx="1151072" cy="973682"/>
          </a:xfrm>
          <a:custGeom>
            <a:avLst/>
            <a:gdLst>
              <a:gd name="T0" fmla="*/ 2147483647 w 771"/>
              <a:gd name="T1" fmla="*/ 2147483647 h 633"/>
              <a:gd name="T2" fmla="*/ 2147483647 w 771"/>
              <a:gd name="T3" fmla="*/ 2147483647 h 633"/>
              <a:gd name="T4" fmla="*/ 2147483647 w 771"/>
              <a:gd name="T5" fmla="*/ 2147483647 h 633"/>
              <a:gd name="T6" fmla="*/ 2147483647 w 771"/>
              <a:gd name="T7" fmla="*/ 2147483647 h 633"/>
              <a:gd name="T8" fmla="*/ 2147483647 w 771"/>
              <a:gd name="T9" fmla="*/ 2147483647 h 633"/>
              <a:gd name="T10" fmla="*/ 2147483647 w 771"/>
              <a:gd name="T11" fmla="*/ 0 h 633"/>
              <a:gd name="T12" fmla="*/ 2147483647 w 771"/>
              <a:gd name="T13" fmla="*/ 2147483647 h 633"/>
              <a:gd name="T14" fmla="*/ 2147483647 w 771"/>
              <a:gd name="T15" fmla="*/ 2147483647 h 633"/>
              <a:gd name="T16" fmla="*/ 2147483647 w 771"/>
              <a:gd name="T17" fmla="*/ 2147483647 h 633"/>
              <a:gd name="T18" fmla="*/ 2147483647 w 771"/>
              <a:gd name="T19" fmla="*/ 2147483647 h 633"/>
              <a:gd name="T20" fmla="*/ 2147483647 w 771"/>
              <a:gd name="T21" fmla="*/ 2147483647 h 633"/>
              <a:gd name="T22" fmla="*/ 2147483647 w 771"/>
              <a:gd name="T23" fmla="*/ 2147483647 h 633"/>
              <a:gd name="T24" fmla="*/ 2147483647 w 771"/>
              <a:gd name="T25" fmla="*/ 2147483647 h 633"/>
              <a:gd name="T26" fmla="*/ 2147483647 w 771"/>
              <a:gd name="T27" fmla="*/ 2147483647 h 633"/>
              <a:gd name="T28" fmla="*/ 2147483647 w 771"/>
              <a:gd name="T29" fmla="*/ 2147483647 h 633"/>
              <a:gd name="T30" fmla="*/ 2147483647 w 771"/>
              <a:gd name="T31" fmla="*/ 2147483647 h 633"/>
              <a:gd name="T32" fmla="*/ 2147483647 w 771"/>
              <a:gd name="T33" fmla="*/ 2147483647 h 633"/>
              <a:gd name="T34" fmla="*/ 2147483647 w 771"/>
              <a:gd name="T35" fmla="*/ 2147483647 h 633"/>
              <a:gd name="T36" fmla="*/ 2147483647 w 771"/>
              <a:gd name="T37" fmla="*/ 2147483647 h 633"/>
              <a:gd name="T38" fmla="*/ 2147483647 w 771"/>
              <a:gd name="T39" fmla="*/ 2147483647 h 633"/>
              <a:gd name="T40" fmla="*/ 2147483647 w 771"/>
              <a:gd name="T41" fmla="*/ 2147483647 h 633"/>
              <a:gd name="T42" fmla="*/ 2147483647 w 771"/>
              <a:gd name="T43" fmla="*/ 2147483647 h 633"/>
              <a:gd name="T44" fmla="*/ 2147483647 w 771"/>
              <a:gd name="T45" fmla="*/ 2147483647 h 633"/>
              <a:gd name="T46" fmla="*/ 2147483647 w 771"/>
              <a:gd name="T47" fmla="*/ 2147483647 h 633"/>
              <a:gd name="T48" fmla="*/ 2147483647 w 771"/>
              <a:gd name="T49" fmla="*/ 2147483647 h 633"/>
              <a:gd name="T50" fmla="*/ 2147483647 w 771"/>
              <a:gd name="T51" fmla="*/ 2147483647 h 633"/>
              <a:gd name="T52" fmla="*/ 2147483647 w 771"/>
              <a:gd name="T53" fmla="*/ 2147483647 h 633"/>
              <a:gd name="T54" fmla="*/ 2147483647 w 771"/>
              <a:gd name="T55" fmla="*/ 2147483647 h 633"/>
              <a:gd name="T56" fmla="*/ 2147483647 w 771"/>
              <a:gd name="T57" fmla="*/ 2147483647 h 633"/>
              <a:gd name="T58" fmla="*/ 2147483647 w 771"/>
              <a:gd name="T59" fmla="*/ 2147483647 h 633"/>
              <a:gd name="T60" fmla="*/ 2147483647 w 771"/>
              <a:gd name="T61" fmla="*/ 2147483647 h 633"/>
              <a:gd name="T62" fmla="*/ 2147483647 w 771"/>
              <a:gd name="T63" fmla="*/ 2147483647 h 633"/>
              <a:gd name="T64" fmla="*/ 2147483647 w 771"/>
              <a:gd name="T65" fmla="*/ 2147483647 h 633"/>
              <a:gd name="T66" fmla="*/ 2147483647 w 771"/>
              <a:gd name="T67" fmla="*/ 2147483647 h 633"/>
              <a:gd name="T68" fmla="*/ 2147483647 w 771"/>
              <a:gd name="T69" fmla="*/ 2147483647 h 633"/>
              <a:gd name="T70" fmla="*/ 2147483647 w 771"/>
              <a:gd name="T71" fmla="*/ 2147483647 h 633"/>
              <a:gd name="T72" fmla="*/ 2147483647 w 771"/>
              <a:gd name="T73" fmla="*/ 2147483647 h 633"/>
              <a:gd name="T74" fmla="*/ 2147483647 w 771"/>
              <a:gd name="T75" fmla="*/ 2147483647 h 633"/>
              <a:gd name="T76" fmla="*/ 2147483647 w 771"/>
              <a:gd name="T77" fmla="*/ 2147483647 h 633"/>
              <a:gd name="T78" fmla="*/ 2147483647 w 771"/>
              <a:gd name="T79" fmla="*/ 2147483647 h 633"/>
              <a:gd name="T80" fmla="*/ 2147483647 w 771"/>
              <a:gd name="T81" fmla="*/ 2147483647 h 633"/>
              <a:gd name="T82" fmla="*/ 2147483647 w 771"/>
              <a:gd name="T83" fmla="*/ 2147483647 h 633"/>
              <a:gd name="T84" fmla="*/ 2147483647 w 771"/>
              <a:gd name="T85" fmla="*/ 2147483647 h 633"/>
              <a:gd name="T86" fmla="*/ 2147483647 w 771"/>
              <a:gd name="T87" fmla="*/ 2147483647 h 633"/>
              <a:gd name="T88" fmla="*/ 2147483647 w 771"/>
              <a:gd name="T89" fmla="*/ 2147483647 h 633"/>
              <a:gd name="T90" fmla="*/ 2147483647 w 771"/>
              <a:gd name="T91" fmla="*/ 2147483647 h 633"/>
              <a:gd name="T92" fmla="*/ 2147483647 w 771"/>
              <a:gd name="T93" fmla="*/ 2147483647 h 633"/>
              <a:gd name="T94" fmla="*/ 2147483647 w 771"/>
              <a:gd name="T95" fmla="*/ 2147483647 h 633"/>
              <a:gd name="T96" fmla="*/ 2147483647 w 771"/>
              <a:gd name="T97" fmla="*/ 2147483647 h 633"/>
              <a:gd name="T98" fmla="*/ 2147483647 w 771"/>
              <a:gd name="T99" fmla="*/ 2147483647 h 633"/>
              <a:gd name="T100" fmla="*/ 2147483647 w 771"/>
              <a:gd name="T101" fmla="*/ 2147483647 h 633"/>
              <a:gd name="T102" fmla="*/ 0 w 771"/>
              <a:gd name="T103" fmla="*/ 2147483647 h 63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71"/>
              <a:gd name="T157" fmla="*/ 0 h 633"/>
              <a:gd name="T158" fmla="*/ 771 w 771"/>
              <a:gd name="T159" fmla="*/ 633 h 63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71" h="633">
                <a:moveTo>
                  <a:pt x="3" y="38"/>
                </a:moveTo>
                <a:lnTo>
                  <a:pt x="240" y="21"/>
                </a:lnTo>
                <a:lnTo>
                  <a:pt x="251" y="31"/>
                </a:lnTo>
                <a:lnTo>
                  <a:pt x="258" y="40"/>
                </a:lnTo>
                <a:lnTo>
                  <a:pt x="264" y="45"/>
                </a:lnTo>
                <a:lnTo>
                  <a:pt x="334" y="43"/>
                </a:lnTo>
                <a:lnTo>
                  <a:pt x="348" y="42"/>
                </a:lnTo>
                <a:lnTo>
                  <a:pt x="366" y="40"/>
                </a:lnTo>
                <a:lnTo>
                  <a:pt x="397" y="38"/>
                </a:lnTo>
                <a:lnTo>
                  <a:pt x="440" y="37"/>
                </a:lnTo>
                <a:lnTo>
                  <a:pt x="475" y="35"/>
                </a:lnTo>
                <a:lnTo>
                  <a:pt x="509" y="32"/>
                </a:lnTo>
                <a:lnTo>
                  <a:pt x="509" y="40"/>
                </a:lnTo>
                <a:lnTo>
                  <a:pt x="509" y="46"/>
                </a:lnTo>
                <a:lnTo>
                  <a:pt x="515" y="53"/>
                </a:lnTo>
                <a:lnTo>
                  <a:pt x="523" y="53"/>
                </a:lnTo>
                <a:lnTo>
                  <a:pt x="528" y="50"/>
                </a:lnTo>
                <a:lnTo>
                  <a:pt x="531" y="42"/>
                </a:lnTo>
                <a:lnTo>
                  <a:pt x="532" y="34"/>
                </a:lnTo>
                <a:lnTo>
                  <a:pt x="532" y="27"/>
                </a:lnTo>
                <a:lnTo>
                  <a:pt x="526" y="19"/>
                </a:lnTo>
                <a:lnTo>
                  <a:pt x="525" y="13"/>
                </a:lnTo>
                <a:lnTo>
                  <a:pt x="525" y="5"/>
                </a:lnTo>
                <a:lnTo>
                  <a:pt x="531" y="0"/>
                </a:lnTo>
                <a:lnTo>
                  <a:pt x="539" y="0"/>
                </a:lnTo>
                <a:lnTo>
                  <a:pt x="547" y="2"/>
                </a:lnTo>
                <a:lnTo>
                  <a:pt x="556" y="4"/>
                </a:lnTo>
                <a:lnTo>
                  <a:pt x="564" y="4"/>
                </a:lnTo>
                <a:lnTo>
                  <a:pt x="574" y="4"/>
                </a:lnTo>
                <a:lnTo>
                  <a:pt x="572" y="21"/>
                </a:lnTo>
                <a:lnTo>
                  <a:pt x="580" y="31"/>
                </a:lnTo>
                <a:lnTo>
                  <a:pt x="586" y="46"/>
                </a:lnTo>
                <a:lnTo>
                  <a:pt x="598" y="67"/>
                </a:lnTo>
                <a:lnTo>
                  <a:pt x="614" y="97"/>
                </a:lnTo>
                <a:lnTo>
                  <a:pt x="633" y="132"/>
                </a:lnTo>
                <a:lnTo>
                  <a:pt x="647" y="158"/>
                </a:lnTo>
                <a:lnTo>
                  <a:pt x="687" y="229"/>
                </a:lnTo>
                <a:lnTo>
                  <a:pt x="688" y="235"/>
                </a:lnTo>
                <a:lnTo>
                  <a:pt x="688" y="248"/>
                </a:lnTo>
                <a:lnTo>
                  <a:pt x="690" y="256"/>
                </a:lnTo>
                <a:lnTo>
                  <a:pt x="691" y="267"/>
                </a:lnTo>
                <a:lnTo>
                  <a:pt x="693" y="278"/>
                </a:lnTo>
                <a:lnTo>
                  <a:pt x="702" y="293"/>
                </a:lnTo>
                <a:lnTo>
                  <a:pt x="714" y="315"/>
                </a:lnTo>
                <a:lnTo>
                  <a:pt x="729" y="340"/>
                </a:lnTo>
                <a:lnTo>
                  <a:pt x="739" y="358"/>
                </a:lnTo>
                <a:lnTo>
                  <a:pt x="757" y="390"/>
                </a:lnTo>
                <a:lnTo>
                  <a:pt x="764" y="405"/>
                </a:lnTo>
                <a:lnTo>
                  <a:pt x="766" y="426"/>
                </a:lnTo>
                <a:lnTo>
                  <a:pt x="766" y="440"/>
                </a:lnTo>
                <a:lnTo>
                  <a:pt x="768" y="469"/>
                </a:lnTo>
                <a:lnTo>
                  <a:pt x="771" y="485"/>
                </a:lnTo>
                <a:lnTo>
                  <a:pt x="769" y="509"/>
                </a:lnTo>
                <a:lnTo>
                  <a:pt x="771" y="528"/>
                </a:lnTo>
                <a:lnTo>
                  <a:pt x="769" y="537"/>
                </a:lnTo>
                <a:lnTo>
                  <a:pt x="763" y="552"/>
                </a:lnTo>
                <a:lnTo>
                  <a:pt x="763" y="568"/>
                </a:lnTo>
                <a:lnTo>
                  <a:pt x="764" y="577"/>
                </a:lnTo>
                <a:lnTo>
                  <a:pt x="771" y="580"/>
                </a:lnTo>
                <a:lnTo>
                  <a:pt x="768" y="595"/>
                </a:lnTo>
                <a:lnTo>
                  <a:pt x="758" y="609"/>
                </a:lnTo>
                <a:lnTo>
                  <a:pt x="750" y="622"/>
                </a:lnTo>
                <a:lnTo>
                  <a:pt x="742" y="633"/>
                </a:lnTo>
                <a:lnTo>
                  <a:pt x="741" y="626"/>
                </a:lnTo>
                <a:lnTo>
                  <a:pt x="747" y="622"/>
                </a:lnTo>
                <a:lnTo>
                  <a:pt x="750" y="615"/>
                </a:lnTo>
                <a:lnTo>
                  <a:pt x="753" y="607"/>
                </a:lnTo>
                <a:lnTo>
                  <a:pt x="757" y="599"/>
                </a:lnTo>
                <a:lnTo>
                  <a:pt x="755" y="593"/>
                </a:lnTo>
                <a:lnTo>
                  <a:pt x="749" y="591"/>
                </a:lnTo>
                <a:lnTo>
                  <a:pt x="742" y="596"/>
                </a:lnTo>
                <a:lnTo>
                  <a:pt x="736" y="599"/>
                </a:lnTo>
                <a:lnTo>
                  <a:pt x="728" y="604"/>
                </a:lnTo>
                <a:lnTo>
                  <a:pt x="715" y="609"/>
                </a:lnTo>
                <a:lnTo>
                  <a:pt x="704" y="612"/>
                </a:lnTo>
                <a:lnTo>
                  <a:pt x="695" y="615"/>
                </a:lnTo>
                <a:lnTo>
                  <a:pt x="688" y="617"/>
                </a:lnTo>
                <a:lnTo>
                  <a:pt x="682" y="614"/>
                </a:lnTo>
                <a:lnTo>
                  <a:pt x="679" y="609"/>
                </a:lnTo>
                <a:lnTo>
                  <a:pt x="677" y="599"/>
                </a:lnTo>
                <a:lnTo>
                  <a:pt x="677" y="591"/>
                </a:lnTo>
                <a:lnTo>
                  <a:pt x="677" y="583"/>
                </a:lnTo>
                <a:lnTo>
                  <a:pt x="671" y="577"/>
                </a:lnTo>
                <a:lnTo>
                  <a:pt x="664" y="569"/>
                </a:lnTo>
                <a:lnTo>
                  <a:pt x="661" y="561"/>
                </a:lnTo>
                <a:lnTo>
                  <a:pt x="652" y="550"/>
                </a:lnTo>
                <a:lnTo>
                  <a:pt x="647" y="544"/>
                </a:lnTo>
                <a:lnTo>
                  <a:pt x="641" y="539"/>
                </a:lnTo>
                <a:lnTo>
                  <a:pt x="628" y="540"/>
                </a:lnTo>
                <a:lnTo>
                  <a:pt x="620" y="537"/>
                </a:lnTo>
                <a:lnTo>
                  <a:pt x="614" y="528"/>
                </a:lnTo>
                <a:lnTo>
                  <a:pt x="609" y="520"/>
                </a:lnTo>
                <a:lnTo>
                  <a:pt x="606" y="510"/>
                </a:lnTo>
                <a:lnTo>
                  <a:pt x="602" y="501"/>
                </a:lnTo>
                <a:lnTo>
                  <a:pt x="593" y="490"/>
                </a:lnTo>
                <a:lnTo>
                  <a:pt x="586" y="485"/>
                </a:lnTo>
                <a:lnTo>
                  <a:pt x="582" y="480"/>
                </a:lnTo>
                <a:lnTo>
                  <a:pt x="580" y="467"/>
                </a:lnTo>
                <a:lnTo>
                  <a:pt x="582" y="461"/>
                </a:lnTo>
                <a:lnTo>
                  <a:pt x="574" y="459"/>
                </a:lnTo>
                <a:lnTo>
                  <a:pt x="574" y="452"/>
                </a:lnTo>
                <a:lnTo>
                  <a:pt x="572" y="442"/>
                </a:lnTo>
                <a:lnTo>
                  <a:pt x="571" y="436"/>
                </a:lnTo>
                <a:lnTo>
                  <a:pt x="566" y="434"/>
                </a:lnTo>
                <a:lnTo>
                  <a:pt x="563" y="436"/>
                </a:lnTo>
                <a:lnTo>
                  <a:pt x="558" y="440"/>
                </a:lnTo>
                <a:lnTo>
                  <a:pt x="553" y="440"/>
                </a:lnTo>
                <a:lnTo>
                  <a:pt x="548" y="436"/>
                </a:lnTo>
                <a:lnTo>
                  <a:pt x="544" y="428"/>
                </a:lnTo>
                <a:lnTo>
                  <a:pt x="534" y="415"/>
                </a:lnTo>
                <a:lnTo>
                  <a:pt x="528" y="405"/>
                </a:lnTo>
                <a:lnTo>
                  <a:pt x="517" y="398"/>
                </a:lnTo>
                <a:lnTo>
                  <a:pt x="512" y="390"/>
                </a:lnTo>
                <a:lnTo>
                  <a:pt x="509" y="377"/>
                </a:lnTo>
                <a:lnTo>
                  <a:pt x="509" y="367"/>
                </a:lnTo>
                <a:lnTo>
                  <a:pt x="510" y="359"/>
                </a:lnTo>
                <a:lnTo>
                  <a:pt x="513" y="348"/>
                </a:lnTo>
                <a:lnTo>
                  <a:pt x="513" y="337"/>
                </a:lnTo>
                <a:lnTo>
                  <a:pt x="513" y="328"/>
                </a:lnTo>
                <a:lnTo>
                  <a:pt x="507" y="323"/>
                </a:lnTo>
                <a:lnTo>
                  <a:pt x="502" y="324"/>
                </a:lnTo>
                <a:lnTo>
                  <a:pt x="498" y="328"/>
                </a:lnTo>
                <a:lnTo>
                  <a:pt x="499" y="334"/>
                </a:lnTo>
                <a:lnTo>
                  <a:pt x="499" y="339"/>
                </a:lnTo>
                <a:lnTo>
                  <a:pt x="494" y="340"/>
                </a:lnTo>
                <a:lnTo>
                  <a:pt x="490" y="337"/>
                </a:lnTo>
                <a:lnTo>
                  <a:pt x="488" y="331"/>
                </a:lnTo>
                <a:lnTo>
                  <a:pt x="486" y="305"/>
                </a:lnTo>
                <a:lnTo>
                  <a:pt x="483" y="289"/>
                </a:lnTo>
                <a:lnTo>
                  <a:pt x="482" y="264"/>
                </a:lnTo>
                <a:lnTo>
                  <a:pt x="480" y="239"/>
                </a:lnTo>
                <a:lnTo>
                  <a:pt x="477" y="220"/>
                </a:lnTo>
                <a:lnTo>
                  <a:pt x="475" y="207"/>
                </a:lnTo>
                <a:lnTo>
                  <a:pt x="474" y="199"/>
                </a:lnTo>
                <a:lnTo>
                  <a:pt x="469" y="193"/>
                </a:lnTo>
                <a:lnTo>
                  <a:pt x="461" y="191"/>
                </a:lnTo>
                <a:lnTo>
                  <a:pt x="450" y="188"/>
                </a:lnTo>
                <a:lnTo>
                  <a:pt x="443" y="185"/>
                </a:lnTo>
                <a:lnTo>
                  <a:pt x="436" y="183"/>
                </a:lnTo>
                <a:lnTo>
                  <a:pt x="429" y="180"/>
                </a:lnTo>
                <a:lnTo>
                  <a:pt x="423" y="170"/>
                </a:lnTo>
                <a:lnTo>
                  <a:pt x="415" y="164"/>
                </a:lnTo>
                <a:lnTo>
                  <a:pt x="407" y="161"/>
                </a:lnTo>
                <a:lnTo>
                  <a:pt x="404" y="158"/>
                </a:lnTo>
                <a:lnTo>
                  <a:pt x="402" y="148"/>
                </a:lnTo>
                <a:lnTo>
                  <a:pt x="401" y="143"/>
                </a:lnTo>
                <a:lnTo>
                  <a:pt x="391" y="137"/>
                </a:lnTo>
                <a:lnTo>
                  <a:pt x="378" y="127"/>
                </a:lnTo>
                <a:lnTo>
                  <a:pt x="370" y="116"/>
                </a:lnTo>
                <a:lnTo>
                  <a:pt x="358" y="108"/>
                </a:lnTo>
                <a:lnTo>
                  <a:pt x="350" y="105"/>
                </a:lnTo>
                <a:lnTo>
                  <a:pt x="331" y="104"/>
                </a:lnTo>
                <a:lnTo>
                  <a:pt x="326" y="107"/>
                </a:lnTo>
                <a:lnTo>
                  <a:pt x="320" y="110"/>
                </a:lnTo>
                <a:lnTo>
                  <a:pt x="316" y="115"/>
                </a:lnTo>
                <a:lnTo>
                  <a:pt x="313" y="116"/>
                </a:lnTo>
                <a:lnTo>
                  <a:pt x="313" y="124"/>
                </a:lnTo>
                <a:lnTo>
                  <a:pt x="310" y="127"/>
                </a:lnTo>
                <a:lnTo>
                  <a:pt x="305" y="129"/>
                </a:lnTo>
                <a:lnTo>
                  <a:pt x="299" y="131"/>
                </a:lnTo>
                <a:lnTo>
                  <a:pt x="294" y="134"/>
                </a:lnTo>
                <a:lnTo>
                  <a:pt x="289" y="139"/>
                </a:lnTo>
                <a:lnTo>
                  <a:pt x="281" y="143"/>
                </a:lnTo>
                <a:lnTo>
                  <a:pt x="272" y="146"/>
                </a:lnTo>
                <a:lnTo>
                  <a:pt x="266" y="148"/>
                </a:lnTo>
                <a:lnTo>
                  <a:pt x="258" y="151"/>
                </a:lnTo>
                <a:lnTo>
                  <a:pt x="250" y="151"/>
                </a:lnTo>
                <a:lnTo>
                  <a:pt x="242" y="156"/>
                </a:lnTo>
                <a:lnTo>
                  <a:pt x="237" y="158"/>
                </a:lnTo>
                <a:lnTo>
                  <a:pt x="232" y="161"/>
                </a:lnTo>
                <a:lnTo>
                  <a:pt x="224" y="158"/>
                </a:lnTo>
                <a:lnTo>
                  <a:pt x="221" y="154"/>
                </a:lnTo>
                <a:lnTo>
                  <a:pt x="216" y="146"/>
                </a:lnTo>
                <a:lnTo>
                  <a:pt x="210" y="139"/>
                </a:lnTo>
                <a:lnTo>
                  <a:pt x="200" y="132"/>
                </a:lnTo>
                <a:lnTo>
                  <a:pt x="188" y="121"/>
                </a:lnTo>
                <a:lnTo>
                  <a:pt x="186" y="121"/>
                </a:lnTo>
                <a:lnTo>
                  <a:pt x="172" y="115"/>
                </a:lnTo>
                <a:lnTo>
                  <a:pt x="153" y="107"/>
                </a:lnTo>
                <a:lnTo>
                  <a:pt x="140" y="102"/>
                </a:lnTo>
                <a:lnTo>
                  <a:pt x="129" y="99"/>
                </a:lnTo>
                <a:lnTo>
                  <a:pt x="124" y="94"/>
                </a:lnTo>
                <a:lnTo>
                  <a:pt x="127" y="91"/>
                </a:lnTo>
                <a:lnTo>
                  <a:pt x="127" y="85"/>
                </a:lnTo>
                <a:lnTo>
                  <a:pt x="123" y="81"/>
                </a:lnTo>
                <a:lnTo>
                  <a:pt x="116" y="81"/>
                </a:lnTo>
                <a:lnTo>
                  <a:pt x="108" y="83"/>
                </a:lnTo>
                <a:lnTo>
                  <a:pt x="103" y="86"/>
                </a:lnTo>
                <a:lnTo>
                  <a:pt x="96" y="88"/>
                </a:lnTo>
                <a:lnTo>
                  <a:pt x="84" y="92"/>
                </a:lnTo>
                <a:lnTo>
                  <a:pt x="78" y="94"/>
                </a:lnTo>
                <a:lnTo>
                  <a:pt x="69" y="97"/>
                </a:lnTo>
                <a:lnTo>
                  <a:pt x="59" y="94"/>
                </a:lnTo>
                <a:lnTo>
                  <a:pt x="54" y="96"/>
                </a:lnTo>
                <a:lnTo>
                  <a:pt x="54" y="89"/>
                </a:lnTo>
                <a:lnTo>
                  <a:pt x="54" y="85"/>
                </a:lnTo>
                <a:lnTo>
                  <a:pt x="54" y="81"/>
                </a:lnTo>
                <a:lnTo>
                  <a:pt x="49" y="86"/>
                </a:lnTo>
                <a:lnTo>
                  <a:pt x="43" y="89"/>
                </a:lnTo>
                <a:lnTo>
                  <a:pt x="40" y="92"/>
                </a:lnTo>
                <a:lnTo>
                  <a:pt x="32" y="99"/>
                </a:lnTo>
                <a:lnTo>
                  <a:pt x="26" y="100"/>
                </a:lnTo>
                <a:lnTo>
                  <a:pt x="24" y="102"/>
                </a:lnTo>
                <a:lnTo>
                  <a:pt x="22" y="89"/>
                </a:lnTo>
                <a:lnTo>
                  <a:pt x="24" y="75"/>
                </a:lnTo>
                <a:lnTo>
                  <a:pt x="18" y="69"/>
                </a:lnTo>
                <a:lnTo>
                  <a:pt x="8" y="59"/>
                </a:lnTo>
                <a:lnTo>
                  <a:pt x="0" y="51"/>
                </a:lnTo>
                <a:lnTo>
                  <a:pt x="2" y="40"/>
                </a:lnTo>
                <a:lnTo>
                  <a:pt x="3" y="38"/>
                </a:lnTo>
                <a:close/>
              </a:path>
            </a:pathLst>
          </a:custGeom>
          <a:solidFill>
            <a:schemeClr val="bg1">
              <a:lumMod val="95000"/>
            </a:schemeClr>
          </a:solidFill>
          <a:ln w="0" algn="ctr">
            <a:solidFill>
              <a:srgbClr val="808080"/>
            </a:solidFill>
            <a:round/>
            <a:headEnd/>
            <a:tailEnd/>
          </a:ln>
        </p:spPr>
        <p:txBody>
          <a:bodyPr lIns="101798" tIns="50899" rIns="101798" bIns="50899"/>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itchFamily="34" charset="0"/>
            </a:endParaRPr>
          </a:p>
        </p:txBody>
      </p:sp>
      <p:sp>
        <p:nvSpPr>
          <p:cNvPr id="65" name="State: Delaware"/>
          <p:cNvSpPr>
            <a:spLocks/>
          </p:cNvSpPr>
          <p:nvPr/>
        </p:nvSpPr>
        <p:spPr bwMode="auto">
          <a:xfrm>
            <a:off x="6610360" y="3551082"/>
            <a:ext cx="141831" cy="238422"/>
          </a:xfrm>
          <a:custGeom>
            <a:avLst/>
            <a:gdLst>
              <a:gd name="T0" fmla="*/ 0 w 95"/>
              <a:gd name="T1" fmla="*/ 2147483647 h 155"/>
              <a:gd name="T2" fmla="*/ 2147483647 w 95"/>
              <a:gd name="T3" fmla="*/ 2147483647 h 155"/>
              <a:gd name="T4" fmla="*/ 2147483647 w 95"/>
              <a:gd name="T5" fmla="*/ 2147483647 h 155"/>
              <a:gd name="T6" fmla="*/ 2147483647 w 95"/>
              <a:gd name="T7" fmla="*/ 2147483647 h 155"/>
              <a:gd name="T8" fmla="*/ 2147483647 w 95"/>
              <a:gd name="T9" fmla="*/ 2147483647 h 155"/>
              <a:gd name="T10" fmla="*/ 2147483647 w 95"/>
              <a:gd name="T11" fmla="*/ 0 h 155"/>
              <a:gd name="T12" fmla="*/ 2147483647 w 95"/>
              <a:gd name="T13" fmla="*/ 2147483647 h 155"/>
              <a:gd name="T14" fmla="*/ 2147483647 w 95"/>
              <a:gd name="T15" fmla="*/ 2147483647 h 155"/>
              <a:gd name="T16" fmla="*/ 2147483647 w 95"/>
              <a:gd name="T17" fmla="*/ 2147483647 h 155"/>
              <a:gd name="T18" fmla="*/ 2147483647 w 95"/>
              <a:gd name="T19" fmla="*/ 2147483647 h 155"/>
              <a:gd name="T20" fmla="*/ 2147483647 w 95"/>
              <a:gd name="T21" fmla="*/ 2147483647 h 155"/>
              <a:gd name="T22" fmla="*/ 2147483647 w 95"/>
              <a:gd name="T23" fmla="*/ 2147483647 h 155"/>
              <a:gd name="T24" fmla="*/ 2147483647 w 95"/>
              <a:gd name="T25" fmla="*/ 2147483647 h 155"/>
              <a:gd name="T26" fmla="*/ 2147483647 w 95"/>
              <a:gd name="T27" fmla="*/ 2147483647 h 155"/>
              <a:gd name="T28" fmla="*/ 2147483647 w 95"/>
              <a:gd name="T29" fmla="*/ 2147483647 h 155"/>
              <a:gd name="T30" fmla="*/ 2147483647 w 95"/>
              <a:gd name="T31" fmla="*/ 2147483647 h 155"/>
              <a:gd name="T32" fmla="*/ 2147483647 w 95"/>
              <a:gd name="T33" fmla="*/ 2147483647 h 155"/>
              <a:gd name="T34" fmla="*/ 2147483647 w 95"/>
              <a:gd name="T35" fmla="*/ 2147483647 h 155"/>
              <a:gd name="T36" fmla="*/ 2147483647 w 95"/>
              <a:gd name="T37" fmla="*/ 2147483647 h 155"/>
              <a:gd name="T38" fmla="*/ 2147483647 w 95"/>
              <a:gd name="T39" fmla="*/ 2147483647 h 155"/>
              <a:gd name="T40" fmla="*/ 2147483647 w 95"/>
              <a:gd name="T41" fmla="*/ 2147483647 h 155"/>
              <a:gd name="T42" fmla="*/ 2147483647 w 95"/>
              <a:gd name="T43" fmla="*/ 2147483647 h 155"/>
              <a:gd name="T44" fmla="*/ 2147483647 w 95"/>
              <a:gd name="T45" fmla="*/ 2147483647 h 155"/>
              <a:gd name="T46" fmla="*/ 2147483647 w 95"/>
              <a:gd name="T47" fmla="*/ 2147483647 h 155"/>
              <a:gd name="T48" fmla="*/ 2147483647 w 95"/>
              <a:gd name="T49" fmla="*/ 2147483647 h 155"/>
              <a:gd name="T50" fmla="*/ 2147483647 w 95"/>
              <a:gd name="T51" fmla="*/ 2147483647 h 155"/>
              <a:gd name="T52" fmla="*/ 2147483647 w 95"/>
              <a:gd name="T53" fmla="*/ 2147483647 h 155"/>
              <a:gd name="T54" fmla="*/ 2147483647 w 95"/>
              <a:gd name="T55" fmla="*/ 2147483647 h 155"/>
              <a:gd name="T56" fmla="*/ 2147483647 w 95"/>
              <a:gd name="T57" fmla="*/ 2147483647 h 155"/>
              <a:gd name="T58" fmla="*/ 0 w 95"/>
              <a:gd name="T59" fmla="*/ 2147483647 h 15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95"/>
              <a:gd name="T91" fmla="*/ 0 h 155"/>
              <a:gd name="T92" fmla="*/ 95 w 95"/>
              <a:gd name="T93" fmla="*/ 155 h 15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95" h="155">
                <a:moveTo>
                  <a:pt x="0" y="19"/>
                </a:moveTo>
                <a:lnTo>
                  <a:pt x="3" y="14"/>
                </a:lnTo>
                <a:lnTo>
                  <a:pt x="6" y="8"/>
                </a:lnTo>
                <a:lnTo>
                  <a:pt x="11" y="3"/>
                </a:lnTo>
                <a:lnTo>
                  <a:pt x="16" y="1"/>
                </a:lnTo>
                <a:lnTo>
                  <a:pt x="24" y="0"/>
                </a:lnTo>
                <a:lnTo>
                  <a:pt x="28" y="1"/>
                </a:lnTo>
                <a:lnTo>
                  <a:pt x="30" y="4"/>
                </a:lnTo>
                <a:lnTo>
                  <a:pt x="28" y="9"/>
                </a:lnTo>
                <a:lnTo>
                  <a:pt x="25" y="12"/>
                </a:lnTo>
                <a:lnTo>
                  <a:pt x="24" y="17"/>
                </a:lnTo>
                <a:lnTo>
                  <a:pt x="19" y="27"/>
                </a:lnTo>
                <a:lnTo>
                  <a:pt x="24" y="30"/>
                </a:lnTo>
                <a:lnTo>
                  <a:pt x="32" y="35"/>
                </a:lnTo>
                <a:lnTo>
                  <a:pt x="38" y="41"/>
                </a:lnTo>
                <a:lnTo>
                  <a:pt x="43" y="49"/>
                </a:lnTo>
                <a:lnTo>
                  <a:pt x="43" y="58"/>
                </a:lnTo>
                <a:lnTo>
                  <a:pt x="46" y="68"/>
                </a:lnTo>
                <a:lnTo>
                  <a:pt x="55" y="81"/>
                </a:lnTo>
                <a:lnTo>
                  <a:pt x="62" y="90"/>
                </a:lnTo>
                <a:lnTo>
                  <a:pt x="70" y="98"/>
                </a:lnTo>
                <a:lnTo>
                  <a:pt x="76" y="108"/>
                </a:lnTo>
                <a:lnTo>
                  <a:pt x="82" y="116"/>
                </a:lnTo>
                <a:lnTo>
                  <a:pt x="87" y="124"/>
                </a:lnTo>
                <a:lnTo>
                  <a:pt x="94" y="130"/>
                </a:lnTo>
                <a:lnTo>
                  <a:pt x="95" y="136"/>
                </a:lnTo>
                <a:lnTo>
                  <a:pt x="94" y="141"/>
                </a:lnTo>
                <a:lnTo>
                  <a:pt x="92" y="144"/>
                </a:lnTo>
                <a:lnTo>
                  <a:pt x="36" y="155"/>
                </a:lnTo>
                <a:lnTo>
                  <a:pt x="0" y="19"/>
                </a:lnTo>
                <a:close/>
              </a:path>
            </a:pathLst>
          </a:custGeom>
          <a:solidFill>
            <a:schemeClr val="bg1">
              <a:lumMod val="75000"/>
            </a:schemeClr>
          </a:solidFill>
          <a:ln w="0" algn="ctr">
            <a:solidFill>
              <a:srgbClr val="808080"/>
            </a:solidFill>
            <a:round/>
            <a:headEnd/>
            <a:tailEnd/>
          </a:ln>
        </p:spPr>
        <p:txBody>
          <a:bodyPr lIns="101798" tIns="50899" rIns="101798" bIns="50899"/>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endParaRPr>
          </a:p>
        </p:txBody>
      </p:sp>
      <p:sp>
        <p:nvSpPr>
          <p:cNvPr id="66" name="State: Connecticut"/>
          <p:cNvSpPr>
            <a:spLocks/>
          </p:cNvSpPr>
          <p:nvPr/>
        </p:nvSpPr>
        <p:spPr bwMode="auto">
          <a:xfrm>
            <a:off x="6795486" y="3071165"/>
            <a:ext cx="225436" cy="230730"/>
          </a:xfrm>
          <a:custGeom>
            <a:avLst/>
            <a:gdLst>
              <a:gd name="T0" fmla="*/ 2147483647 w 151"/>
              <a:gd name="T1" fmla="*/ 2147483647 h 150"/>
              <a:gd name="T2" fmla="*/ 2147483647 w 151"/>
              <a:gd name="T3" fmla="*/ 0 h 150"/>
              <a:gd name="T4" fmla="*/ 2147483647 w 151"/>
              <a:gd name="T5" fmla="*/ 2147483647 h 150"/>
              <a:gd name="T6" fmla="*/ 2147483647 w 151"/>
              <a:gd name="T7" fmla="*/ 2147483647 h 150"/>
              <a:gd name="T8" fmla="*/ 2147483647 w 151"/>
              <a:gd name="T9" fmla="*/ 2147483647 h 150"/>
              <a:gd name="T10" fmla="*/ 2147483647 w 151"/>
              <a:gd name="T11" fmla="*/ 2147483647 h 150"/>
              <a:gd name="T12" fmla="*/ 2147483647 w 151"/>
              <a:gd name="T13" fmla="*/ 2147483647 h 150"/>
              <a:gd name="T14" fmla="*/ 2147483647 w 151"/>
              <a:gd name="T15" fmla="*/ 2147483647 h 150"/>
              <a:gd name="T16" fmla="*/ 2147483647 w 151"/>
              <a:gd name="T17" fmla="*/ 2147483647 h 150"/>
              <a:gd name="T18" fmla="*/ 2147483647 w 151"/>
              <a:gd name="T19" fmla="*/ 2147483647 h 150"/>
              <a:gd name="T20" fmla="*/ 2147483647 w 151"/>
              <a:gd name="T21" fmla="*/ 2147483647 h 150"/>
              <a:gd name="T22" fmla="*/ 2147483647 w 151"/>
              <a:gd name="T23" fmla="*/ 2147483647 h 150"/>
              <a:gd name="T24" fmla="*/ 2147483647 w 151"/>
              <a:gd name="T25" fmla="*/ 2147483647 h 150"/>
              <a:gd name="T26" fmla="*/ 2147483647 w 151"/>
              <a:gd name="T27" fmla="*/ 2147483647 h 150"/>
              <a:gd name="T28" fmla="*/ 2147483647 w 151"/>
              <a:gd name="T29" fmla="*/ 2147483647 h 150"/>
              <a:gd name="T30" fmla="*/ 2147483647 w 151"/>
              <a:gd name="T31" fmla="*/ 2147483647 h 150"/>
              <a:gd name="T32" fmla="*/ 2147483647 w 151"/>
              <a:gd name="T33" fmla="*/ 2147483647 h 150"/>
              <a:gd name="T34" fmla="*/ 2147483647 w 151"/>
              <a:gd name="T35" fmla="*/ 2147483647 h 150"/>
              <a:gd name="T36" fmla="*/ 2147483647 w 151"/>
              <a:gd name="T37" fmla="*/ 2147483647 h 150"/>
              <a:gd name="T38" fmla="*/ 2147483647 w 151"/>
              <a:gd name="T39" fmla="*/ 2147483647 h 150"/>
              <a:gd name="T40" fmla="*/ 2147483647 w 151"/>
              <a:gd name="T41" fmla="*/ 2147483647 h 150"/>
              <a:gd name="T42" fmla="*/ 2147483647 w 151"/>
              <a:gd name="T43" fmla="*/ 2147483647 h 150"/>
              <a:gd name="T44" fmla="*/ 2147483647 w 151"/>
              <a:gd name="T45" fmla="*/ 2147483647 h 150"/>
              <a:gd name="T46" fmla="*/ 2147483647 w 151"/>
              <a:gd name="T47" fmla="*/ 2147483647 h 150"/>
              <a:gd name="T48" fmla="*/ 2147483647 w 151"/>
              <a:gd name="T49" fmla="*/ 2147483647 h 150"/>
              <a:gd name="T50" fmla="*/ 2147483647 w 151"/>
              <a:gd name="T51" fmla="*/ 2147483647 h 150"/>
              <a:gd name="T52" fmla="*/ 2147483647 w 151"/>
              <a:gd name="T53" fmla="*/ 2147483647 h 150"/>
              <a:gd name="T54" fmla="*/ 2147483647 w 151"/>
              <a:gd name="T55" fmla="*/ 2147483647 h 150"/>
              <a:gd name="T56" fmla="*/ 2147483647 w 151"/>
              <a:gd name="T57" fmla="*/ 2147483647 h 150"/>
              <a:gd name="T58" fmla="*/ 2147483647 w 151"/>
              <a:gd name="T59" fmla="*/ 2147483647 h 150"/>
              <a:gd name="T60" fmla="*/ 2147483647 w 151"/>
              <a:gd name="T61" fmla="*/ 2147483647 h 150"/>
              <a:gd name="T62" fmla="*/ 2147483647 w 151"/>
              <a:gd name="T63" fmla="*/ 2147483647 h 150"/>
              <a:gd name="T64" fmla="*/ 2147483647 w 151"/>
              <a:gd name="T65" fmla="*/ 2147483647 h 150"/>
              <a:gd name="T66" fmla="*/ 2147483647 w 151"/>
              <a:gd name="T67" fmla="*/ 2147483647 h 150"/>
              <a:gd name="T68" fmla="*/ 2147483647 w 151"/>
              <a:gd name="T69" fmla="*/ 2147483647 h 150"/>
              <a:gd name="T70" fmla="*/ 2147483647 w 151"/>
              <a:gd name="T71" fmla="*/ 2147483647 h 150"/>
              <a:gd name="T72" fmla="*/ 2147483647 w 151"/>
              <a:gd name="T73" fmla="*/ 2147483647 h 150"/>
              <a:gd name="T74" fmla="*/ 2147483647 w 151"/>
              <a:gd name="T75" fmla="*/ 2147483647 h 150"/>
              <a:gd name="T76" fmla="*/ 0 w 151"/>
              <a:gd name="T77" fmla="*/ 2147483647 h 150"/>
              <a:gd name="T78" fmla="*/ 0 w 151"/>
              <a:gd name="T79" fmla="*/ 2147483647 h 150"/>
              <a:gd name="T80" fmla="*/ 2147483647 w 151"/>
              <a:gd name="T81" fmla="*/ 2147483647 h 15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51"/>
              <a:gd name="T124" fmla="*/ 0 h 150"/>
              <a:gd name="T125" fmla="*/ 151 w 151"/>
              <a:gd name="T126" fmla="*/ 150 h 15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51" h="150">
                <a:moveTo>
                  <a:pt x="3" y="35"/>
                </a:moveTo>
                <a:lnTo>
                  <a:pt x="133" y="0"/>
                </a:lnTo>
                <a:lnTo>
                  <a:pt x="140" y="23"/>
                </a:lnTo>
                <a:lnTo>
                  <a:pt x="146" y="37"/>
                </a:lnTo>
                <a:lnTo>
                  <a:pt x="148" y="46"/>
                </a:lnTo>
                <a:lnTo>
                  <a:pt x="149" y="56"/>
                </a:lnTo>
                <a:lnTo>
                  <a:pt x="151" y="75"/>
                </a:lnTo>
                <a:lnTo>
                  <a:pt x="130" y="85"/>
                </a:lnTo>
                <a:lnTo>
                  <a:pt x="122" y="91"/>
                </a:lnTo>
                <a:lnTo>
                  <a:pt x="113" y="94"/>
                </a:lnTo>
                <a:lnTo>
                  <a:pt x="103" y="96"/>
                </a:lnTo>
                <a:lnTo>
                  <a:pt x="97" y="99"/>
                </a:lnTo>
                <a:lnTo>
                  <a:pt x="76" y="100"/>
                </a:lnTo>
                <a:lnTo>
                  <a:pt x="70" y="102"/>
                </a:lnTo>
                <a:lnTo>
                  <a:pt x="67" y="107"/>
                </a:lnTo>
                <a:lnTo>
                  <a:pt x="65" y="113"/>
                </a:lnTo>
                <a:lnTo>
                  <a:pt x="60" y="121"/>
                </a:lnTo>
                <a:lnTo>
                  <a:pt x="52" y="126"/>
                </a:lnTo>
                <a:lnTo>
                  <a:pt x="44" y="131"/>
                </a:lnTo>
                <a:lnTo>
                  <a:pt x="36" y="137"/>
                </a:lnTo>
                <a:lnTo>
                  <a:pt x="28" y="143"/>
                </a:lnTo>
                <a:lnTo>
                  <a:pt x="22" y="146"/>
                </a:lnTo>
                <a:lnTo>
                  <a:pt x="17" y="150"/>
                </a:lnTo>
                <a:lnTo>
                  <a:pt x="16" y="145"/>
                </a:lnTo>
                <a:lnTo>
                  <a:pt x="11" y="142"/>
                </a:lnTo>
                <a:lnTo>
                  <a:pt x="13" y="137"/>
                </a:lnTo>
                <a:lnTo>
                  <a:pt x="16" y="132"/>
                </a:lnTo>
                <a:lnTo>
                  <a:pt x="19" y="129"/>
                </a:lnTo>
                <a:lnTo>
                  <a:pt x="22" y="126"/>
                </a:lnTo>
                <a:lnTo>
                  <a:pt x="24" y="121"/>
                </a:lnTo>
                <a:lnTo>
                  <a:pt x="22" y="115"/>
                </a:lnTo>
                <a:lnTo>
                  <a:pt x="17" y="112"/>
                </a:lnTo>
                <a:lnTo>
                  <a:pt x="13" y="100"/>
                </a:lnTo>
                <a:lnTo>
                  <a:pt x="14" y="92"/>
                </a:lnTo>
                <a:lnTo>
                  <a:pt x="14" y="86"/>
                </a:lnTo>
                <a:lnTo>
                  <a:pt x="11" y="80"/>
                </a:lnTo>
                <a:lnTo>
                  <a:pt x="8" y="69"/>
                </a:lnTo>
                <a:lnTo>
                  <a:pt x="3" y="62"/>
                </a:lnTo>
                <a:lnTo>
                  <a:pt x="0" y="58"/>
                </a:lnTo>
                <a:lnTo>
                  <a:pt x="0" y="46"/>
                </a:lnTo>
                <a:lnTo>
                  <a:pt x="3" y="35"/>
                </a:lnTo>
                <a:close/>
              </a:path>
            </a:pathLst>
          </a:custGeom>
          <a:pattFill prst="wdDnDiag">
            <a:fgClr>
              <a:schemeClr val="accent4">
                <a:lumMod val="40000"/>
                <a:lumOff val="60000"/>
              </a:schemeClr>
            </a:fgClr>
            <a:bgClr>
              <a:schemeClr val="accent6">
                <a:lumMod val="40000"/>
                <a:lumOff val="60000"/>
              </a:schemeClr>
            </a:bgClr>
          </a:pattFill>
          <a:ln w="0" algn="ctr">
            <a:solidFill>
              <a:srgbClr val="808080"/>
            </a:solidFill>
            <a:round/>
            <a:headEnd/>
            <a:tailEnd/>
          </a:ln>
        </p:spPr>
        <p:txBody>
          <a:bodyPr lIns="101798" tIns="50899" rIns="101798" bIns="50899"/>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endParaRPr>
          </a:p>
        </p:txBody>
      </p:sp>
      <p:sp>
        <p:nvSpPr>
          <p:cNvPr id="67" name="State: Colorado"/>
          <p:cNvSpPr>
            <a:spLocks/>
          </p:cNvSpPr>
          <p:nvPr/>
        </p:nvSpPr>
        <p:spPr bwMode="auto">
          <a:xfrm>
            <a:off x="2409171" y="3486479"/>
            <a:ext cx="958481" cy="778330"/>
          </a:xfrm>
          <a:custGeom>
            <a:avLst/>
            <a:gdLst>
              <a:gd name="T0" fmla="*/ 2147483647 w 642"/>
              <a:gd name="T1" fmla="*/ 0 h 506"/>
              <a:gd name="T2" fmla="*/ 0 w 642"/>
              <a:gd name="T3" fmla="*/ 2147483647 h 506"/>
              <a:gd name="T4" fmla="*/ 2147483647 w 642"/>
              <a:gd name="T5" fmla="*/ 2147483647 h 506"/>
              <a:gd name="T6" fmla="*/ 2147483647 w 642"/>
              <a:gd name="T7" fmla="*/ 2147483647 h 506"/>
              <a:gd name="T8" fmla="*/ 2147483647 w 642"/>
              <a:gd name="T9" fmla="*/ 2147483647 h 506"/>
              <a:gd name="T10" fmla="*/ 2147483647 w 642"/>
              <a:gd name="T11" fmla="*/ 2147483647 h 506"/>
              <a:gd name="T12" fmla="*/ 2147483647 w 642"/>
              <a:gd name="T13" fmla="*/ 2147483647 h 506"/>
              <a:gd name="T14" fmla="*/ 2147483647 w 642"/>
              <a:gd name="T15" fmla="*/ 2147483647 h 506"/>
              <a:gd name="T16" fmla="*/ 2147483647 w 642"/>
              <a:gd name="T17" fmla="*/ 2147483647 h 506"/>
              <a:gd name="T18" fmla="*/ 2147483647 w 642"/>
              <a:gd name="T19" fmla="*/ 2147483647 h 506"/>
              <a:gd name="T20" fmla="*/ 2147483647 w 642"/>
              <a:gd name="T21" fmla="*/ 2147483647 h 506"/>
              <a:gd name="T22" fmla="*/ 2147483647 w 642"/>
              <a:gd name="T23" fmla="*/ 2147483647 h 506"/>
              <a:gd name="T24" fmla="*/ 2147483647 w 642"/>
              <a:gd name="T25" fmla="*/ 2147483647 h 506"/>
              <a:gd name="T26" fmla="*/ 2147483647 w 642"/>
              <a:gd name="T27" fmla="*/ 2147483647 h 506"/>
              <a:gd name="T28" fmla="*/ 2147483647 w 642"/>
              <a:gd name="T29" fmla="*/ 2147483647 h 506"/>
              <a:gd name="T30" fmla="*/ 2147483647 w 642"/>
              <a:gd name="T31" fmla="*/ 2147483647 h 506"/>
              <a:gd name="T32" fmla="*/ 2147483647 w 642"/>
              <a:gd name="T33" fmla="*/ 2147483647 h 506"/>
              <a:gd name="T34" fmla="*/ 2147483647 w 642"/>
              <a:gd name="T35" fmla="*/ 2147483647 h 506"/>
              <a:gd name="T36" fmla="*/ 2147483647 w 642"/>
              <a:gd name="T37" fmla="*/ 2147483647 h 506"/>
              <a:gd name="T38" fmla="*/ 2147483647 w 642"/>
              <a:gd name="T39" fmla="*/ 2147483647 h 506"/>
              <a:gd name="T40" fmla="*/ 2147483647 w 642"/>
              <a:gd name="T41" fmla="*/ 2147483647 h 506"/>
              <a:gd name="T42" fmla="*/ 2147483647 w 642"/>
              <a:gd name="T43" fmla="*/ 2147483647 h 506"/>
              <a:gd name="T44" fmla="*/ 2147483647 w 642"/>
              <a:gd name="T45" fmla="*/ 0 h 50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42"/>
              <a:gd name="T70" fmla="*/ 0 h 506"/>
              <a:gd name="T71" fmla="*/ 642 w 642"/>
              <a:gd name="T72" fmla="*/ 506 h 50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42" h="506">
                <a:moveTo>
                  <a:pt x="69" y="0"/>
                </a:moveTo>
                <a:lnTo>
                  <a:pt x="0" y="440"/>
                </a:lnTo>
                <a:lnTo>
                  <a:pt x="277" y="473"/>
                </a:lnTo>
                <a:lnTo>
                  <a:pt x="339" y="481"/>
                </a:lnTo>
                <a:lnTo>
                  <a:pt x="423" y="492"/>
                </a:lnTo>
                <a:lnTo>
                  <a:pt x="520" y="505"/>
                </a:lnTo>
                <a:lnTo>
                  <a:pt x="610" y="506"/>
                </a:lnTo>
                <a:lnTo>
                  <a:pt x="642" y="69"/>
                </a:lnTo>
                <a:lnTo>
                  <a:pt x="601" y="66"/>
                </a:lnTo>
                <a:lnTo>
                  <a:pt x="558" y="62"/>
                </a:lnTo>
                <a:lnTo>
                  <a:pt x="514" y="58"/>
                </a:lnTo>
                <a:lnTo>
                  <a:pt x="479" y="54"/>
                </a:lnTo>
                <a:lnTo>
                  <a:pt x="431" y="49"/>
                </a:lnTo>
                <a:lnTo>
                  <a:pt x="380" y="41"/>
                </a:lnTo>
                <a:lnTo>
                  <a:pt x="323" y="33"/>
                </a:lnTo>
                <a:lnTo>
                  <a:pt x="274" y="27"/>
                </a:lnTo>
                <a:lnTo>
                  <a:pt x="236" y="22"/>
                </a:lnTo>
                <a:lnTo>
                  <a:pt x="205" y="17"/>
                </a:lnTo>
                <a:lnTo>
                  <a:pt x="175" y="14"/>
                </a:lnTo>
                <a:lnTo>
                  <a:pt x="143" y="9"/>
                </a:lnTo>
                <a:lnTo>
                  <a:pt x="118" y="4"/>
                </a:lnTo>
                <a:lnTo>
                  <a:pt x="94" y="1"/>
                </a:lnTo>
                <a:lnTo>
                  <a:pt x="69" y="0"/>
                </a:lnTo>
                <a:close/>
              </a:path>
            </a:pathLst>
          </a:custGeom>
          <a:solidFill>
            <a:schemeClr val="accent6">
              <a:lumMod val="60000"/>
              <a:lumOff val="40000"/>
            </a:schemeClr>
          </a:solidFill>
          <a:ln w="0" algn="ctr">
            <a:solidFill>
              <a:srgbClr val="808080"/>
            </a:solidFill>
            <a:round/>
            <a:headEnd/>
            <a:tailEnd/>
          </a:ln>
        </p:spPr>
        <p:txBody>
          <a:bodyPr lIns="101798" tIns="50899" rIns="101798" bIns="50899"/>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endParaRPr>
          </a:p>
        </p:txBody>
      </p:sp>
      <p:sp>
        <p:nvSpPr>
          <p:cNvPr id="68" name="State: California"/>
          <p:cNvSpPr>
            <a:spLocks/>
          </p:cNvSpPr>
          <p:nvPr/>
        </p:nvSpPr>
        <p:spPr bwMode="auto">
          <a:xfrm>
            <a:off x="672857" y="2849670"/>
            <a:ext cx="998791" cy="1901217"/>
          </a:xfrm>
          <a:custGeom>
            <a:avLst/>
            <a:gdLst>
              <a:gd name="T0" fmla="*/ 2147483647 w 669"/>
              <a:gd name="T1" fmla="*/ 2147483647 h 1236"/>
              <a:gd name="T2" fmla="*/ 2147483647 w 669"/>
              <a:gd name="T3" fmla="*/ 2147483647 h 1236"/>
              <a:gd name="T4" fmla="*/ 2147483647 w 669"/>
              <a:gd name="T5" fmla="*/ 2147483647 h 1236"/>
              <a:gd name="T6" fmla="*/ 2147483647 w 669"/>
              <a:gd name="T7" fmla="*/ 2147483647 h 1236"/>
              <a:gd name="T8" fmla="*/ 2147483647 w 669"/>
              <a:gd name="T9" fmla="*/ 2147483647 h 1236"/>
              <a:gd name="T10" fmla="*/ 2147483647 w 669"/>
              <a:gd name="T11" fmla="*/ 2147483647 h 1236"/>
              <a:gd name="T12" fmla="*/ 2147483647 w 669"/>
              <a:gd name="T13" fmla="*/ 2147483647 h 1236"/>
              <a:gd name="T14" fmla="*/ 2147483647 w 669"/>
              <a:gd name="T15" fmla="*/ 2147483647 h 1236"/>
              <a:gd name="T16" fmla="*/ 2147483647 w 669"/>
              <a:gd name="T17" fmla="*/ 2147483647 h 1236"/>
              <a:gd name="T18" fmla="*/ 2147483647 w 669"/>
              <a:gd name="T19" fmla="*/ 2147483647 h 1236"/>
              <a:gd name="T20" fmla="*/ 2147483647 w 669"/>
              <a:gd name="T21" fmla="*/ 2147483647 h 1236"/>
              <a:gd name="T22" fmla="*/ 2147483647 w 669"/>
              <a:gd name="T23" fmla="*/ 2147483647 h 1236"/>
              <a:gd name="T24" fmla="*/ 2147483647 w 669"/>
              <a:gd name="T25" fmla="*/ 2147483647 h 1236"/>
              <a:gd name="T26" fmla="*/ 2147483647 w 669"/>
              <a:gd name="T27" fmla="*/ 2147483647 h 1236"/>
              <a:gd name="T28" fmla="*/ 2147483647 w 669"/>
              <a:gd name="T29" fmla="*/ 2147483647 h 1236"/>
              <a:gd name="T30" fmla="*/ 2147483647 w 669"/>
              <a:gd name="T31" fmla="*/ 2147483647 h 1236"/>
              <a:gd name="T32" fmla="*/ 2147483647 w 669"/>
              <a:gd name="T33" fmla="*/ 2147483647 h 1236"/>
              <a:gd name="T34" fmla="*/ 2147483647 w 669"/>
              <a:gd name="T35" fmla="*/ 2147483647 h 1236"/>
              <a:gd name="T36" fmla="*/ 2147483647 w 669"/>
              <a:gd name="T37" fmla="*/ 2147483647 h 1236"/>
              <a:gd name="T38" fmla="*/ 2147483647 w 669"/>
              <a:gd name="T39" fmla="*/ 2147483647 h 1236"/>
              <a:gd name="T40" fmla="*/ 2147483647 w 669"/>
              <a:gd name="T41" fmla="*/ 2147483647 h 1236"/>
              <a:gd name="T42" fmla="*/ 2147483647 w 669"/>
              <a:gd name="T43" fmla="*/ 2147483647 h 1236"/>
              <a:gd name="T44" fmla="*/ 2147483647 w 669"/>
              <a:gd name="T45" fmla="*/ 2147483647 h 1236"/>
              <a:gd name="T46" fmla="*/ 2147483647 w 669"/>
              <a:gd name="T47" fmla="*/ 2147483647 h 1236"/>
              <a:gd name="T48" fmla="*/ 2147483647 w 669"/>
              <a:gd name="T49" fmla="*/ 2147483647 h 1236"/>
              <a:gd name="T50" fmla="*/ 2147483647 w 669"/>
              <a:gd name="T51" fmla="*/ 2147483647 h 1236"/>
              <a:gd name="T52" fmla="*/ 2147483647 w 669"/>
              <a:gd name="T53" fmla="*/ 2147483647 h 1236"/>
              <a:gd name="T54" fmla="*/ 2147483647 w 669"/>
              <a:gd name="T55" fmla="*/ 2147483647 h 1236"/>
              <a:gd name="T56" fmla="*/ 2147483647 w 669"/>
              <a:gd name="T57" fmla="*/ 2147483647 h 1236"/>
              <a:gd name="T58" fmla="*/ 2147483647 w 669"/>
              <a:gd name="T59" fmla="*/ 2147483647 h 1236"/>
              <a:gd name="T60" fmla="*/ 2147483647 w 669"/>
              <a:gd name="T61" fmla="*/ 2147483647 h 1236"/>
              <a:gd name="T62" fmla="*/ 2147483647 w 669"/>
              <a:gd name="T63" fmla="*/ 2147483647 h 1236"/>
              <a:gd name="T64" fmla="*/ 2147483647 w 669"/>
              <a:gd name="T65" fmla="*/ 2147483647 h 1236"/>
              <a:gd name="T66" fmla="*/ 2147483647 w 669"/>
              <a:gd name="T67" fmla="*/ 2147483647 h 1236"/>
              <a:gd name="T68" fmla="*/ 2147483647 w 669"/>
              <a:gd name="T69" fmla="*/ 2147483647 h 1236"/>
              <a:gd name="T70" fmla="*/ 2147483647 w 669"/>
              <a:gd name="T71" fmla="*/ 2147483647 h 1236"/>
              <a:gd name="T72" fmla="*/ 2147483647 w 669"/>
              <a:gd name="T73" fmla="*/ 2147483647 h 1236"/>
              <a:gd name="T74" fmla="*/ 2147483647 w 669"/>
              <a:gd name="T75" fmla="*/ 2147483647 h 1236"/>
              <a:gd name="T76" fmla="*/ 2147483647 w 669"/>
              <a:gd name="T77" fmla="*/ 2147483647 h 1236"/>
              <a:gd name="T78" fmla="*/ 2147483647 w 669"/>
              <a:gd name="T79" fmla="*/ 2147483647 h 1236"/>
              <a:gd name="T80" fmla="*/ 2147483647 w 669"/>
              <a:gd name="T81" fmla="*/ 2147483647 h 1236"/>
              <a:gd name="T82" fmla="*/ 2147483647 w 669"/>
              <a:gd name="T83" fmla="*/ 2147483647 h 1236"/>
              <a:gd name="T84" fmla="*/ 2147483647 w 669"/>
              <a:gd name="T85" fmla="*/ 2147483647 h 1236"/>
              <a:gd name="T86" fmla="*/ 2147483647 w 669"/>
              <a:gd name="T87" fmla="*/ 2147483647 h 1236"/>
              <a:gd name="T88" fmla="*/ 2147483647 w 669"/>
              <a:gd name="T89" fmla="*/ 2147483647 h 1236"/>
              <a:gd name="T90" fmla="*/ 2147483647 w 669"/>
              <a:gd name="T91" fmla="*/ 2147483647 h 1236"/>
              <a:gd name="T92" fmla="*/ 2147483647 w 669"/>
              <a:gd name="T93" fmla="*/ 2147483647 h 1236"/>
              <a:gd name="T94" fmla="*/ 2147483647 w 669"/>
              <a:gd name="T95" fmla="*/ 2147483647 h 1236"/>
              <a:gd name="T96" fmla="*/ 2147483647 w 669"/>
              <a:gd name="T97" fmla="*/ 2147483647 h 1236"/>
              <a:gd name="T98" fmla="*/ 2147483647 w 669"/>
              <a:gd name="T99" fmla="*/ 2147483647 h 1236"/>
              <a:gd name="T100" fmla="*/ 2147483647 w 669"/>
              <a:gd name="T101" fmla="*/ 2147483647 h 1236"/>
              <a:gd name="T102" fmla="*/ 2147483647 w 669"/>
              <a:gd name="T103" fmla="*/ 2147483647 h 1236"/>
              <a:gd name="T104" fmla="*/ 2147483647 w 669"/>
              <a:gd name="T105" fmla="*/ 2147483647 h 1236"/>
              <a:gd name="T106" fmla="*/ 2147483647 w 669"/>
              <a:gd name="T107" fmla="*/ 2147483647 h 1236"/>
              <a:gd name="T108" fmla="*/ 2147483647 w 669"/>
              <a:gd name="T109" fmla="*/ 2147483647 h 1236"/>
              <a:gd name="T110" fmla="*/ 2147483647 w 669"/>
              <a:gd name="T111" fmla="*/ 2147483647 h 1236"/>
              <a:gd name="T112" fmla="*/ 2147483647 w 669"/>
              <a:gd name="T113" fmla="*/ 2147483647 h 1236"/>
              <a:gd name="T114" fmla="*/ 2147483647 w 669"/>
              <a:gd name="T115" fmla="*/ 2147483647 h 12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69"/>
              <a:gd name="T175" fmla="*/ 0 h 1236"/>
              <a:gd name="T176" fmla="*/ 669 w 669"/>
              <a:gd name="T177" fmla="*/ 1236 h 12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69" h="1236">
                <a:moveTo>
                  <a:pt x="572" y="1236"/>
                </a:moveTo>
                <a:lnTo>
                  <a:pt x="558" y="1236"/>
                </a:lnTo>
                <a:lnTo>
                  <a:pt x="548" y="1236"/>
                </a:lnTo>
                <a:lnTo>
                  <a:pt x="539" y="1229"/>
                </a:lnTo>
                <a:lnTo>
                  <a:pt x="527" y="1229"/>
                </a:lnTo>
                <a:lnTo>
                  <a:pt x="510" y="1228"/>
                </a:lnTo>
                <a:lnTo>
                  <a:pt x="494" y="1225"/>
                </a:lnTo>
                <a:lnTo>
                  <a:pt x="480" y="1221"/>
                </a:lnTo>
                <a:lnTo>
                  <a:pt x="465" y="1220"/>
                </a:lnTo>
                <a:lnTo>
                  <a:pt x="451" y="1220"/>
                </a:lnTo>
                <a:lnTo>
                  <a:pt x="437" y="1217"/>
                </a:lnTo>
                <a:lnTo>
                  <a:pt x="429" y="1215"/>
                </a:lnTo>
                <a:lnTo>
                  <a:pt x="416" y="1215"/>
                </a:lnTo>
                <a:lnTo>
                  <a:pt x="407" y="1210"/>
                </a:lnTo>
                <a:lnTo>
                  <a:pt x="397" y="1207"/>
                </a:lnTo>
                <a:lnTo>
                  <a:pt x="381" y="1209"/>
                </a:lnTo>
                <a:lnTo>
                  <a:pt x="375" y="1210"/>
                </a:lnTo>
                <a:lnTo>
                  <a:pt x="370" y="1204"/>
                </a:lnTo>
                <a:lnTo>
                  <a:pt x="370" y="1199"/>
                </a:lnTo>
                <a:lnTo>
                  <a:pt x="372" y="1187"/>
                </a:lnTo>
                <a:lnTo>
                  <a:pt x="373" y="1185"/>
                </a:lnTo>
                <a:lnTo>
                  <a:pt x="375" y="1180"/>
                </a:lnTo>
                <a:lnTo>
                  <a:pt x="375" y="1167"/>
                </a:lnTo>
                <a:lnTo>
                  <a:pt x="375" y="1153"/>
                </a:lnTo>
                <a:lnTo>
                  <a:pt x="370" y="1142"/>
                </a:lnTo>
                <a:lnTo>
                  <a:pt x="369" y="1134"/>
                </a:lnTo>
                <a:lnTo>
                  <a:pt x="365" y="1126"/>
                </a:lnTo>
                <a:lnTo>
                  <a:pt x="359" y="1115"/>
                </a:lnTo>
                <a:lnTo>
                  <a:pt x="351" y="1107"/>
                </a:lnTo>
                <a:lnTo>
                  <a:pt x="343" y="1094"/>
                </a:lnTo>
                <a:lnTo>
                  <a:pt x="334" y="1083"/>
                </a:lnTo>
                <a:lnTo>
                  <a:pt x="326" y="1067"/>
                </a:lnTo>
                <a:lnTo>
                  <a:pt x="318" y="1056"/>
                </a:lnTo>
                <a:lnTo>
                  <a:pt x="308" y="1051"/>
                </a:lnTo>
                <a:lnTo>
                  <a:pt x="295" y="1045"/>
                </a:lnTo>
                <a:lnTo>
                  <a:pt x="291" y="1039"/>
                </a:lnTo>
                <a:lnTo>
                  <a:pt x="292" y="1031"/>
                </a:lnTo>
                <a:lnTo>
                  <a:pt x="292" y="1023"/>
                </a:lnTo>
                <a:lnTo>
                  <a:pt x="291" y="1017"/>
                </a:lnTo>
                <a:lnTo>
                  <a:pt x="289" y="1013"/>
                </a:lnTo>
                <a:lnTo>
                  <a:pt x="289" y="1010"/>
                </a:lnTo>
                <a:lnTo>
                  <a:pt x="287" y="1009"/>
                </a:lnTo>
                <a:lnTo>
                  <a:pt x="281" y="1005"/>
                </a:lnTo>
                <a:lnTo>
                  <a:pt x="276" y="1002"/>
                </a:lnTo>
                <a:lnTo>
                  <a:pt x="268" y="1004"/>
                </a:lnTo>
                <a:lnTo>
                  <a:pt x="264" y="1007"/>
                </a:lnTo>
                <a:lnTo>
                  <a:pt x="259" y="1002"/>
                </a:lnTo>
                <a:lnTo>
                  <a:pt x="241" y="986"/>
                </a:lnTo>
                <a:lnTo>
                  <a:pt x="229" y="975"/>
                </a:lnTo>
                <a:lnTo>
                  <a:pt x="227" y="969"/>
                </a:lnTo>
                <a:lnTo>
                  <a:pt x="222" y="963"/>
                </a:lnTo>
                <a:lnTo>
                  <a:pt x="211" y="955"/>
                </a:lnTo>
                <a:lnTo>
                  <a:pt x="202" y="943"/>
                </a:lnTo>
                <a:lnTo>
                  <a:pt x="195" y="939"/>
                </a:lnTo>
                <a:lnTo>
                  <a:pt x="187" y="939"/>
                </a:lnTo>
                <a:lnTo>
                  <a:pt x="179" y="939"/>
                </a:lnTo>
                <a:lnTo>
                  <a:pt x="171" y="931"/>
                </a:lnTo>
                <a:lnTo>
                  <a:pt x="159" y="920"/>
                </a:lnTo>
                <a:lnTo>
                  <a:pt x="149" y="915"/>
                </a:lnTo>
                <a:lnTo>
                  <a:pt x="138" y="910"/>
                </a:lnTo>
                <a:lnTo>
                  <a:pt x="129" y="904"/>
                </a:lnTo>
                <a:lnTo>
                  <a:pt x="122" y="897"/>
                </a:lnTo>
                <a:lnTo>
                  <a:pt x="124" y="889"/>
                </a:lnTo>
                <a:lnTo>
                  <a:pt x="125" y="885"/>
                </a:lnTo>
                <a:lnTo>
                  <a:pt x="125" y="875"/>
                </a:lnTo>
                <a:lnTo>
                  <a:pt x="127" y="867"/>
                </a:lnTo>
                <a:lnTo>
                  <a:pt x="127" y="858"/>
                </a:lnTo>
                <a:lnTo>
                  <a:pt x="133" y="850"/>
                </a:lnTo>
                <a:lnTo>
                  <a:pt x="137" y="845"/>
                </a:lnTo>
                <a:lnTo>
                  <a:pt x="137" y="837"/>
                </a:lnTo>
                <a:lnTo>
                  <a:pt x="133" y="831"/>
                </a:lnTo>
                <a:lnTo>
                  <a:pt x="125" y="823"/>
                </a:lnTo>
                <a:lnTo>
                  <a:pt x="121" y="818"/>
                </a:lnTo>
                <a:lnTo>
                  <a:pt x="119" y="812"/>
                </a:lnTo>
                <a:lnTo>
                  <a:pt x="124" y="802"/>
                </a:lnTo>
                <a:lnTo>
                  <a:pt x="117" y="791"/>
                </a:lnTo>
                <a:lnTo>
                  <a:pt x="113" y="781"/>
                </a:lnTo>
                <a:lnTo>
                  <a:pt x="111" y="772"/>
                </a:lnTo>
                <a:lnTo>
                  <a:pt x="106" y="762"/>
                </a:lnTo>
                <a:lnTo>
                  <a:pt x="100" y="754"/>
                </a:lnTo>
                <a:lnTo>
                  <a:pt x="97" y="742"/>
                </a:lnTo>
                <a:lnTo>
                  <a:pt x="89" y="727"/>
                </a:lnTo>
                <a:lnTo>
                  <a:pt x="86" y="719"/>
                </a:lnTo>
                <a:lnTo>
                  <a:pt x="81" y="708"/>
                </a:lnTo>
                <a:lnTo>
                  <a:pt x="79" y="700"/>
                </a:lnTo>
                <a:lnTo>
                  <a:pt x="76" y="694"/>
                </a:lnTo>
                <a:lnTo>
                  <a:pt x="75" y="686"/>
                </a:lnTo>
                <a:lnTo>
                  <a:pt x="71" y="678"/>
                </a:lnTo>
                <a:lnTo>
                  <a:pt x="63" y="670"/>
                </a:lnTo>
                <a:lnTo>
                  <a:pt x="65" y="664"/>
                </a:lnTo>
                <a:lnTo>
                  <a:pt x="67" y="656"/>
                </a:lnTo>
                <a:lnTo>
                  <a:pt x="68" y="648"/>
                </a:lnTo>
                <a:lnTo>
                  <a:pt x="73" y="646"/>
                </a:lnTo>
                <a:lnTo>
                  <a:pt x="78" y="643"/>
                </a:lnTo>
                <a:lnTo>
                  <a:pt x="83" y="640"/>
                </a:lnTo>
                <a:lnTo>
                  <a:pt x="84" y="640"/>
                </a:lnTo>
                <a:lnTo>
                  <a:pt x="86" y="632"/>
                </a:lnTo>
                <a:lnTo>
                  <a:pt x="86" y="626"/>
                </a:lnTo>
                <a:lnTo>
                  <a:pt x="87" y="623"/>
                </a:lnTo>
                <a:lnTo>
                  <a:pt x="87" y="618"/>
                </a:lnTo>
                <a:lnTo>
                  <a:pt x="86" y="615"/>
                </a:lnTo>
                <a:lnTo>
                  <a:pt x="84" y="608"/>
                </a:lnTo>
                <a:lnTo>
                  <a:pt x="81" y="603"/>
                </a:lnTo>
                <a:lnTo>
                  <a:pt x="73" y="599"/>
                </a:lnTo>
                <a:lnTo>
                  <a:pt x="63" y="594"/>
                </a:lnTo>
                <a:lnTo>
                  <a:pt x="60" y="588"/>
                </a:lnTo>
                <a:lnTo>
                  <a:pt x="56" y="581"/>
                </a:lnTo>
                <a:lnTo>
                  <a:pt x="54" y="575"/>
                </a:lnTo>
                <a:lnTo>
                  <a:pt x="56" y="553"/>
                </a:lnTo>
                <a:lnTo>
                  <a:pt x="56" y="541"/>
                </a:lnTo>
                <a:lnTo>
                  <a:pt x="57" y="534"/>
                </a:lnTo>
                <a:lnTo>
                  <a:pt x="57" y="522"/>
                </a:lnTo>
                <a:lnTo>
                  <a:pt x="57" y="516"/>
                </a:lnTo>
                <a:lnTo>
                  <a:pt x="59" y="507"/>
                </a:lnTo>
                <a:lnTo>
                  <a:pt x="62" y="503"/>
                </a:lnTo>
                <a:lnTo>
                  <a:pt x="65" y="507"/>
                </a:lnTo>
                <a:lnTo>
                  <a:pt x="70" y="514"/>
                </a:lnTo>
                <a:lnTo>
                  <a:pt x="71" y="521"/>
                </a:lnTo>
                <a:lnTo>
                  <a:pt x="75" y="526"/>
                </a:lnTo>
                <a:lnTo>
                  <a:pt x="78" y="529"/>
                </a:lnTo>
                <a:lnTo>
                  <a:pt x="81" y="535"/>
                </a:lnTo>
                <a:lnTo>
                  <a:pt x="84" y="538"/>
                </a:lnTo>
                <a:lnTo>
                  <a:pt x="84" y="534"/>
                </a:lnTo>
                <a:lnTo>
                  <a:pt x="84" y="526"/>
                </a:lnTo>
                <a:lnTo>
                  <a:pt x="84" y="519"/>
                </a:lnTo>
                <a:lnTo>
                  <a:pt x="83" y="511"/>
                </a:lnTo>
                <a:lnTo>
                  <a:pt x="83" y="503"/>
                </a:lnTo>
                <a:lnTo>
                  <a:pt x="87" y="497"/>
                </a:lnTo>
                <a:lnTo>
                  <a:pt x="92" y="492"/>
                </a:lnTo>
                <a:lnTo>
                  <a:pt x="102" y="484"/>
                </a:lnTo>
                <a:lnTo>
                  <a:pt x="106" y="480"/>
                </a:lnTo>
                <a:lnTo>
                  <a:pt x="100" y="472"/>
                </a:lnTo>
                <a:lnTo>
                  <a:pt x="92" y="465"/>
                </a:lnTo>
                <a:lnTo>
                  <a:pt x="83" y="462"/>
                </a:lnTo>
                <a:lnTo>
                  <a:pt x="78" y="459"/>
                </a:lnTo>
                <a:lnTo>
                  <a:pt x="75" y="459"/>
                </a:lnTo>
                <a:lnTo>
                  <a:pt x="71" y="465"/>
                </a:lnTo>
                <a:lnTo>
                  <a:pt x="70" y="472"/>
                </a:lnTo>
                <a:lnTo>
                  <a:pt x="68" y="478"/>
                </a:lnTo>
                <a:lnTo>
                  <a:pt x="67" y="481"/>
                </a:lnTo>
                <a:lnTo>
                  <a:pt x="65" y="484"/>
                </a:lnTo>
                <a:lnTo>
                  <a:pt x="63" y="489"/>
                </a:lnTo>
                <a:lnTo>
                  <a:pt x="59" y="487"/>
                </a:lnTo>
                <a:lnTo>
                  <a:pt x="57" y="484"/>
                </a:lnTo>
                <a:lnTo>
                  <a:pt x="49" y="476"/>
                </a:lnTo>
                <a:lnTo>
                  <a:pt x="43" y="472"/>
                </a:lnTo>
                <a:lnTo>
                  <a:pt x="38" y="467"/>
                </a:lnTo>
                <a:lnTo>
                  <a:pt x="35" y="459"/>
                </a:lnTo>
                <a:lnTo>
                  <a:pt x="32" y="453"/>
                </a:lnTo>
                <a:lnTo>
                  <a:pt x="33" y="446"/>
                </a:lnTo>
                <a:lnTo>
                  <a:pt x="36" y="440"/>
                </a:lnTo>
                <a:lnTo>
                  <a:pt x="38" y="429"/>
                </a:lnTo>
                <a:lnTo>
                  <a:pt x="35" y="421"/>
                </a:lnTo>
                <a:lnTo>
                  <a:pt x="30" y="416"/>
                </a:lnTo>
                <a:lnTo>
                  <a:pt x="30" y="406"/>
                </a:lnTo>
                <a:lnTo>
                  <a:pt x="27" y="400"/>
                </a:lnTo>
                <a:lnTo>
                  <a:pt x="24" y="397"/>
                </a:lnTo>
                <a:lnTo>
                  <a:pt x="22" y="389"/>
                </a:lnTo>
                <a:lnTo>
                  <a:pt x="17" y="386"/>
                </a:lnTo>
                <a:lnTo>
                  <a:pt x="16" y="376"/>
                </a:lnTo>
                <a:lnTo>
                  <a:pt x="13" y="373"/>
                </a:lnTo>
                <a:lnTo>
                  <a:pt x="13" y="368"/>
                </a:lnTo>
                <a:lnTo>
                  <a:pt x="8" y="364"/>
                </a:lnTo>
                <a:lnTo>
                  <a:pt x="8" y="356"/>
                </a:lnTo>
                <a:lnTo>
                  <a:pt x="6" y="349"/>
                </a:lnTo>
                <a:lnTo>
                  <a:pt x="8" y="344"/>
                </a:lnTo>
                <a:lnTo>
                  <a:pt x="9" y="337"/>
                </a:lnTo>
                <a:lnTo>
                  <a:pt x="9" y="325"/>
                </a:lnTo>
                <a:lnTo>
                  <a:pt x="14" y="321"/>
                </a:lnTo>
                <a:lnTo>
                  <a:pt x="14" y="311"/>
                </a:lnTo>
                <a:lnTo>
                  <a:pt x="14" y="300"/>
                </a:lnTo>
                <a:lnTo>
                  <a:pt x="14" y="292"/>
                </a:lnTo>
                <a:lnTo>
                  <a:pt x="17" y="286"/>
                </a:lnTo>
                <a:lnTo>
                  <a:pt x="17" y="278"/>
                </a:lnTo>
                <a:lnTo>
                  <a:pt x="19" y="271"/>
                </a:lnTo>
                <a:lnTo>
                  <a:pt x="24" y="268"/>
                </a:lnTo>
                <a:lnTo>
                  <a:pt x="25" y="265"/>
                </a:lnTo>
                <a:lnTo>
                  <a:pt x="25" y="259"/>
                </a:lnTo>
                <a:lnTo>
                  <a:pt x="22" y="251"/>
                </a:lnTo>
                <a:lnTo>
                  <a:pt x="21" y="244"/>
                </a:lnTo>
                <a:lnTo>
                  <a:pt x="19" y="240"/>
                </a:lnTo>
                <a:lnTo>
                  <a:pt x="19" y="227"/>
                </a:lnTo>
                <a:lnTo>
                  <a:pt x="11" y="221"/>
                </a:lnTo>
                <a:lnTo>
                  <a:pt x="11" y="211"/>
                </a:lnTo>
                <a:lnTo>
                  <a:pt x="13" y="208"/>
                </a:lnTo>
                <a:lnTo>
                  <a:pt x="9" y="203"/>
                </a:lnTo>
                <a:lnTo>
                  <a:pt x="9" y="189"/>
                </a:lnTo>
                <a:lnTo>
                  <a:pt x="6" y="186"/>
                </a:lnTo>
                <a:lnTo>
                  <a:pt x="1" y="179"/>
                </a:lnTo>
                <a:lnTo>
                  <a:pt x="0" y="173"/>
                </a:lnTo>
                <a:lnTo>
                  <a:pt x="1" y="168"/>
                </a:lnTo>
                <a:lnTo>
                  <a:pt x="5" y="160"/>
                </a:lnTo>
                <a:lnTo>
                  <a:pt x="6" y="151"/>
                </a:lnTo>
                <a:lnTo>
                  <a:pt x="16" y="147"/>
                </a:lnTo>
                <a:lnTo>
                  <a:pt x="22" y="141"/>
                </a:lnTo>
                <a:lnTo>
                  <a:pt x="30" y="132"/>
                </a:lnTo>
                <a:lnTo>
                  <a:pt x="40" y="122"/>
                </a:lnTo>
                <a:lnTo>
                  <a:pt x="46" y="109"/>
                </a:lnTo>
                <a:lnTo>
                  <a:pt x="51" y="93"/>
                </a:lnTo>
                <a:lnTo>
                  <a:pt x="56" y="81"/>
                </a:lnTo>
                <a:lnTo>
                  <a:pt x="65" y="60"/>
                </a:lnTo>
                <a:lnTo>
                  <a:pt x="67" y="41"/>
                </a:lnTo>
                <a:lnTo>
                  <a:pt x="68" y="22"/>
                </a:lnTo>
                <a:lnTo>
                  <a:pt x="71" y="6"/>
                </a:lnTo>
                <a:lnTo>
                  <a:pt x="73" y="0"/>
                </a:lnTo>
                <a:lnTo>
                  <a:pt x="386" y="105"/>
                </a:lnTo>
                <a:lnTo>
                  <a:pt x="294" y="427"/>
                </a:lnTo>
                <a:lnTo>
                  <a:pt x="305" y="445"/>
                </a:lnTo>
                <a:lnTo>
                  <a:pt x="311" y="454"/>
                </a:lnTo>
                <a:lnTo>
                  <a:pt x="318" y="464"/>
                </a:lnTo>
                <a:lnTo>
                  <a:pt x="324" y="476"/>
                </a:lnTo>
                <a:lnTo>
                  <a:pt x="335" y="497"/>
                </a:lnTo>
                <a:lnTo>
                  <a:pt x="345" y="510"/>
                </a:lnTo>
                <a:lnTo>
                  <a:pt x="365" y="545"/>
                </a:lnTo>
                <a:lnTo>
                  <a:pt x="381" y="572"/>
                </a:lnTo>
                <a:lnTo>
                  <a:pt x="407" y="610"/>
                </a:lnTo>
                <a:lnTo>
                  <a:pt x="432" y="653"/>
                </a:lnTo>
                <a:lnTo>
                  <a:pt x="456" y="686"/>
                </a:lnTo>
                <a:lnTo>
                  <a:pt x="481" y="734"/>
                </a:lnTo>
                <a:lnTo>
                  <a:pt x="504" y="769"/>
                </a:lnTo>
                <a:lnTo>
                  <a:pt x="526" y="804"/>
                </a:lnTo>
                <a:lnTo>
                  <a:pt x="581" y="893"/>
                </a:lnTo>
                <a:lnTo>
                  <a:pt x="597" y="918"/>
                </a:lnTo>
                <a:lnTo>
                  <a:pt x="615" y="943"/>
                </a:lnTo>
                <a:lnTo>
                  <a:pt x="624" y="958"/>
                </a:lnTo>
                <a:lnTo>
                  <a:pt x="632" y="970"/>
                </a:lnTo>
                <a:lnTo>
                  <a:pt x="639" y="978"/>
                </a:lnTo>
                <a:lnTo>
                  <a:pt x="639" y="986"/>
                </a:lnTo>
                <a:lnTo>
                  <a:pt x="640" y="1001"/>
                </a:lnTo>
                <a:lnTo>
                  <a:pt x="648" y="1017"/>
                </a:lnTo>
                <a:lnTo>
                  <a:pt x="650" y="1026"/>
                </a:lnTo>
                <a:lnTo>
                  <a:pt x="651" y="1036"/>
                </a:lnTo>
                <a:lnTo>
                  <a:pt x="658" y="1042"/>
                </a:lnTo>
                <a:lnTo>
                  <a:pt x="666" y="1051"/>
                </a:lnTo>
                <a:lnTo>
                  <a:pt x="667" y="1059"/>
                </a:lnTo>
                <a:lnTo>
                  <a:pt x="669" y="1066"/>
                </a:lnTo>
                <a:lnTo>
                  <a:pt x="667" y="1072"/>
                </a:lnTo>
                <a:lnTo>
                  <a:pt x="664" y="1075"/>
                </a:lnTo>
                <a:lnTo>
                  <a:pt x="659" y="1078"/>
                </a:lnTo>
                <a:lnTo>
                  <a:pt x="653" y="1080"/>
                </a:lnTo>
                <a:lnTo>
                  <a:pt x="645" y="1085"/>
                </a:lnTo>
                <a:lnTo>
                  <a:pt x="639" y="1091"/>
                </a:lnTo>
                <a:lnTo>
                  <a:pt x="637" y="1096"/>
                </a:lnTo>
                <a:lnTo>
                  <a:pt x="631" y="1099"/>
                </a:lnTo>
                <a:lnTo>
                  <a:pt x="628" y="1102"/>
                </a:lnTo>
                <a:lnTo>
                  <a:pt x="626" y="1110"/>
                </a:lnTo>
                <a:lnTo>
                  <a:pt x="626" y="1120"/>
                </a:lnTo>
                <a:lnTo>
                  <a:pt x="628" y="1126"/>
                </a:lnTo>
                <a:lnTo>
                  <a:pt x="623" y="1133"/>
                </a:lnTo>
                <a:lnTo>
                  <a:pt x="621" y="1137"/>
                </a:lnTo>
                <a:lnTo>
                  <a:pt x="621" y="1142"/>
                </a:lnTo>
                <a:lnTo>
                  <a:pt x="616" y="1144"/>
                </a:lnTo>
                <a:lnTo>
                  <a:pt x="613" y="1147"/>
                </a:lnTo>
                <a:lnTo>
                  <a:pt x="612" y="1150"/>
                </a:lnTo>
                <a:lnTo>
                  <a:pt x="607" y="1155"/>
                </a:lnTo>
                <a:lnTo>
                  <a:pt x="604" y="1156"/>
                </a:lnTo>
                <a:lnTo>
                  <a:pt x="597" y="1161"/>
                </a:lnTo>
                <a:lnTo>
                  <a:pt x="596" y="1163"/>
                </a:lnTo>
                <a:lnTo>
                  <a:pt x="594" y="1166"/>
                </a:lnTo>
                <a:lnTo>
                  <a:pt x="596" y="1169"/>
                </a:lnTo>
                <a:lnTo>
                  <a:pt x="597" y="1172"/>
                </a:lnTo>
                <a:lnTo>
                  <a:pt x="597" y="1177"/>
                </a:lnTo>
                <a:lnTo>
                  <a:pt x="596" y="1183"/>
                </a:lnTo>
                <a:lnTo>
                  <a:pt x="594" y="1188"/>
                </a:lnTo>
                <a:lnTo>
                  <a:pt x="591" y="1191"/>
                </a:lnTo>
                <a:lnTo>
                  <a:pt x="597" y="1196"/>
                </a:lnTo>
                <a:lnTo>
                  <a:pt x="600" y="1201"/>
                </a:lnTo>
                <a:lnTo>
                  <a:pt x="605" y="1204"/>
                </a:lnTo>
                <a:lnTo>
                  <a:pt x="610" y="1209"/>
                </a:lnTo>
                <a:lnTo>
                  <a:pt x="612" y="1212"/>
                </a:lnTo>
                <a:lnTo>
                  <a:pt x="612" y="1215"/>
                </a:lnTo>
                <a:lnTo>
                  <a:pt x="610" y="1218"/>
                </a:lnTo>
                <a:lnTo>
                  <a:pt x="608" y="1223"/>
                </a:lnTo>
                <a:lnTo>
                  <a:pt x="605" y="1228"/>
                </a:lnTo>
                <a:lnTo>
                  <a:pt x="602" y="1231"/>
                </a:lnTo>
                <a:lnTo>
                  <a:pt x="599" y="1231"/>
                </a:lnTo>
                <a:lnTo>
                  <a:pt x="594" y="1231"/>
                </a:lnTo>
                <a:lnTo>
                  <a:pt x="591" y="1229"/>
                </a:lnTo>
                <a:lnTo>
                  <a:pt x="588" y="1228"/>
                </a:lnTo>
                <a:lnTo>
                  <a:pt x="585" y="1231"/>
                </a:lnTo>
                <a:lnTo>
                  <a:pt x="581" y="1233"/>
                </a:lnTo>
                <a:lnTo>
                  <a:pt x="580" y="1234"/>
                </a:lnTo>
                <a:lnTo>
                  <a:pt x="577" y="1236"/>
                </a:lnTo>
                <a:lnTo>
                  <a:pt x="572" y="1236"/>
                </a:lnTo>
                <a:close/>
              </a:path>
            </a:pathLst>
          </a:custGeom>
          <a:solidFill>
            <a:schemeClr val="bg1">
              <a:lumMod val="75000"/>
            </a:schemeClr>
          </a:solidFill>
          <a:ln w="0">
            <a:solidFill>
              <a:srgbClr val="808080"/>
            </a:solidFill>
            <a:round/>
            <a:headEnd/>
            <a:tailEnd/>
          </a:ln>
        </p:spPr>
        <p:txBody>
          <a:bodyPr lIns="101798" tIns="50899" rIns="101798" bIns="50899"/>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endParaRPr>
          </a:p>
        </p:txBody>
      </p:sp>
      <p:sp>
        <p:nvSpPr>
          <p:cNvPr id="69" name="State: Arkansas"/>
          <p:cNvSpPr>
            <a:spLocks/>
          </p:cNvSpPr>
          <p:nvPr/>
        </p:nvSpPr>
        <p:spPr bwMode="auto">
          <a:xfrm>
            <a:off x="4273877" y="4384796"/>
            <a:ext cx="652424" cy="613743"/>
          </a:xfrm>
          <a:custGeom>
            <a:avLst/>
            <a:gdLst>
              <a:gd name="T0" fmla="*/ 2147483647 w 437"/>
              <a:gd name="T1" fmla="*/ 0 h 399"/>
              <a:gd name="T2" fmla="*/ 2147483647 w 437"/>
              <a:gd name="T3" fmla="*/ 2147483647 h 399"/>
              <a:gd name="T4" fmla="*/ 2147483647 w 437"/>
              <a:gd name="T5" fmla="*/ 2147483647 h 399"/>
              <a:gd name="T6" fmla="*/ 2147483647 w 437"/>
              <a:gd name="T7" fmla="*/ 2147483647 h 399"/>
              <a:gd name="T8" fmla="*/ 2147483647 w 437"/>
              <a:gd name="T9" fmla="*/ 2147483647 h 399"/>
              <a:gd name="T10" fmla="*/ 2147483647 w 437"/>
              <a:gd name="T11" fmla="*/ 2147483647 h 399"/>
              <a:gd name="T12" fmla="*/ 2147483647 w 437"/>
              <a:gd name="T13" fmla="*/ 2147483647 h 399"/>
              <a:gd name="T14" fmla="*/ 2147483647 w 437"/>
              <a:gd name="T15" fmla="*/ 2147483647 h 399"/>
              <a:gd name="T16" fmla="*/ 2147483647 w 437"/>
              <a:gd name="T17" fmla="*/ 2147483647 h 399"/>
              <a:gd name="T18" fmla="*/ 2147483647 w 437"/>
              <a:gd name="T19" fmla="*/ 2147483647 h 399"/>
              <a:gd name="T20" fmla="*/ 2147483647 w 437"/>
              <a:gd name="T21" fmla="*/ 2147483647 h 399"/>
              <a:gd name="T22" fmla="*/ 2147483647 w 437"/>
              <a:gd name="T23" fmla="*/ 2147483647 h 399"/>
              <a:gd name="T24" fmla="*/ 2147483647 w 437"/>
              <a:gd name="T25" fmla="*/ 2147483647 h 399"/>
              <a:gd name="T26" fmla="*/ 2147483647 w 437"/>
              <a:gd name="T27" fmla="*/ 2147483647 h 399"/>
              <a:gd name="T28" fmla="*/ 2147483647 w 437"/>
              <a:gd name="T29" fmla="*/ 2147483647 h 399"/>
              <a:gd name="T30" fmla="*/ 2147483647 w 437"/>
              <a:gd name="T31" fmla="*/ 2147483647 h 399"/>
              <a:gd name="T32" fmla="*/ 2147483647 w 437"/>
              <a:gd name="T33" fmla="*/ 2147483647 h 399"/>
              <a:gd name="T34" fmla="*/ 2147483647 w 437"/>
              <a:gd name="T35" fmla="*/ 2147483647 h 399"/>
              <a:gd name="T36" fmla="*/ 2147483647 w 437"/>
              <a:gd name="T37" fmla="*/ 2147483647 h 399"/>
              <a:gd name="T38" fmla="*/ 2147483647 w 437"/>
              <a:gd name="T39" fmla="*/ 2147483647 h 399"/>
              <a:gd name="T40" fmla="*/ 2147483647 w 437"/>
              <a:gd name="T41" fmla="*/ 2147483647 h 399"/>
              <a:gd name="T42" fmla="*/ 2147483647 w 437"/>
              <a:gd name="T43" fmla="*/ 2147483647 h 399"/>
              <a:gd name="T44" fmla="*/ 2147483647 w 437"/>
              <a:gd name="T45" fmla="*/ 2147483647 h 399"/>
              <a:gd name="T46" fmla="*/ 2147483647 w 437"/>
              <a:gd name="T47" fmla="*/ 2147483647 h 399"/>
              <a:gd name="T48" fmla="*/ 2147483647 w 437"/>
              <a:gd name="T49" fmla="*/ 2147483647 h 399"/>
              <a:gd name="T50" fmla="*/ 2147483647 w 437"/>
              <a:gd name="T51" fmla="*/ 2147483647 h 399"/>
              <a:gd name="T52" fmla="*/ 2147483647 w 437"/>
              <a:gd name="T53" fmla="*/ 2147483647 h 399"/>
              <a:gd name="T54" fmla="*/ 2147483647 w 437"/>
              <a:gd name="T55" fmla="*/ 2147483647 h 399"/>
              <a:gd name="T56" fmla="*/ 2147483647 w 437"/>
              <a:gd name="T57" fmla="*/ 2147483647 h 399"/>
              <a:gd name="T58" fmla="*/ 2147483647 w 437"/>
              <a:gd name="T59" fmla="*/ 2147483647 h 399"/>
              <a:gd name="T60" fmla="*/ 2147483647 w 437"/>
              <a:gd name="T61" fmla="*/ 2147483647 h 399"/>
              <a:gd name="T62" fmla="*/ 2147483647 w 437"/>
              <a:gd name="T63" fmla="*/ 2147483647 h 399"/>
              <a:gd name="T64" fmla="*/ 2147483647 w 437"/>
              <a:gd name="T65" fmla="*/ 2147483647 h 399"/>
              <a:gd name="T66" fmla="*/ 2147483647 w 437"/>
              <a:gd name="T67" fmla="*/ 2147483647 h 399"/>
              <a:gd name="T68" fmla="*/ 2147483647 w 437"/>
              <a:gd name="T69" fmla="*/ 2147483647 h 399"/>
              <a:gd name="T70" fmla="*/ 2147483647 w 437"/>
              <a:gd name="T71" fmla="*/ 2147483647 h 399"/>
              <a:gd name="T72" fmla="*/ 2147483647 w 437"/>
              <a:gd name="T73" fmla="*/ 2147483647 h 399"/>
              <a:gd name="T74" fmla="*/ 2147483647 w 437"/>
              <a:gd name="T75" fmla="*/ 2147483647 h 399"/>
              <a:gd name="T76" fmla="*/ 2147483647 w 437"/>
              <a:gd name="T77" fmla="*/ 2147483647 h 399"/>
              <a:gd name="T78" fmla="*/ 2147483647 w 437"/>
              <a:gd name="T79" fmla="*/ 2147483647 h 399"/>
              <a:gd name="T80" fmla="*/ 2147483647 w 437"/>
              <a:gd name="T81" fmla="*/ 2147483647 h 399"/>
              <a:gd name="T82" fmla="*/ 2147483647 w 437"/>
              <a:gd name="T83" fmla="*/ 2147483647 h 399"/>
              <a:gd name="T84" fmla="*/ 2147483647 w 437"/>
              <a:gd name="T85" fmla="*/ 2147483647 h 399"/>
              <a:gd name="T86" fmla="*/ 2147483647 w 437"/>
              <a:gd name="T87" fmla="*/ 2147483647 h 399"/>
              <a:gd name="T88" fmla="*/ 2147483647 w 437"/>
              <a:gd name="T89" fmla="*/ 2147483647 h 399"/>
              <a:gd name="T90" fmla="*/ 2147483647 w 437"/>
              <a:gd name="T91" fmla="*/ 2147483647 h 399"/>
              <a:gd name="T92" fmla="*/ 0 w 437"/>
              <a:gd name="T93" fmla="*/ 2147483647 h 39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37"/>
              <a:gd name="T142" fmla="*/ 0 h 399"/>
              <a:gd name="T143" fmla="*/ 437 w 437"/>
              <a:gd name="T144" fmla="*/ 399 h 39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37" h="399">
                <a:moveTo>
                  <a:pt x="0" y="13"/>
                </a:moveTo>
                <a:lnTo>
                  <a:pt x="391" y="0"/>
                </a:lnTo>
                <a:lnTo>
                  <a:pt x="397" y="8"/>
                </a:lnTo>
                <a:lnTo>
                  <a:pt x="400" y="11"/>
                </a:lnTo>
                <a:lnTo>
                  <a:pt x="402" y="13"/>
                </a:lnTo>
                <a:lnTo>
                  <a:pt x="402" y="23"/>
                </a:lnTo>
                <a:lnTo>
                  <a:pt x="400" y="27"/>
                </a:lnTo>
                <a:lnTo>
                  <a:pt x="397" y="34"/>
                </a:lnTo>
                <a:lnTo>
                  <a:pt x="391" y="40"/>
                </a:lnTo>
                <a:lnTo>
                  <a:pt x="386" y="45"/>
                </a:lnTo>
                <a:lnTo>
                  <a:pt x="381" y="48"/>
                </a:lnTo>
                <a:lnTo>
                  <a:pt x="378" y="53"/>
                </a:lnTo>
                <a:lnTo>
                  <a:pt x="375" y="57"/>
                </a:lnTo>
                <a:lnTo>
                  <a:pt x="427" y="56"/>
                </a:lnTo>
                <a:lnTo>
                  <a:pt x="434" y="61"/>
                </a:lnTo>
                <a:lnTo>
                  <a:pt x="437" y="65"/>
                </a:lnTo>
                <a:lnTo>
                  <a:pt x="432" y="75"/>
                </a:lnTo>
                <a:lnTo>
                  <a:pt x="427" y="80"/>
                </a:lnTo>
                <a:lnTo>
                  <a:pt x="421" y="84"/>
                </a:lnTo>
                <a:lnTo>
                  <a:pt x="418" y="88"/>
                </a:lnTo>
                <a:lnTo>
                  <a:pt x="418" y="96"/>
                </a:lnTo>
                <a:lnTo>
                  <a:pt x="419" y="99"/>
                </a:lnTo>
                <a:lnTo>
                  <a:pt x="418" y="105"/>
                </a:lnTo>
                <a:lnTo>
                  <a:pt x="416" y="110"/>
                </a:lnTo>
                <a:lnTo>
                  <a:pt x="411" y="111"/>
                </a:lnTo>
                <a:lnTo>
                  <a:pt x="408" y="115"/>
                </a:lnTo>
                <a:lnTo>
                  <a:pt x="408" y="118"/>
                </a:lnTo>
                <a:lnTo>
                  <a:pt x="405" y="123"/>
                </a:lnTo>
                <a:lnTo>
                  <a:pt x="403" y="124"/>
                </a:lnTo>
                <a:lnTo>
                  <a:pt x="400" y="129"/>
                </a:lnTo>
                <a:lnTo>
                  <a:pt x="402" y="135"/>
                </a:lnTo>
                <a:lnTo>
                  <a:pt x="407" y="139"/>
                </a:lnTo>
                <a:lnTo>
                  <a:pt x="408" y="145"/>
                </a:lnTo>
                <a:lnTo>
                  <a:pt x="405" y="154"/>
                </a:lnTo>
                <a:lnTo>
                  <a:pt x="400" y="161"/>
                </a:lnTo>
                <a:lnTo>
                  <a:pt x="395" y="164"/>
                </a:lnTo>
                <a:lnTo>
                  <a:pt x="391" y="167"/>
                </a:lnTo>
                <a:lnTo>
                  <a:pt x="389" y="173"/>
                </a:lnTo>
                <a:lnTo>
                  <a:pt x="391" y="177"/>
                </a:lnTo>
                <a:lnTo>
                  <a:pt x="388" y="183"/>
                </a:lnTo>
                <a:lnTo>
                  <a:pt x="383" y="185"/>
                </a:lnTo>
                <a:lnTo>
                  <a:pt x="378" y="188"/>
                </a:lnTo>
                <a:lnTo>
                  <a:pt x="376" y="193"/>
                </a:lnTo>
                <a:lnTo>
                  <a:pt x="375" y="197"/>
                </a:lnTo>
                <a:lnTo>
                  <a:pt x="370" y="200"/>
                </a:lnTo>
                <a:lnTo>
                  <a:pt x="365" y="202"/>
                </a:lnTo>
                <a:lnTo>
                  <a:pt x="365" y="207"/>
                </a:lnTo>
                <a:lnTo>
                  <a:pt x="364" y="213"/>
                </a:lnTo>
                <a:lnTo>
                  <a:pt x="364" y="216"/>
                </a:lnTo>
                <a:lnTo>
                  <a:pt x="367" y="220"/>
                </a:lnTo>
                <a:lnTo>
                  <a:pt x="367" y="224"/>
                </a:lnTo>
                <a:lnTo>
                  <a:pt x="367" y="231"/>
                </a:lnTo>
                <a:lnTo>
                  <a:pt x="364" y="235"/>
                </a:lnTo>
                <a:lnTo>
                  <a:pt x="359" y="237"/>
                </a:lnTo>
                <a:lnTo>
                  <a:pt x="353" y="242"/>
                </a:lnTo>
                <a:lnTo>
                  <a:pt x="348" y="243"/>
                </a:lnTo>
                <a:lnTo>
                  <a:pt x="346" y="248"/>
                </a:lnTo>
                <a:lnTo>
                  <a:pt x="345" y="253"/>
                </a:lnTo>
                <a:lnTo>
                  <a:pt x="341" y="261"/>
                </a:lnTo>
                <a:lnTo>
                  <a:pt x="338" y="267"/>
                </a:lnTo>
                <a:lnTo>
                  <a:pt x="335" y="272"/>
                </a:lnTo>
                <a:lnTo>
                  <a:pt x="332" y="280"/>
                </a:lnTo>
                <a:lnTo>
                  <a:pt x="329" y="286"/>
                </a:lnTo>
                <a:lnTo>
                  <a:pt x="326" y="291"/>
                </a:lnTo>
                <a:lnTo>
                  <a:pt x="324" y="299"/>
                </a:lnTo>
                <a:lnTo>
                  <a:pt x="322" y="307"/>
                </a:lnTo>
                <a:lnTo>
                  <a:pt x="319" y="312"/>
                </a:lnTo>
                <a:lnTo>
                  <a:pt x="316" y="316"/>
                </a:lnTo>
                <a:lnTo>
                  <a:pt x="314" y="323"/>
                </a:lnTo>
                <a:lnTo>
                  <a:pt x="318" y="329"/>
                </a:lnTo>
                <a:lnTo>
                  <a:pt x="319" y="334"/>
                </a:lnTo>
                <a:lnTo>
                  <a:pt x="319" y="342"/>
                </a:lnTo>
                <a:lnTo>
                  <a:pt x="321" y="348"/>
                </a:lnTo>
                <a:lnTo>
                  <a:pt x="319" y="356"/>
                </a:lnTo>
                <a:lnTo>
                  <a:pt x="322" y="361"/>
                </a:lnTo>
                <a:lnTo>
                  <a:pt x="327" y="366"/>
                </a:lnTo>
                <a:lnTo>
                  <a:pt x="327" y="369"/>
                </a:lnTo>
                <a:lnTo>
                  <a:pt x="324" y="380"/>
                </a:lnTo>
                <a:lnTo>
                  <a:pt x="321" y="385"/>
                </a:lnTo>
                <a:lnTo>
                  <a:pt x="322" y="390"/>
                </a:lnTo>
                <a:lnTo>
                  <a:pt x="322" y="393"/>
                </a:lnTo>
                <a:lnTo>
                  <a:pt x="55" y="399"/>
                </a:lnTo>
                <a:lnTo>
                  <a:pt x="55" y="340"/>
                </a:lnTo>
                <a:lnTo>
                  <a:pt x="51" y="336"/>
                </a:lnTo>
                <a:lnTo>
                  <a:pt x="44" y="332"/>
                </a:lnTo>
                <a:lnTo>
                  <a:pt x="38" y="334"/>
                </a:lnTo>
                <a:lnTo>
                  <a:pt x="32" y="337"/>
                </a:lnTo>
                <a:lnTo>
                  <a:pt x="28" y="339"/>
                </a:lnTo>
                <a:lnTo>
                  <a:pt x="24" y="337"/>
                </a:lnTo>
                <a:lnTo>
                  <a:pt x="22" y="334"/>
                </a:lnTo>
                <a:lnTo>
                  <a:pt x="17" y="331"/>
                </a:lnTo>
                <a:lnTo>
                  <a:pt x="14" y="324"/>
                </a:lnTo>
                <a:lnTo>
                  <a:pt x="11" y="323"/>
                </a:lnTo>
                <a:lnTo>
                  <a:pt x="0" y="13"/>
                </a:lnTo>
                <a:close/>
              </a:path>
            </a:pathLst>
          </a:custGeom>
          <a:solidFill>
            <a:schemeClr val="bg1">
              <a:lumMod val="95000"/>
            </a:schemeClr>
          </a:solidFill>
          <a:ln w="0" algn="ctr">
            <a:solidFill>
              <a:srgbClr val="808080"/>
            </a:solidFill>
            <a:round/>
            <a:headEnd/>
            <a:tailEnd/>
          </a:ln>
        </p:spPr>
        <p:txBody>
          <a:bodyPr lIns="101798" tIns="50899" rIns="101798" bIns="50899"/>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endParaRPr>
          </a:p>
        </p:txBody>
      </p:sp>
      <p:sp>
        <p:nvSpPr>
          <p:cNvPr id="70" name="State: Arizona"/>
          <p:cNvSpPr>
            <a:spLocks/>
          </p:cNvSpPr>
          <p:nvPr/>
        </p:nvSpPr>
        <p:spPr bwMode="auto">
          <a:xfrm>
            <a:off x="1531316" y="4034079"/>
            <a:ext cx="879353" cy="1087508"/>
          </a:xfrm>
          <a:custGeom>
            <a:avLst/>
            <a:gdLst>
              <a:gd name="T0" fmla="*/ 2147483647 w 589"/>
              <a:gd name="T1" fmla="*/ 2147483647 h 707"/>
              <a:gd name="T2" fmla="*/ 2147483647 w 589"/>
              <a:gd name="T3" fmla="*/ 2147483647 h 707"/>
              <a:gd name="T4" fmla="*/ 2147483647 w 589"/>
              <a:gd name="T5" fmla="*/ 2147483647 h 707"/>
              <a:gd name="T6" fmla="*/ 0 w 589"/>
              <a:gd name="T7" fmla="*/ 2147483647 h 707"/>
              <a:gd name="T8" fmla="*/ 2147483647 w 589"/>
              <a:gd name="T9" fmla="*/ 2147483647 h 707"/>
              <a:gd name="T10" fmla="*/ 2147483647 w 589"/>
              <a:gd name="T11" fmla="*/ 2147483647 h 707"/>
              <a:gd name="T12" fmla="*/ 2147483647 w 589"/>
              <a:gd name="T13" fmla="*/ 2147483647 h 707"/>
              <a:gd name="T14" fmla="*/ 2147483647 w 589"/>
              <a:gd name="T15" fmla="*/ 2147483647 h 707"/>
              <a:gd name="T16" fmla="*/ 2147483647 w 589"/>
              <a:gd name="T17" fmla="*/ 2147483647 h 707"/>
              <a:gd name="T18" fmla="*/ 2147483647 w 589"/>
              <a:gd name="T19" fmla="*/ 2147483647 h 707"/>
              <a:gd name="T20" fmla="*/ 2147483647 w 589"/>
              <a:gd name="T21" fmla="*/ 2147483647 h 707"/>
              <a:gd name="T22" fmla="*/ 2147483647 w 589"/>
              <a:gd name="T23" fmla="*/ 2147483647 h 707"/>
              <a:gd name="T24" fmla="*/ 2147483647 w 589"/>
              <a:gd name="T25" fmla="*/ 2147483647 h 707"/>
              <a:gd name="T26" fmla="*/ 2147483647 w 589"/>
              <a:gd name="T27" fmla="*/ 2147483647 h 707"/>
              <a:gd name="T28" fmla="*/ 2147483647 w 589"/>
              <a:gd name="T29" fmla="*/ 2147483647 h 707"/>
              <a:gd name="T30" fmla="*/ 2147483647 w 589"/>
              <a:gd name="T31" fmla="*/ 2147483647 h 707"/>
              <a:gd name="T32" fmla="*/ 2147483647 w 589"/>
              <a:gd name="T33" fmla="*/ 2147483647 h 707"/>
              <a:gd name="T34" fmla="*/ 2147483647 w 589"/>
              <a:gd name="T35" fmla="*/ 2147483647 h 707"/>
              <a:gd name="T36" fmla="*/ 2147483647 w 589"/>
              <a:gd name="T37" fmla="*/ 2147483647 h 707"/>
              <a:gd name="T38" fmla="*/ 2147483647 w 589"/>
              <a:gd name="T39" fmla="*/ 2147483647 h 707"/>
              <a:gd name="T40" fmla="*/ 2147483647 w 589"/>
              <a:gd name="T41" fmla="*/ 2147483647 h 707"/>
              <a:gd name="T42" fmla="*/ 2147483647 w 589"/>
              <a:gd name="T43" fmla="*/ 2147483647 h 707"/>
              <a:gd name="T44" fmla="*/ 2147483647 w 589"/>
              <a:gd name="T45" fmla="*/ 2147483647 h 707"/>
              <a:gd name="T46" fmla="*/ 2147483647 w 589"/>
              <a:gd name="T47" fmla="*/ 2147483647 h 707"/>
              <a:gd name="T48" fmla="*/ 2147483647 w 589"/>
              <a:gd name="T49" fmla="*/ 2147483647 h 707"/>
              <a:gd name="T50" fmla="*/ 2147483647 w 589"/>
              <a:gd name="T51" fmla="*/ 2147483647 h 707"/>
              <a:gd name="T52" fmla="*/ 2147483647 w 589"/>
              <a:gd name="T53" fmla="*/ 2147483647 h 707"/>
              <a:gd name="T54" fmla="*/ 2147483647 w 589"/>
              <a:gd name="T55" fmla="*/ 2147483647 h 707"/>
              <a:gd name="T56" fmla="*/ 2147483647 w 589"/>
              <a:gd name="T57" fmla="*/ 2147483647 h 707"/>
              <a:gd name="T58" fmla="*/ 2147483647 w 589"/>
              <a:gd name="T59" fmla="*/ 2147483647 h 707"/>
              <a:gd name="T60" fmla="*/ 2147483647 w 589"/>
              <a:gd name="T61" fmla="*/ 2147483647 h 707"/>
              <a:gd name="T62" fmla="*/ 2147483647 w 589"/>
              <a:gd name="T63" fmla="*/ 2147483647 h 707"/>
              <a:gd name="T64" fmla="*/ 2147483647 w 589"/>
              <a:gd name="T65" fmla="*/ 0 h 707"/>
              <a:gd name="T66" fmla="*/ 2147483647 w 589"/>
              <a:gd name="T67" fmla="*/ 2147483647 h 707"/>
              <a:gd name="T68" fmla="*/ 2147483647 w 589"/>
              <a:gd name="T69" fmla="*/ 2147483647 h 707"/>
              <a:gd name="T70" fmla="*/ 2147483647 w 589"/>
              <a:gd name="T71" fmla="*/ 2147483647 h 707"/>
              <a:gd name="T72" fmla="*/ 2147483647 w 589"/>
              <a:gd name="T73" fmla="*/ 2147483647 h 707"/>
              <a:gd name="T74" fmla="*/ 2147483647 w 589"/>
              <a:gd name="T75" fmla="*/ 2147483647 h 707"/>
              <a:gd name="T76" fmla="*/ 2147483647 w 589"/>
              <a:gd name="T77" fmla="*/ 2147483647 h 707"/>
              <a:gd name="T78" fmla="*/ 2147483647 w 589"/>
              <a:gd name="T79" fmla="*/ 2147483647 h 707"/>
              <a:gd name="T80" fmla="*/ 2147483647 w 589"/>
              <a:gd name="T81" fmla="*/ 2147483647 h 707"/>
              <a:gd name="T82" fmla="*/ 2147483647 w 589"/>
              <a:gd name="T83" fmla="*/ 2147483647 h 707"/>
              <a:gd name="T84" fmla="*/ 2147483647 w 589"/>
              <a:gd name="T85" fmla="*/ 2147483647 h 707"/>
              <a:gd name="T86" fmla="*/ 2147483647 w 589"/>
              <a:gd name="T87" fmla="*/ 2147483647 h 707"/>
              <a:gd name="T88" fmla="*/ 2147483647 w 589"/>
              <a:gd name="T89" fmla="*/ 2147483647 h 70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89"/>
              <a:gd name="T136" fmla="*/ 0 h 707"/>
              <a:gd name="T137" fmla="*/ 589 w 589"/>
              <a:gd name="T138" fmla="*/ 707 h 707"/>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89" h="707">
                <a:moveTo>
                  <a:pt x="505" y="707"/>
                </a:moveTo>
                <a:lnTo>
                  <a:pt x="357" y="681"/>
                </a:lnTo>
                <a:lnTo>
                  <a:pt x="334" y="680"/>
                </a:lnTo>
                <a:lnTo>
                  <a:pt x="313" y="670"/>
                </a:lnTo>
                <a:lnTo>
                  <a:pt x="260" y="635"/>
                </a:lnTo>
                <a:lnTo>
                  <a:pt x="216" y="607"/>
                </a:lnTo>
                <a:lnTo>
                  <a:pt x="183" y="586"/>
                </a:lnTo>
                <a:lnTo>
                  <a:pt x="148" y="567"/>
                </a:lnTo>
                <a:lnTo>
                  <a:pt x="119" y="548"/>
                </a:lnTo>
                <a:lnTo>
                  <a:pt x="70" y="516"/>
                </a:lnTo>
                <a:lnTo>
                  <a:pt x="6" y="475"/>
                </a:lnTo>
                <a:lnTo>
                  <a:pt x="0" y="464"/>
                </a:lnTo>
                <a:lnTo>
                  <a:pt x="5" y="462"/>
                </a:lnTo>
                <a:lnTo>
                  <a:pt x="13" y="459"/>
                </a:lnTo>
                <a:lnTo>
                  <a:pt x="16" y="456"/>
                </a:lnTo>
                <a:lnTo>
                  <a:pt x="19" y="457"/>
                </a:lnTo>
                <a:lnTo>
                  <a:pt x="22" y="459"/>
                </a:lnTo>
                <a:lnTo>
                  <a:pt x="27" y="459"/>
                </a:lnTo>
                <a:lnTo>
                  <a:pt x="30" y="459"/>
                </a:lnTo>
                <a:lnTo>
                  <a:pt x="35" y="456"/>
                </a:lnTo>
                <a:lnTo>
                  <a:pt x="36" y="451"/>
                </a:lnTo>
                <a:lnTo>
                  <a:pt x="38" y="446"/>
                </a:lnTo>
                <a:lnTo>
                  <a:pt x="40" y="440"/>
                </a:lnTo>
                <a:lnTo>
                  <a:pt x="38" y="437"/>
                </a:lnTo>
                <a:lnTo>
                  <a:pt x="27" y="427"/>
                </a:lnTo>
                <a:lnTo>
                  <a:pt x="24" y="424"/>
                </a:lnTo>
                <a:lnTo>
                  <a:pt x="19" y="419"/>
                </a:lnTo>
                <a:lnTo>
                  <a:pt x="19" y="416"/>
                </a:lnTo>
                <a:lnTo>
                  <a:pt x="22" y="413"/>
                </a:lnTo>
                <a:lnTo>
                  <a:pt x="24" y="410"/>
                </a:lnTo>
                <a:lnTo>
                  <a:pt x="25" y="405"/>
                </a:lnTo>
                <a:lnTo>
                  <a:pt x="25" y="400"/>
                </a:lnTo>
                <a:lnTo>
                  <a:pt x="22" y="394"/>
                </a:lnTo>
                <a:lnTo>
                  <a:pt x="24" y="391"/>
                </a:lnTo>
                <a:lnTo>
                  <a:pt x="27" y="388"/>
                </a:lnTo>
                <a:lnTo>
                  <a:pt x="32" y="384"/>
                </a:lnTo>
                <a:lnTo>
                  <a:pt x="36" y="380"/>
                </a:lnTo>
                <a:lnTo>
                  <a:pt x="44" y="372"/>
                </a:lnTo>
                <a:lnTo>
                  <a:pt x="49" y="370"/>
                </a:lnTo>
                <a:lnTo>
                  <a:pt x="49" y="365"/>
                </a:lnTo>
                <a:lnTo>
                  <a:pt x="51" y="361"/>
                </a:lnTo>
                <a:lnTo>
                  <a:pt x="54" y="356"/>
                </a:lnTo>
                <a:lnTo>
                  <a:pt x="56" y="346"/>
                </a:lnTo>
                <a:lnTo>
                  <a:pt x="54" y="338"/>
                </a:lnTo>
                <a:lnTo>
                  <a:pt x="56" y="330"/>
                </a:lnTo>
                <a:lnTo>
                  <a:pt x="63" y="324"/>
                </a:lnTo>
                <a:lnTo>
                  <a:pt x="67" y="319"/>
                </a:lnTo>
                <a:lnTo>
                  <a:pt x="73" y="313"/>
                </a:lnTo>
                <a:lnTo>
                  <a:pt x="79" y="306"/>
                </a:lnTo>
                <a:lnTo>
                  <a:pt x="87" y="305"/>
                </a:lnTo>
                <a:lnTo>
                  <a:pt x="95" y="300"/>
                </a:lnTo>
                <a:lnTo>
                  <a:pt x="97" y="292"/>
                </a:lnTo>
                <a:lnTo>
                  <a:pt x="95" y="283"/>
                </a:lnTo>
                <a:lnTo>
                  <a:pt x="92" y="275"/>
                </a:lnTo>
                <a:lnTo>
                  <a:pt x="84" y="267"/>
                </a:lnTo>
                <a:lnTo>
                  <a:pt x="79" y="260"/>
                </a:lnTo>
                <a:lnTo>
                  <a:pt x="78" y="254"/>
                </a:lnTo>
                <a:lnTo>
                  <a:pt x="76" y="245"/>
                </a:lnTo>
                <a:lnTo>
                  <a:pt x="70" y="232"/>
                </a:lnTo>
                <a:lnTo>
                  <a:pt x="68" y="229"/>
                </a:lnTo>
                <a:lnTo>
                  <a:pt x="67" y="221"/>
                </a:lnTo>
                <a:lnTo>
                  <a:pt x="67" y="214"/>
                </a:lnTo>
                <a:lnTo>
                  <a:pt x="70" y="208"/>
                </a:lnTo>
                <a:lnTo>
                  <a:pt x="70" y="202"/>
                </a:lnTo>
                <a:lnTo>
                  <a:pt x="73" y="197"/>
                </a:lnTo>
                <a:lnTo>
                  <a:pt x="78" y="194"/>
                </a:lnTo>
                <a:lnTo>
                  <a:pt x="79" y="186"/>
                </a:lnTo>
                <a:lnTo>
                  <a:pt x="79" y="179"/>
                </a:lnTo>
                <a:lnTo>
                  <a:pt x="79" y="170"/>
                </a:lnTo>
                <a:lnTo>
                  <a:pt x="79" y="135"/>
                </a:lnTo>
                <a:lnTo>
                  <a:pt x="81" y="129"/>
                </a:lnTo>
                <a:lnTo>
                  <a:pt x="83" y="124"/>
                </a:lnTo>
                <a:lnTo>
                  <a:pt x="86" y="119"/>
                </a:lnTo>
                <a:lnTo>
                  <a:pt x="86" y="111"/>
                </a:lnTo>
                <a:lnTo>
                  <a:pt x="84" y="106"/>
                </a:lnTo>
                <a:lnTo>
                  <a:pt x="84" y="103"/>
                </a:lnTo>
                <a:lnTo>
                  <a:pt x="89" y="95"/>
                </a:lnTo>
                <a:lnTo>
                  <a:pt x="92" y="90"/>
                </a:lnTo>
                <a:lnTo>
                  <a:pt x="98" y="92"/>
                </a:lnTo>
                <a:lnTo>
                  <a:pt x="106" y="97"/>
                </a:lnTo>
                <a:lnTo>
                  <a:pt x="110" y="98"/>
                </a:lnTo>
                <a:lnTo>
                  <a:pt x="117" y="98"/>
                </a:lnTo>
                <a:lnTo>
                  <a:pt x="122" y="103"/>
                </a:lnTo>
                <a:lnTo>
                  <a:pt x="129" y="111"/>
                </a:lnTo>
                <a:lnTo>
                  <a:pt x="137" y="111"/>
                </a:lnTo>
                <a:lnTo>
                  <a:pt x="141" y="108"/>
                </a:lnTo>
                <a:lnTo>
                  <a:pt x="146" y="103"/>
                </a:lnTo>
                <a:lnTo>
                  <a:pt x="149" y="97"/>
                </a:lnTo>
                <a:lnTo>
                  <a:pt x="152" y="90"/>
                </a:lnTo>
                <a:lnTo>
                  <a:pt x="151" y="86"/>
                </a:lnTo>
                <a:lnTo>
                  <a:pt x="149" y="79"/>
                </a:lnTo>
                <a:lnTo>
                  <a:pt x="151" y="67"/>
                </a:lnTo>
                <a:lnTo>
                  <a:pt x="154" y="60"/>
                </a:lnTo>
                <a:lnTo>
                  <a:pt x="156" y="49"/>
                </a:lnTo>
                <a:lnTo>
                  <a:pt x="157" y="40"/>
                </a:lnTo>
                <a:lnTo>
                  <a:pt x="162" y="30"/>
                </a:lnTo>
                <a:lnTo>
                  <a:pt x="162" y="16"/>
                </a:lnTo>
                <a:lnTo>
                  <a:pt x="167" y="5"/>
                </a:lnTo>
                <a:lnTo>
                  <a:pt x="170" y="0"/>
                </a:lnTo>
                <a:lnTo>
                  <a:pt x="200" y="8"/>
                </a:lnTo>
                <a:lnTo>
                  <a:pt x="218" y="13"/>
                </a:lnTo>
                <a:lnTo>
                  <a:pt x="241" y="16"/>
                </a:lnTo>
                <a:lnTo>
                  <a:pt x="262" y="21"/>
                </a:lnTo>
                <a:lnTo>
                  <a:pt x="284" y="25"/>
                </a:lnTo>
                <a:lnTo>
                  <a:pt x="307" y="27"/>
                </a:lnTo>
                <a:lnTo>
                  <a:pt x="322" y="33"/>
                </a:lnTo>
                <a:lnTo>
                  <a:pt x="342" y="36"/>
                </a:lnTo>
                <a:lnTo>
                  <a:pt x="357" y="38"/>
                </a:lnTo>
                <a:lnTo>
                  <a:pt x="369" y="41"/>
                </a:lnTo>
                <a:lnTo>
                  <a:pt x="378" y="41"/>
                </a:lnTo>
                <a:lnTo>
                  <a:pt x="381" y="48"/>
                </a:lnTo>
                <a:lnTo>
                  <a:pt x="391" y="54"/>
                </a:lnTo>
                <a:lnTo>
                  <a:pt x="402" y="54"/>
                </a:lnTo>
                <a:lnTo>
                  <a:pt x="413" y="51"/>
                </a:lnTo>
                <a:lnTo>
                  <a:pt x="435" y="54"/>
                </a:lnTo>
                <a:lnTo>
                  <a:pt x="461" y="59"/>
                </a:lnTo>
                <a:lnTo>
                  <a:pt x="485" y="62"/>
                </a:lnTo>
                <a:lnTo>
                  <a:pt x="502" y="68"/>
                </a:lnTo>
                <a:lnTo>
                  <a:pt x="529" y="75"/>
                </a:lnTo>
                <a:lnTo>
                  <a:pt x="550" y="75"/>
                </a:lnTo>
                <a:lnTo>
                  <a:pt x="570" y="79"/>
                </a:lnTo>
                <a:lnTo>
                  <a:pt x="589" y="82"/>
                </a:lnTo>
                <a:lnTo>
                  <a:pt x="572" y="230"/>
                </a:lnTo>
                <a:lnTo>
                  <a:pt x="554" y="332"/>
                </a:lnTo>
                <a:lnTo>
                  <a:pt x="545" y="416"/>
                </a:lnTo>
                <a:lnTo>
                  <a:pt x="540" y="453"/>
                </a:lnTo>
                <a:lnTo>
                  <a:pt x="537" y="478"/>
                </a:lnTo>
                <a:lnTo>
                  <a:pt x="532" y="503"/>
                </a:lnTo>
                <a:lnTo>
                  <a:pt x="531" y="526"/>
                </a:lnTo>
                <a:lnTo>
                  <a:pt x="527" y="550"/>
                </a:lnTo>
                <a:lnTo>
                  <a:pt x="521" y="580"/>
                </a:lnTo>
                <a:lnTo>
                  <a:pt x="518" y="610"/>
                </a:lnTo>
                <a:lnTo>
                  <a:pt x="513" y="632"/>
                </a:lnTo>
                <a:lnTo>
                  <a:pt x="508" y="670"/>
                </a:lnTo>
                <a:lnTo>
                  <a:pt x="505" y="707"/>
                </a:lnTo>
                <a:close/>
              </a:path>
            </a:pathLst>
          </a:custGeom>
          <a:solidFill>
            <a:schemeClr val="bg1">
              <a:lumMod val="95000"/>
            </a:schemeClr>
          </a:solidFill>
          <a:ln w="0" algn="ctr">
            <a:solidFill>
              <a:srgbClr val="808080"/>
            </a:solidFill>
            <a:round/>
            <a:headEnd/>
            <a:tailEnd/>
          </a:ln>
        </p:spPr>
        <p:txBody>
          <a:bodyPr lIns="101798" tIns="50899" rIns="101798" bIns="50899"/>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endParaRPr>
          </a:p>
        </p:txBody>
      </p:sp>
      <p:grpSp>
        <p:nvGrpSpPr>
          <p:cNvPr id="71" name="State: Alaska"/>
          <p:cNvGrpSpPr/>
          <p:nvPr/>
        </p:nvGrpSpPr>
        <p:grpSpPr>
          <a:xfrm>
            <a:off x="260800" y="5227727"/>
            <a:ext cx="1485496" cy="1030594"/>
            <a:chOff x="859408" y="5227724"/>
            <a:chExt cx="1485496" cy="1030594"/>
          </a:xfrm>
          <a:solidFill>
            <a:schemeClr val="bg1">
              <a:lumMod val="95000"/>
            </a:schemeClr>
          </a:solidFill>
        </p:grpSpPr>
        <p:sp>
          <p:nvSpPr>
            <p:cNvPr id="72" name="Freeform 81"/>
            <p:cNvSpPr>
              <a:spLocks/>
            </p:cNvSpPr>
            <p:nvPr/>
          </p:nvSpPr>
          <p:spPr bwMode="auto">
            <a:xfrm>
              <a:off x="1620818" y="5921452"/>
              <a:ext cx="101521" cy="86139"/>
            </a:xfrm>
            <a:custGeom>
              <a:avLst/>
              <a:gdLst>
                <a:gd name="T0" fmla="*/ 33338 w 68"/>
                <a:gd name="T1" fmla="*/ 69850 h 56"/>
                <a:gd name="T2" fmla="*/ 30163 w 68"/>
                <a:gd name="T3" fmla="*/ 77788 h 56"/>
                <a:gd name="T4" fmla="*/ 7938 w 68"/>
                <a:gd name="T5" fmla="*/ 85725 h 56"/>
                <a:gd name="T6" fmla="*/ 4763 w 68"/>
                <a:gd name="T7" fmla="*/ 80963 h 56"/>
                <a:gd name="T8" fmla="*/ 15875 w 68"/>
                <a:gd name="T9" fmla="*/ 73025 h 56"/>
                <a:gd name="T10" fmla="*/ 7938 w 68"/>
                <a:gd name="T11" fmla="*/ 73025 h 56"/>
                <a:gd name="T12" fmla="*/ 3175 w 68"/>
                <a:gd name="T13" fmla="*/ 68263 h 56"/>
                <a:gd name="T14" fmla="*/ 4763 w 68"/>
                <a:gd name="T15" fmla="*/ 52388 h 56"/>
                <a:gd name="T16" fmla="*/ 0 w 68"/>
                <a:gd name="T17" fmla="*/ 42863 h 56"/>
                <a:gd name="T18" fmla="*/ 3175 w 68"/>
                <a:gd name="T19" fmla="*/ 34925 h 56"/>
                <a:gd name="T20" fmla="*/ 12700 w 68"/>
                <a:gd name="T21" fmla="*/ 30163 h 56"/>
                <a:gd name="T22" fmla="*/ 25400 w 68"/>
                <a:gd name="T23" fmla="*/ 30163 h 56"/>
                <a:gd name="T24" fmla="*/ 30163 w 68"/>
                <a:gd name="T25" fmla="*/ 34925 h 56"/>
                <a:gd name="T26" fmla="*/ 33338 w 68"/>
                <a:gd name="T27" fmla="*/ 38100 h 56"/>
                <a:gd name="T28" fmla="*/ 34925 w 68"/>
                <a:gd name="T29" fmla="*/ 26988 h 56"/>
                <a:gd name="T30" fmla="*/ 42863 w 68"/>
                <a:gd name="T31" fmla="*/ 22225 h 56"/>
                <a:gd name="T32" fmla="*/ 47625 w 68"/>
                <a:gd name="T33" fmla="*/ 25400 h 56"/>
                <a:gd name="T34" fmla="*/ 55563 w 68"/>
                <a:gd name="T35" fmla="*/ 25400 h 56"/>
                <a:gd name="T36" fmla="*/ 58738 w 68"/>
                <a:gd name="T37" fmla="*/ 20638 h 56"/>
                <a:gd name="T38" fmla="*/ 63500 w 68"/>
                <a:gd name="T39" fmla="*/ 15875 h 56"/>
                <a:gd name="T40" fmla="*/ 71438 w 68"/>
                <a:gd name="T41" fmla="*/ 15875 h 56"/>
                <a:gd name="T42" fmla="*/ 71438 w 68"/>
                <a:gd name="T43" fmla="*/ 12700 h 56"/>
                <a:gd name="T44" fmla="*/ 76200 w 68"/>
                <a:gd name="T45" fmla="*/ 9525 h 56"/>
                <a:gd name="T46" fmla="*/ 77788 w 68"/>
                <a:gd name="T47" fmla="*/ 9525 h 56"/>
                <a:gd name="T48" fmla="*/ 82550 w 68"/>
                <a:gd name="T49" fmla="*/ 4763 h 56"/>
                <a:gd name="T50" fmla="*/ 93663 w 68"/>
                <a:gd name="T51" fmla="*/ 0 h 56"/>
                <a:gd name="T52" fmla="*/ 95250 w 68"/>
                <a:gd name="T53" fmla="*/ 4763 h 56"/>
                <a:gd name="T54" fmla="*/ 101600 w 68"/>
                <a:gd name="T55" fmla="*/ 17463 h 56"/>
                <a:gd name="T56" fmla="*/ 101600 w 68"/>
                <a:gd name="T57" fmla="*/ 26988 h 56"/>
                <a:gd name="T58" fmla="*/ 85725 w 68"/>
                <a:gd name="T59" fmla="*/ 25400 h 56"/>
                <a:gd name="T60" fmla="*/ 73025 w 68"/>
                <a:gd name="T61" fmla="*/ 30163 h 56"/>
                <a:gd name="T62" fmla="*/ 73025 w 68"/>
                <a:gd name="T63" fmla="*/ 34925 h 56"/>
                <a:gd name="T64" fmla="*/ 80963 w 68"/>
                <a:gd name="T65" fmla="*/ 38100 h 56"/>
                <a:gd name="T66" fmla="*/ 85725 w 68"/>
                <a:gd name="T67" fmla="*/ 42863 h 56"/>
                <a:gd name="T68" fmla="*/ 82550 w 68"/>
                <a:gd name="T69" fmla="*/ 42863 h 56"/>
                <a:gd name="T70" fmla="*/ 77788 w 68"/>
                <a:gd name="T71" fmla="*/ 47625 h 56"/>
                <a:gd name="T72" fmla="*/ 80963 w 68"/>
                <a:gd name="T73" fmla="*/ 55563 h 56"/>
                <a:gd name="T74" fmla="*/ 80963 w 68"/>
                <a:gd name="T75" fmla="*/ 63500 h 56"/>
                <a:gd name="T76" fmla="*/ 73025 w 68"/>
                <a:gd name="T77" fmla="*/ 63500 h 56"/>
                <a:gd name="T78" fmla="*/ 63500 w 68"/>
                <a:gd name="T79" fmla="*/ 58738 h 56"/>
                <a:gd name="T80" fmla="*/ 63500 w 68"/>
                <a:gd name="T81" fmla="*/ 63500 h 56"/>
                <a:gd name="T82" fmla="*/ 55563 w 68"/>
                <a:gd name="T83" fmla="*/ 65088 h 56"/>
                <a:gd name="T84" fmla="*/ 46038 w 68"/>
                <a:gd name="T85" fmla="*/ 73025 h 56"/>
                <a:gd name="T86" fmla="*/ 52388 w 68"/>
                <a:gd name="T87" fmla="*/ 69850 h 56"/>
                <a:gd name="T88" fmla="*/ 47625 w 68"/>
                <a:gd name="T89" fmla="*/ 76200 h 56"/>
                <a:gd name="T90" fmla="*/ 42863 w 68"/>
                <a:gd name="T91" fmla="*/ 76200 h 56"/>
                <a:gd name="T92" fmla="*/ 38100 w 68"/>
                <a:gd name="T93" fmla="*/ 77788 h 5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8"/>
                <a:gd name="T142" fmla="*/ 0 h 56"/>
                <a:gd name="T143" fmla="*/ 68 w 68"/>
                <a:gd name="T144" fmla="*/ 56 h 5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8" h="56">
                  <a:moveTo>
                    <a:pt x="24" y="49"/>
                  </a:moveTo>
                  <a:lnTo>
                    <a:pt x="21" y="44"/>
                  </a:lnTo>
                  <a:lnTo>
                    <a:pt x="18" y="48"/>
                  </a:lnTo>
                  <a:lnTo>
                    <a:pt x="19" y="49"/>
                  </a:lnTo>
                  <a:lnTo>
                    <a:pt x="6" y="56"/>
                  </a:lnTo>
                  <a:lnTo>
                    <a:pt x="5" y="54"/>
                  </a:lnTo>
                  <a:lnTo>
                    <a:pt x="3" y="52"/>
                  </a:lnTo>
                  <a:lnTo>
                    <a:pt x="3" y="51"/>
                  </a:lnTo>
                  <a:lnTo>
                    <a:pt x="6" y="48"/>
                  </a:lnTo>
                  <a:lnTo>
                    <a:pt x="10" y="46"/>
                  </a:lnTo>
                  <a:lnTo>
                    <a:pt x="10" y="44"/>
                  </a:lnTo>
                  <a:lnTo>
                    <a:pt x="5" y="46"/>
                  </a:lnTo>
                  <a:lnTo>
                    <a:pt x="3" y="48"/>
                  </a:lnTo>
                  <a:lnTo>
                    <a:pt x="2" y="43"/>
                  </a:lnTo>
                  <a:lnTo>
                    <a:pt x="2" y="38"/>
                  </a:lnTo>
                  <a:lnTo>
                    <a:pt x="3" y="33"/>
                  </a:lnTo>
                  <a:lnTo>
                    <a:pt x="2" y="30"/>
                  </a:lnTo>
                  <a:lnTo>
                    <a:pt x="0" y="27"/>
                  </a:lnTo>
                  <a:lnTo>
                    <a:pt x="0" y="25"/>
                  </a:lnTo>
                  <a:lnTo>
                    <a:pt x="2" y="22"/>
                  </a:lnTo>
                  <a:lnTo>
                    <a:pt x="5" y="21"/>
                  </a:lnTo>
                  <a:lnTo>
                    <a:pt x="8" y="19"/>
                  </a:lnTo>
                  <a:lnTo>
                    <a:pt x="13" y="19"/>
                  </a:lnTo>
                  <a:lnTo>
                    <a:pt x="16" y="19"/>
                  </a:lnTo>
                  <a:lnTo>
                    <a:pt x="19" y="21"/>
                  </a:lnTo>
                  <a:lnTo>
                    <a:pt x="19" y="22"/>
                  </a:lnTo>
                  <a:lnTo>
                    <a:pt x="19" y="25"/>
                  </a:lnTo>
                  <a:lnTo>
                    <a:pt x="21" y="24"/>
                  </a:lnTo>
                  <a:lnTo>
                    <a:pt x="22" y="24"/>
                  </a:lnTo>
                  <a:lnTo>
                    <a:pt x="22" y="17"/>
                  </a:lnTo>
                  <a:lnTo>
                    <a:pt x="25" y="14"/>
                  </a:lnTo>
                  <a:lnTo>
                    <a:pt x="27" y="14"/>
                  </a:lnTo>
                  <a:lnTo>
                    <a:pt x="29" y="16"/>
                  </a:lnTo>
                  <a:lnTo>
                    <a:pt x="30" y="16"/>
                  </a:lnTo>
                  <a:lnTo>
                    <a:pt x="32" y="16"/>
                  </a:lnTo>
                  <a:lnTo>
                    <a:pt x="35" y="16"/>
                  </a:lnTo>
                  <a:lnTo>
                    <a:pt x="35" y="17"/>
                  </a:lnTo>
                  <a:lnTo>
                    <a:pt x="37" y="13"/>
                  </a:lnTo>
                  <a:lnTo>
                    <a:pt x="38" y="11"/>
                  </a:lnTo>
                  <a:lnTo>
                    <a:pt x="40" y="10"/>
                  </a:lnTo>
                  <a:lnTo>
                    <a:pt x="43" y="8"/>
                  </a:lnTo>
                  <a:lnTo>
                    <a:pt x="45" y="10"/>
                  </a:lnTo>
                  <a:lnTo>
                    <a:pt x="45" y="11"/>
                  </a:lnTo>
                  <a:lnTo>
                    <a:pt x="45" y="8"/>
                  </a:lnTo>
                  <a:lnTo>
                    <a:pt x="45" y="6"/>
                  </a:lnTo>
                  <a:lnTo>
                    <a:pt x="48" y="6"/>
                  </a:lnTo>
                  <a:lnTo>
                    <a:pt x="49" y="8"/>
                  </a:lnTo>
                  <a:lnTo>
                    <a:pt x="49" y="6"/>
                  </a:lnTo>
                  <a:lnTo>
                    <a:pt x="49" y="5"/>
                  </a:lnTo>
                  <a:lnTo>
                    <a:pt x="52" y="3"/>
                  </a:lnTo>
                  <a:lnTo>
                    <a:pt x="56" y="2"/>
                  </a:lnTo>
                  <a:lnTo>
                    <a:pt x="59" y="0"/>
                  </a:lnTo>
                  <a:lnTo>
                    <a:pt x="64" y="0"/>
                  </a:lnTo>
                  <a:lnTo>
                    <a:pt x="60" y="3"/>
                  </a:lnTo>
                  <a:lnTo>
                    <a:pt x="59" y="6"/>
                  </a:lnTo>
                  <a:lnTo>
                    <a:pt x="64" y="11"/>
                  </a:lnTo>
                  <a:lnTo>
                    <a:pt x="68" y="17"/>
                  </a:lnTo>
                  <a:lnTo>
                    <a:pt x="64" y="17"/>
                  </a:lnTo>
                  <a:lnTo>
                    <a:pt x="60" y="16"/>
                  </a:lnTo>
                  <a:lnTo>
                    <a:pt x="54" y="16"/>
                  </a:lnTo>
                  <a:lnTo>
                    <a:pt x="49" y="17"/>
                  </a:lnTo>
                  <a:lnTo>
                    <a:pt x="46" y="19"/>
                  </a:lnTo>
                  <a:lnTo>
                    <a:pt x="43" y="24"/>
                  </a:lnTo>
                  <a:lnTo>
                    <a:pt x="46" y="22"/>
                  </a:lnTo>
                  <a:lnTo>
                    <a:pt x="49" y="21"/>
                  </a:lnTo>
                  <a:lnTo>
                    <a:pt x="51" y="24"/>
                  </a:lnTo>
                  <a:lnTo>
                    <a:pt x="52" y="27"/>
                  </a:lnTo>
                  <a:lnTo>
                    <a:pt x="54" y="27"/>
                  </a:lnTo>
                  <a:lnTo>
                    <a:pt x="52" y="27"/>
                  </a:lnTo>
                  <a:lnTo>
                    <a:pt x="51" y="29"/>
                  </a:lnTo>
                  <a:lnTo>
                    <a:pt x="49" y="30"/>
                  </a:lnTo>
                  <a:lnTo>
                    <a:pt x="49" y="33"/>
                  </a:lnTo>
                  <a:lnTo>
                    <a:pt x="51" y="35"/>
                  </a:lnTo>
                  <a:lnTo>
                    <a:pt x="54" y="37"/>
                  </a:lnTo>
                  <a:lnTo>
                    <a:pt x="51" y="40"/>
                  </a:lnTo>
                  <a:lnTo>
                    <a:pt x="48" y="41"/>
                  </a:lnTo>
                  <a:lnTo>
                    <a:pt x="46" y="40"/>
                  </a:lnTo>
                  <a:lnTo>
                    <a:pt x="43" y="38"/>
                  </a:lnTo>
                  <a:lnTo>
                    <a:pt x="40" y="37"/>
                  </a:lnTo>
                  <a:lnTo>
                    <a:pt x="40" y="40"/>
                  </a:lnTo>
                  <a:lnTo>
                    <a:pt x="40" y="44"/>
                  </a:lnTo>
                  <a:lnTo>
                    <a:pt x="35" y="41"/>
                  </a:lnTo>
                  <a:lnTo>
                    <a:pt x="32" y="44"/>
                  </a:lnTo>
                  <a:lnTo>
                    <a:pt x="29" y="46"/>
                  </a:lnTo>
                  <a:lnTo>
                    <a:pt x="30" y="44"/>
                  </a:lnTo>
                  <a:lnTo>
                    <a:pt x="33" y="44"/>
                  </a:lnTo>
                  <a:lnTo>
                    <a:pt x="32" y="48"/>
                  </a:lnTo>
                  <a:lnTo>
                    <a:pt x="30" y="48"/>
                  </a:lnTo>
                  <a:lnTo>
                    <a:pt x="29" y="48"/>
                  </a:lnTo>
                  <a:lnTo>
                    <a:pt x="27" y="48"/>
                  </a:lnTo>
                  <a:lnTo>
                    <a:pt x="24" y="48"/>
                  </a:lnTo>
                  <a:lnTo>
                    <a:pt x="24" y="49"/>
                  </a:lnTo>
                  <a:close/>
                </a:path>
              </a:pathLst>
            </a:custGeom>
            <a:grpFill/>
            <a:ln w="0">
              <a:solidFill>
                <a:srgbClr val="808080"/>
              </a:solidFill>
              <a:round/>
              <a:headEnd/>
              <a:tailEnd/>
            </a:ln>
          </p:spPr>
          <p:txBody>
            <a:bodyPr lIns="101882" tIns="50941" rIns="101882" bIns="50941"/>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itchFamily="34" charset="0"/>
              </a:endParaRPr>
            </a:p>
          </p:txBody>
        </p:sp>
        <p:sp>
          <p:nvSpPr>
            <p:cNvPr id="73" name="Freeform 82"/>
            <p:cNvSpPr>
              <a:spLocks/>
            </p:cNvSpPr>
            <p:nvPr/>
          </p:nvSpPr>
          <p:spPr bwMode="auto">
            <a:xfrm>
              <a:off x="1599917" y="6004514"/>
              <a:ext cx="25380" cy="12306"/>
            </a:xfrm>
            <a:custGeom>
              <a:avLst/>
              <a:gdLst>
                <a:gd name="T0" fmla="*/ 12700 w 17"/>
                <a:gd name="T1" fmla="*/ 4763 h 8"/>
                <a:gd name="T2" fmla="*/ 0 w 17"/>
                <a:gd name="T3" fmla="*/ 9525 h 8"/>
                <a:gd name="T4" fmla="*/ 4763 w 17"/>
                <a:gd name="T5" fmla="*/ 3175 h 8"/>
                <a:gd name="T6" fmla="*/ 12700 w 17"/>
                <a:gd name="T7" fmla="*/ 0 h 8"/>
                <a:gd name="T8" fmla="*/ 14288 w 17"/>
                <a:gd name="T9" fmla="*/ 4763 h 8"/>
                <a:gd name="T10" fmla="*/ 22225 w 17"/>
                <a:gd name="T11" fmla="*/ 4763 h 8"/>
                <a:gd name="T12" fmla="*/ 25400 w 17"/>
                <a:gd name="T13" fmla="*/ 9525 h 8"/>
                <a:gd name="T14" fmla="*/ 26988 w 17"/>
                <a:gd name="T15" fmla="*/ 12700 h 8"/>
                <a:gd name="T16" fmla="*/ 17463 w 17"/>
                <a:gd name="T17" fmla="*/ 9525 h 8"/>
                <a:gd name="T18" fmla="*/ 12700 w 17"/>
                <a:gd name="T19" fmla="*/ 4763 h 8"/>
                <a:gd name="T20" fmla="*/ 12700 w 17"/>
                <a:gd name="T21" fmla="*/ 4763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
                <a:gd name="T34" fmla="*/ 0 h 8"/>
                <a:gd name="T35" fmla="*/ 17 w 17"/>
                <a:gd name="T36" fmla="*/ 8 h 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 h="8">
                  <a:moveTo>
                    <a:pt x="8" y="3"/>
                  </a:moveTo>
                  <a:lnTo>
                    <a:pt x="0" y="6"/>
                  </a:lnTo>
                  <a:lnTo>
                    <a:pt x="3" y="2"/>
                  </a:lnTo>
                  <a:lnTo>
                    <a:pt x="8" y="0"/>
                  </a:lnTo>
                  <a:lnTo>
                    <a:pt x="9" y="3"/>
                  </a:lnTo>
                  <a:lnTo>
                    <a:pt x="14" y="3"/>
                  </a:lnTo>
                  <a:lnTo>
                    <a:pt x="16" y="6"/>
                  </a:lnTo>
                  <a:lnTo>
                    <a:pt x="17" y="8"/>
                  </a:lnTo>
                  <a:lnTo>
                    <a:pt x="11" y="6"/>
                  </a:lnTo>
                  <a:lnTo>
                    <a:pt x="8" y="3"/>
                  </a:lnTo>
                  <a:close/>
                </a:path>
              </a:pathLst>
            </a:custGeom>
            <a:grpFill/>
            <a:ln w="0">
              <a:solidFill>
                <a:srgbClr val="808080"/>
              </a:solidFill>
              <a:round/>
              <a:headEnd/>
              <a:tailEnd/>
            </a:ln>
          </p:spPr>
          <p:txBody>
            <a:bodyPr lIns="101882" tIns="50941" rIns="101882" bIns="50941"/>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itchFamily="34" charset="0"/>
              </a:endParaRPr>
            </a:p>
          </p:txBody>
        </p:sp>
        <p:sp>
          <p:nvSpPr>
            <p:cNvPr id="74" name="Freeform 83"/>
            <p:cNvSpPr>
              <a:spLocks/>
            </p:cNvSpPr>
            <p:nvPr/>
          </p:nvSpPr>
          <p:spPr bwMode="auto">
            <a:xfrm>
              <a:off x="1249071" y="5933757"/>
              <a:ext cx="56733" cy="32302"/>
            </a:xfrm>
            <a:custGeom>
              <a:avLst/>
              <a:gdLst>
                <a:gd name="T0" fmla="*/ 57150 w 38"/>
                <a:gd name="T1" fmla="*/ 33338 h 21"/>
                <a:gd name="T2" fmla="*/ 1588 w 38"/>
                <a:gd name="T3" fmla="*/ 20638 h 21"/>
                <a:gd name="T4" fmla="*/ 0 w 38"/>
                <a:gd name="T5" fmla="*/ 14288 h 21"/>
                <a:gd name="T6" fmla="*/ 0 w 38"/>
                <a:gd name="T7" fmla="*/ 9525 h 21"/>
                <a:gd name="T8" fmla="*/ 1588 w 38"/>
                <a:gd name="T9" fmla="*/ 7938 h 21"/>
                <a:gd name="T10" fmla="*/ 4763 w 38"/>
                <a:gd name="T11" fmla="*/ 4763 h 21"/>
                <a:gd name="T12" fmla="*/ 12700 w 38"/>
                <a:gd name="T13" fmla="*/ 4763 h 21"/>
                <a:gd name="T14" fmla="*/ 22225 w 38"/>
                <a:gd name="T15" fmla="*/ 7938 h 21"/>
                <a:gd name="T16" fmla="*/ 23813 w 38"/>
                <a:gd name="T17" fmla="*/ 3175 h 21"/>
                <a:gd name="T18" fmla="*/ 30163 w 38"/>
                <a:gd name="T19" fmla="*/ 0 h 21"/>
                <a:gd name="T20" fmla="*/ 34925 w 38"/>
                <a:gd name="T21" fmla="*/ 0 h 21"/>
                <a:gd name="T22" fmla="*/ 44450 w 38"/>
                <a:gd name="T23" fmla="*/ 0 h 21"/>
                <a:gd name="T24" fmla="*/ 52388 w 38"/>
                <a:gd name="T25" fmla="*/ 0 h 21"/>
                <a:gd name="T26" fmla="*/ 60325 w 38"/>
                <a:gd name="T27" fmla="*/ 7938 h 21"/>
                <a:gd name="T28" fmla="*/ 60325 w 38"/>
                <a:gd name="T29" fmla="*/ 12700 h 21"/>
                <a:gd name="T30" fmla="*/ 60325 w 38"/>
                <a:gd name="T31" fmla="*/ 20638 h 21"/>
                <a:gd name="T32" fmla="*/ 55563 w 38"/>
                <a:gd name="T33" fmla="*/ 26988 h 21"/>
                <a:gd name="T34" fmla="*/ 52388 w 38"/>
                <a:gd name="T35" fmla="*/ 33338 h 21"/>
                <a:gd name="T36" fmla="*/ 57150 w 38"/>
                <a:gd name="T37" fmla="*/ 33338 h 21"/>
                <a:gd name="T38" fmla="*/ 57150 w 38"/>
                <a:gd name="T39" fmla="*/ 33338 h 2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8"/>
                <a:gd name="T61" fmla="*/ 0 h 21"/>
                <a:gd name="T62" fmla="*/ 38 w 38"/>
                <a:gd name="T63" fmla="*/ 21 h 2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8" h="21">
                  <a:moveTo>
                    <a:pt x="36" y="21"/>
                  </a:moveTo>
                  <a:lnTo>
                    <a:pt x="1" y="13"/>
                  </a:lnTo>
                  <a:lnTo>
                    <a:pt x="0" y="9"/>
                  </a:lnTo>
                  <a:lnTo>
                    <a:pt x="0" y="6"/>
                  </a:lnTo>
                  <a:lnTo>
                    <a:pt x="1" y="5"/>
                  </a:lnTo>
                  <a:lnTo>
                    <a:pt x="3" y="3"/>
                  </a:lnTo>
                  <a:lnTo>
                    <a:pt x="8" y="3"/>
                  </a:lnTo>
                  <a:lnTo>
                    <a:pt x="14" y="5"/>
                  </a:lnTo>
                  <a:lnTo>
                    <a:pt x="15" y="2"/>
                  </a:lnTo>
                  <a:lnTo>
                    <a:pt x="19" y="0"/>
                  </a:lnTo>
                  <a:lnTo>
                    <a:pt x="22" y="0"/>
                  </a:lnTo>
                  <a:lnTo>
                    <a:pt x="28" y="0"/>
                  </a:lnTo>
                  <a:lnTo>
                    <a:pt x="33" y="0"/>
                  </a:lnTo>
                  <a:lnTo>
                    <a:pt x="38" y="5"/>
                  </a:lnTo>
                  <a:lnTo>
                    <a:pt x="38" y="8"/>
                  </a:lnTo>
                  <a:lnTo>
                    <a:pt x="38" y="13"/>
                  </a:lnTo>
                  <a:lnTo>
                    <a:pt x="35" y="17"/>
                  </a:lnTo>
                  <a:lnTo>
                    <a:pt x="33" y="21"/>
                  </a:lnTo>
                  <a:lnTo>
                    <a:pt x="36" y="21"/>
                  </a:lnTo>
                  <a:close/>
                </a:path>
              </a:pathLst>
            </a:custGeom>
            <a:grpFill/>
            <a:ln w="0">
              <a:solidFill>
                <a:srgbClr val="808080"/>
              </a:solidFill>
              <a:round/>
              <a:headEnd/>
              <a:tailEnd/>
            </a:ln>
          </p:spPr>
          <p:txBody>
            <a:bodyPr lIns="101882" tIns="50941" rIns="101882" bIns="50941"/>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itchFamily="34" charset="0"/>
              </a:endParaRPr>
            </a:p>
          </p:txBody>
        </p:sp>
        <p:sp>
          <p:nvSpPr>
            <p:cNvPr id="75" name="Freeform 84"/>
            <p:cNvSpPr>
              <a:spLocks/>
            </p:cNvSpPr>
            <p:nvPr/>
          </p:nvSpPr>
          <p:spPr bwMode="auto">
            <a:xfrm>
              <a:off x="1120677" y="5929144"/>
              <a:ext cx="77634" cy="30764"/>
            </a:xfrm>
            <a:custGeom>
              <a:avLst/>
              <a:gdLst>
                <a:gd name="T0" fmla="*/ 9525 w 52"/>
                <a:gd name="T1" fmla="*/ 12700 h 20"/>
                <a:gd name="T2" fmla="*/ 20638 w 52"/>
                <a:gd name="T3" fmla="*/ 17463 h 20"/>
                <a:gd name="T4" fmla="*/ 30163 w 52"/>
                <a:gd name="T5" fmla="*/ 19050 h 20"/>
                <a:gd name="T6" fmla="*/ 39688 w 52"/>
                <a:gd name="T7" fmla="*/ 19050 h 20"/>
                <a:gd name="T8" fmla="*/ 50800 w 52"/>
                <a:gd name="T9" fmla="*/ 17463 h 20"/>
                <a:gd name="T10" fmla="*/ 47625 w 52"/>
                <a:gd name="T11" fmla="*/ 12700 h 20"/>
                <a:gd name="T12" fmla="*/ 44450 w 52"/>
                <a:gd name="T13" fmla="*/ 9525 h 20"/>
                <a:gd name="T14" fmla="*/ 42863 w 52"/>
                <a:gd name="T15" fmla="*/ 1588 h 20"/>
                <a:gd name="T16" fmla="*/ 44450 w 52"/>
                <a:gd name="T17" fmla="*/ 1588 h 20"/>
                <a:gd name="T18" fmla="*/ 50800 w 52"/>
                <a:gd name="T19" fmla="*/ 0 h 20"/>
                <a:gd name="T20" fmla="*/ 57150 w 52"/>
                <a:gd name="T21" fmla="*/ 0 h 20"/>
                <a:gd name="T22" fmla="*/ 63500 w 52"/>
                <a:gd name="T23" fmla="*/ 1588 h 20"/>
                <a:gd name="T24" fmla="*/ 65088 w 52"/>
                <a:gd name="T25" fmla="*/ 12700 h 20"/>
                <a:gd name="T26" fmla="*/ 73025 w 52"/>
                <a:gd name="T27" fmla="*/ 14288 h 20"/>
                <a:gd name="T28" fmla="*/ 82550 w 52"/>
                <a:gd name="T29" fmla="*/ 17463 h 20"/>
                <a:gd name="T30" fmla="*/ 74613 w 52"/>
                <a:gd name="T31" fmla="*/ 19050 h 20"/>
                <a:gd name="T32" fmla="*/ 73025 w 52"/>
                <a:gd name="T33" fmla="*/ 22225 h 20"/>
                <a:gd name="T34" fmla="*/ 69850 w 52"/>
                <a:gd name="T35" fmla="*/ 22225 h 20"/>
                <a:gd name="T36" fmla="*/ 69850 w 52"/>
                <a:gd name="T37" fmla="*/ 25400 h 20"/>
                <a:gd name="T38" fmla="*/ 69850 w 52"/>
                <a:gd name="T39" fmla="*/ 25400 h 20"/>
                <a:gd name="T40" fmla="*/ 73025 w 52"/>
                <a:gd name="T41" fmla="*/ 25400 h 20"/>
                <a:gd name="T42" fmla="*/ 69850 w 52"/>
                <a:gd name="T43" fmla="*/ 26988 h 20"/>
                <a:gd name="T44" fmla="*/ 68263 w 52"/>
                <a:gd name="T45" fmla="*/ 30163 h 20"/>
                <a:gd name="T46" fmla="*/ 60325 w 52"/>
                <a:gd name="T47" fmla="*/ 30163 h 20"/>
                <a:gd name="T48" fmla="*/ 52388 w 52"/>
                <a:gd name="T49" fmla="*/ 31750 h 20"/>
                <a:gd name="T50" fmla="*/ 42863 w 52"/>
                <a:gd name="T51" fmla="*/ 30163 h 20"/>
                <a:gd name="T52" fmla="*/ 31750 w 52"/>
                <a:gd name="T53" fmla="*/ 30163 h 20"/>
                <a:gd name="T54" fmla="*/ 22225 w 52"/>
                <a:gd name="T55" fmla="*/ 26988 h 20"/>
                <a:gd name="T56" fmla="*/ 14288 w 52"/>
                <a:gd name="T57" fmla="*/ 25400 h 20"/>
                <a:gd name="T58" fmla="*/ 4763 w 52"/>
                <a:gd name="T59" fmla="*/ 19050 h 20"/>
                <a:gd name="T60" fmla="*/ 0 w 52"/>
                <a:gd name="T61" fmla="*/ 14288 h 20"/>
                <a:gd name="T62" fmla="*/ 4763 w 52"/>
                <a:gd name="T63" fmla="*/ 12700 h 20"/>
                <a:gd name="T64" fmla="*/ 9525 w 52"/>
                <a:gd name="T65" fmla="*/ 12700 h 20"/>
                <a:gd name="T66" fmla="*/ 9525 w 52"/>
                <a:gd name="T67" fmla="*/ 12700 h 2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2"/>
                <a:gd name="T103" fmla="*/ 0 h 20"/>
                <a:gd name="T104" fmla="*/ 52 w 52"/>
                <a:gd name="T105" fmla="*/ 20 h 2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2" h="20">
                  <a:moveTo>
                    <a:pt x="6" y="8"/>
                  </a:moveTo>
                  <a:lnTo>
                    <a:pt x="13" y="11"/>
                  </a:lnTo>
                  <a:lnTo>
                    <a:pt x="19" y="12"/>
                  </a:lnTo>
                  <a:lnTo>
                    <a:pt x="25" y="12"/>
                  </a:lnTo>
                  <a:lnTo>
                    <a:pt x="32" y="11"/>
                  </a:lnTo>
                  <a:lnTo>
                    <a:pt x="30" y="8"/>
                  </a:lnTo>
                  <a:lnTo>
                    <a:pt x="28" y="6"/>
                  </a:lnTo>
                  <a:lnTo>
                    <a:pt x="27" y="1"/>
                  </a:lnTo>
                  <a:lnTo>
                    <a:pt x="28" y="1"/>
                  </a:lnTo>
                  <a:lnTo>
                    <a:pt x="32" y="0"/>
                  </a:lnTo>
                  <a:lnTo>
                    <a:pt x="36" y="0"/>
                  </a:lnTo>
                  <a:lnTo>
                    <a:pt x="40" y="1"/>
                  </a:lnTo>
                  <a:lnTo>
                    <a:pt x="41" y="8"/>
                  </a:lnTo>
                  <a:lnTo>
                    <a:pt x="46" y="9"/>
                  </a:lnTo>
                  <a:lnTo>
                    <a:pt x="52" y="11"/>
                  </a:lnTo>
                  <a:lnTo>
                    <a:pt x="47" y="12"/>
                  </a:lnTo>
                  <a:lnTo>
                    <a:pt x="46" y="14"/>
                  </a:lnTo>
                  <a:lnTo>
                    <a:pt x="44" y="14"/>
                  </a:lnTo>
                  <a:lnTo>
                    <a:pt x="44" y="16"/>
                  </a:lnTo>
                  <a:lnTo>
                    <a:pt x="46" y="16"/>
                  </a:lnTo>
                  <a:lnTo>
                    <a:pt x="44" y="17"/>
                  </a:lnTo>
                  <a:lnTo>
                    <a:pt x="43" y="19"/>
                  </a:lnTo>
                  <a:lnTo>
                    <a:pt x="38" y="19"/>
                  </a:lnTo>
                  <a:lnTo>
                    <a:pt x="33" y="20"/>
                  </a:lnTo>
                  <a:lnTo>
                    <a:pt x="27" y="19"/>
                  </a:lnTo>
                  <a:lnTo>
                    <a:pt x="20" y="19"/>
                  </a:lnTo>
                  <a:lnTo>
                    <a:pt x="14" y="17"/>
                  </a:lnTo>
                  <a:lnTo>
                    <a:pt x="9" y="16"/>
                  </a:lnTo>
                  <a:lnTo>
                    <a:pt x="3" y="12"/>
                  </a:lnTo>
                  <a:lnTo>
                    <a:pt x="0" y="9"/>
                  </a:lnTo>
                  <a:lnTo>
                    <a:pt x="3" y="8"/>
                  </a:lnTo>
                  <a:lnTo>
                    <a:pt x="6" y="8"/>
                  </a:lnTo>
                  <a:close/>
                </a:path>
              </a:pathLst>
            </a:custGeom>
            <a:grpFill/>
            <a:ln w="0">
              <a:solidFill>
                <a:srgbClr val="808080"/>
              </a:solidFill>
              <a:round/>
              <a:headEnd/>
              <a:tailEnd/>
            </a:ln>
          </p:spPr>
          <p:txBody>
            <a:bodyPr lIns="101882" tIns="50941" rIns="101882" bIns="50941"/>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itchFamily="34" charset="0"/>
              </a:endParaRPr>
            </a:p>
          </p:txBody>
        </p:sp>
        <p:sp>
          <p:nvSpPr>
            <p:cNvPr id="76" name="Freeform 85"/>
            <p:cNvSpPr>
              <a:spLocks/>
            </p:cNvSpPr>
            <p:nvPr/>
          </p:nvSpPr>
          <p:spPr bwMode="auto">
            <a:xfrm>
              <a:off x="1068423" y="5921452"/>
              <a:ext cx="61212" cy="21534"/>
            </a:xfrm>
            <a:custGeom>
              <a:avLst/>
              <a:gdLst>
                <a:gd name="T0" fmla="*/ 0 w 41"/>
                <a:gd name="T1" fmla="*/ 17463 h 14"/>
                <a:gd name="T2" fmla="*/ 7938 w 41"/>
                <a:gd name="T3" fmla="*/ 17463 h 14"/>
                <a:gd name="T4" fmla="*/ 14288 w 41"/>
                <a:gd name="T5" fmla="*/ 20638 h 14"/>
                <a:gd name="T6" fmla="*/ 22225 w 41"/>
                <a:gd name="T7" fmla="*/ 20638 h 14"/>
                <a:gd name="T8" fmla="*/ 30163 w 41"/>
                <a:gd name="T9" fmla="*/ 22225 h 14"/>
                <a:gd name="T10" fmla="*/ 38100 w 41"/>
                <a:gd name="T11" fmla="*/ 22225 h 14"/>
                <a:gd name="T12" fmla="*/ 47625 w 41"/>
                <a:gd name="T13" fmla="*/ 22225 h 14"/>
                <a:gd name="T14" fmla="*/ 55563 w 41"/>
                <a:gd name="T15" fmla="*/ 20638 h 14"/>
                <a:gd name="T16" fmla="*/ 63500 w 41"/>
                <a:gd name="T17" fmla="*/ 20638 h 14"/>
                <a:gd name="T18" fmla="*/ 65088 w 41"/>
                <a:gd name="T19" fmla="*/ 12700 h 14"/>
                <a:gd name="T20" fmla="*/ 63500 w 41"/>
                <a:gd name="T21" fmla="*/ 4763 h 14"/>
                <a:gd name="T22" fmla="*/ 60325 w 41"/>
                <a:gd name="T23" fmla="*/ 0 h 14"/>
                <a:gd name="T24" fmla="*/ 55563 w 41"/>
                <a:gd name="T25" fmla="*/ 0 h 14"/>
                <a:gd name="T26" fmla="*/ 50800 w 41"/>
                <a:gd name="T27" fmla="*/ 0 h 14"/>
                <a:gd name="T28" fmla="*/ 47625 w 41"/>
                <a:gd name="T29" fmla="*/ 3175 h 14"/>
                <a:gd name="T30" fmla="*/ 39688 w 41"/>
                <a:gd name="T31" fmla="*/ 4763 h 14"/>
                <a:gd name="T32" fmla="*/ 38100 w 41"/>
                <a:gd name="T33" fmla="*/ 12700 h 14"/>
                <a:gd name="T34" fmla="*/ 31750 w 41"/>
                <a:gd name="T35" fmla="*/ 9525 h 14"/>
                <a:gd name="T36" fmla="*/ 25400 w 41"/>
                <a:gd name="T37" fmla="*/ 4763 h 14"/>
                <a:gd name="T38" fmla="*/ 20638 w 41"/>
                <a:gd name="T39" fmla="*/ 9525 h 14"/>
                <a:gd name="T40" fmla="*/ 14288 w 41"/>
                <a:gd name="T41" fmla="*/ 12700 h 14"/>
                <a:gd name="T42" fmla="*/ 7938 w 41"/>
                <a:gd name="T43" fmla="*/ 15875 h 14"/>
                <a:gd name="T44" fmla="*/ 0 w 41"/>
                <a:gd name="T45" fmla="*/ 17463 h 14"/>
                <a:gd name="T46" fmla="*/ 0 w 41"/>
                <a:gd name="T47" fmla="*/ 17463 h 1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1"/>
                <a:gd name="T73" fmla="*/ 0 h 14"/>
                <a:gd name="T74" fmla="*/ 41 w 41"/>
                <a:gd name="T75" fmla="*/ 14 h 1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1" h="14">
                  <a:moveTo>
                    <a:pt x="0" y="11"/>
                  </a:moveTo>
                  <a:lnTo>
                    <a:pt x="5" y="11"/>
                  </a:lnTo>
                  <a:lnTo>
                    <a:pt x="9" y="13"/>
                  </a:lnTo>
                  <a:lnTo>
                    <a:pt x="14" y="13"/>
                  </a:lnTo>
                  <a:lnTo>
                    <a:pt x="19" y="14"/>
                  </a:lnTo>
                  <a:lnTo>
                    <a:pt x="24" y="14"/>
                  </a:lnTo>
                  <a:lnTo>
                    <a:pt x="30" y="14"/>
                  </a:lnTo>
                  <a:lnTo>
                    <a:pt x="35" y="13"/>
                  </a:lnTo>
                  <a:lnTo>
                    <a:pt x="40" y="13"/>
                  </a:lnTo>
                  <a:lnTo>
                    <a:pt x="41" y="8"/>
                  </a:lnTo>
                  <a:lnTo>
                    <a:pt x="40" y="3"/>
                  </a:lnTo>
                  <a:lnTo>
                    <a:pt x="38" y="0"/>
                  </a:lnTo>
                  <a:lnTo>
                    <a:pt x="35" y="0"/>
                  </a:lnTo>
                  <a:lnTo>
                    <a:pt x="32" y="0"/>
                  </a:lnTo>
                  <a:lnTo>
                    <a:pt x="30" y="2"/>
                  </a:lnTo>
                  <a:lnTo>
                    <a:pt x="25" y="3"/>
                  </a:lnTo>
                  <a:lnTo>
                    <a:pt x="24" y="8"/>
                  </a:lnTo>
                  <a:lnTo>
                    <a:pt x="20" y="6"/>
                  </a:lnTo>
                  <a:lnTo>
                    <a:pt x="16" y="3"/>
                  </a:lnTo>
                  <a:lnTo>
                    <a:pt x="13" y="6"/>
                  </a:lnTo>
                  <a:lnTo>
                    <a:pt x="9" y="8"/>
                  </a:lnTo>
                  <a:lnTo>
                    <a:pt x="5" y="10"/>
                  </a:lnTo>
                  <a:lnTo>
                    <a:pt x="0" y="11"/>
                  </a:lnTo>
                  <a:close/>
                </a:path>
              </a:pathLst>
            </a:custGeom>
            <a:grpFill/>
            <a:ln w="0">
              <a:solidFill>
                <a:srgbClr val="808080"/>
              </a:solidFill>
              <a:round/>
              <a:headEnd/>
              <a:tailEnd/>
            </a:ln>
          </p:spPr>
          <p:txBody>
            <a:bodyPr lIns="101882" tIns="50941" rIns="101882" bIns="50941"/>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itchFamily="34" charset="0"/>
              </a:endParaRPr>
            </a:p>
          </p:txBody>
        </p:sp>
        <p:sp>
          <p:nvSpPr>
            <p:cNvPr id="77" name="Freeform 86"/>
            <p:cNvSpPr>
              <a:spLocks/>
            </p:cNvSpPr>
            <p:nvPr/>
          </p:nvSpPr>
          <p:spPr bwMode="auto">
            <a:xfrm>
              <a:off x="1208760" y="5941450"/>
              <a:ext cx="16423" cy="6153"/>
            </a:xfrm>
            <a:custGeom>
              <a:avLst/>
              <a:gdLst>
                <a:gd name="T0" fmla="*/ 0 w 11"/>
                <a:gd name="T1" fmla="*/ 0 h 4"/>
                <a:gd name="T2" fmla="*/ 4763 w 11"/>
                <a:gd name="T3" fmla="*/ 1588 h 4"/>
                <a:gd name="T4" fmla="*/ 6350 w 11"/>
                <a:gd name="T5" fmla="*/ 6350 h 4"/>
                <a:gd name="T6" fmla="*/ 9525 w 11"/>
                <a:gd name="T7" fmla="*/ 1588 h 4"/>
                <a:gd name="T8" fmla="*/ 12700 w 11"/>
                <a:gd name="T9" fmla="*/ 0 h 4"/>
                <a:gd name="T10" fmla="*/ 17463 w 11"/>
                <a:gd name="T11" fmla="*/ 1588 h 4"/>
                <a:gd name="T12" fmla="*/ 17463 w 11"/>
                <a:gd name="T13" fmla="*/ 6350 h 4"/>
                <a:gd name="T14" fmla="*/ 6350 w 11"/>
                <a:gd name="T15" fmla="*/ 6350 h 4"/>
                <a:gd name="T16" fmla="*/ 1588 w 11"/>
                <a:gd name="T17" fmla="*/ 6350 h 4"/>
                <a:gd name="T18" fmla="*/ 0 w 11"/>
                <a:gd name="T19" fmla="*/ 4763 h 4"/>
                <a:gd name="T20" fmla="*/ 0 w 11"/>
                <a:gd name="T21" fmla="*/ 0 h 4"/>
                <a:gd name="T22" fmla="*/ 0 w 11"/>
                <a:gd name="T23" fmla="*/ 0 h 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
                <a:gd name="T37" fmla="*/ 0 h 4"/>
                <a:gd name="T38" fmla="*/ 11 w 11"/>
                <a:gd name="T39" fmla="*/ 4 h 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 h="4">
                  <a:moveTo>
                    <a:pt x="0" y="0"/>
                  </a:moveTo>
                  <a:lnTo>
                    <a:pt x="3" y="1"/>
                  </a:lnTo>
                  <a:lnTo>
                    <a:pt x="4" y="4"/>
                  </a:lnTo>
                  <a:lnTo>
                    <a:pt x="6" y="1"/>
                  </a:lnTo>
                  <a:lnTo>
                    <a:pt x="8" y="0"/>
                  </a:lnTo>
                  <a:lnTo>
                    <a:pt x="11" y="1"/>
                  </a:lnTo>
                  <a:lnTo>
                    <a:pt x="11" y="4"/>
                  </a:lnTo>
                  <a:lnTo>
                    <a:pt x="4" y="4"/>
                  </a:lnTo>
                  <a:lnTo>
                    <a:pt x="1" y="4"/>
                  </a:lnTo>
                  <a:lnTo>
                    <a:pt x="0" y="3"/>
                  </a:lnTo>
                  <a:lnTo>
                    <a:pt x="0" y="0"/>
                  </a:lnTo>
                  <a:close/>
                </a:path>
              </a:pathLst>
            </a:custGeom>
            <a:grpFill/>
            <a:ln w="0">
              <a:solidFill>
                <a:srgbClr val="808080"/>
              </a:solidFill>
              <a:round/>
              <a:headEnd/>
              <a:tailEnd/>
            </a:ln>
          </p:spPr>
          <p:txBody>
            <a:bodyPr lIns="101882" tIns="50941" rIns="101882" bIns="50941"/>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itchFamily="34" charset="0"/>
              </a:endParaRPr>
            </a:p>
          </p:txBody>
        </p:sp>
        <p:sp>
          <p:nvSpPr>
            <p:cNvPr id="78" name="Freeform 87"/>
            <p:cNvSpPr>
              <a:spLocks/>
            </p:cNvSpPr>
            <p:nvPr/>
          </p:nvSpPr>
          <p:spPr bwMode="auto">
            <a:xfrm>
              <a:off x="1001240" y="5901455"/>
              <a:ext cx="14929" cy="10767"/>
            </a:xfrm>
            <a:custGeom>
              <a:avLst/>
              <a:gdLst>
                <a:gd name="T0" fmla="*/ 12700 w 10"/>
                <a:gd name="T1" fmla="*/ 0 h 7"/>
                <a:gd name="T2" fmla="*/ 15875 w 10"/>
                <a:gd name="T3" fmla="*/ 11112 h 7"/>
                <a:gd name="T4" fmla="*/ 7938 w 10"/>
                <a:gd name="T5" fmla="*/ 11112 h 7"/>
                <a:gd name="T6" fmla="*/ 0 w 10"/>
                <a:gd name="T7" fmla="*/ 7937 h 7"/>
                <a:gd name="T8" fmla="*/ 12700 w 10"/>
                <a:gd name="T9" fmla="*/ 0 h 7"/>
                <a:gd name="T10" fmla="*/ 12700 w 10"/>
                <a:gd name="T11" fmla="*/ 0 h 7"/>
                <a:gd name="T12" fmla="*/ 0 60000 65536"/>
                <a:gd name="T13" fmla="*/ 0 60000 65536"/>
                <a:gd name="T14" fmla="*/ 0 60000 65536"/>
                <a:gd name="T15" fmla="*/ 0 60000 65536"/>
                <a:gd name="T16" fmla="*/ 0 60000 65536"/>
                <a:gd name="T17" fmla="*/ 0 60000 65536"/>
                <a:gd name="T18" fmla="*/ 0 w 10"/>
                <a:gd name="T19" fmla="*/ 0 h 7"/>
                <a:gd name="T20" fmla="*/ 10 w 10"/>
                <a:gd name="T21" fmla="*/ 7 h 7"/>
              </a:gdLst>
              <a:ahLst/>
              <a:cxnLst>
                <a:cxn ang="T12">
                  <a:pos x="T0" y="T1"/>
                </a:cxn>
                <a:cxn ang="T13">
                  <a:pos x="T2" y="T3"/>
                </a:cxn>
                <a:cxn ang="T14">
                  <a:pos x="T4" y="T5"/>
                </a:cxn>
                <a:cxn ang="T15">
                  <a:pos x="T6" y="T7"/>
                </a:cxn>
                <a:cxn ang="T16">
                  <a:pos x="T8" y="T9"/>
                </a:cxn>
                <a:cxn ang="T17">
                  <a:pos x="T10" y="T11"/>
                </a:cxn>
              </a:cxnLst>
              <a:rect l="T18" t="T19" r="T20" b="T21"/>
              <a:pathLst>
                <a:path w="10" h="7">
                  <a:moveTo>
                    <a:pt x="8" y="0"/>
                  </a:moveTo>
                  <a:lnTo>
                    <a:pt x="10" y="7"/>
                  </a:lnTo>
                  <a:lnTo>
                    <a:pt x="5" y="7"/>
                  </a:lnTo>
                  <a:lnTo>
                    <a:pt x="0" y="5"/>
                  </a:lnTo>
                  <a:lnTo>
                    <a:pt x="8" y="0"/>
                  </a:lnTo>
                  <a:close/>
                </a:path>
              </a:pathLst>
            </a:custGeom>
            <a:grpFill/>
            <a:ln w="0">
              <a:solidFill>
                <a:srgbClr val="808080"/>
              </a:solidFill>
              <a:round/>
              <a:headEnd/>
              <a:tailEnd/>
            </a:ln>
          </p:spPr>
          <p:txBody>
            <a:bodyPr lIns="101882" tIns="50941" rIns="101882" bIns="50941"/>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itchFamily="34" charset="0"/>
              </a:endParaRPr>
            </a:p>
          </p:txBody>
        </p:sp>
        <p:sp>
          <p:nvSpPr>
            <p:cNvPr id="79" name="Freeform 88"/>
            <p:cNvSpPr>
              <a:spLocks/>
            </p:cNvSpPr>
            <p:nvPr/>
          </p:nvSpPr>
          <p:spPr bwMode="auto">
            <a:xfrm>
              <a:off x="1035578" y="5913760"/>
              <a:ext cx="20901" cy="7691"/>
            </a:xfrm>
            <a:custGeom>
              <a:avLst/>
              <a:gdLst>
                <a:gd name="T0" fmla="*/ 22225 w 14"/>
                <a:gd name="T1" fmla="*/ 3175 h 5"/>
                <a:gd name="T2" fmla="*/ 12700 w 14"/>
                <a:gd name="T3" fmla="*/ 7937 h 5"/>
                <a:gd name="T4" fmla="*/ 4763 w 14"/>
                <a:gd name="T5" fmla="*/ 4762 h 5"/>
                <a:gd name="T6" fmla="*/ 0 w 14"/>
                <a:gd name="T7" fmla="*/ 3175 h 5"/>
                <a:gd name="T8" fmla="*/ 6350 w 14"/>
                <a:gd name="T9" fmla="*/ 0 h 5"/>
                <a:gd name="T10" fmla="*/ 12700 w 14"/>
                <a:gd name="T11" fmla="*/ 0 h 5"/>
                <a:gd name="T12" fmla="*/ 17463 w 14"/>
                <a:gd name="T13" fmla="*/ 0 h 5"/>
                <a:gd name="T14" fmla="*/ 22225 w 14"/>
                <a:gd name="T15" fmla="*/ 3175 h 5"/>
                <a:gd name="T16" fmla="*/ 22225 w 14"/>
                <a:gd name="T17" fmla="*/ 3175 h 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5"/>
                <a:gd name="T29" fmla="*/ 14 w 14"/>
                <a:gd name="T30" fmla="*/ 5 h 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5">
                  <a:moveTo>
                    <a:pt x="14" y="2"/>
                  </a:moveTo>
                  <a:lnTo>
                    <a:pt x="8" y="5"/>
                  </a:lnTo>
                  <a:lnTo>
                    <a:pt x="3" y="3"/>
                  </a:lnTo>
                  <a:lnTo>
                    <a:pt x="0" y="2"/>
                  </a:lnTo>
                  <a:lnTo>
                    <a:pt x="4" y="0"/>
                  </a:lnTo>
                  <a:lnTo>
                    <a:pt x="8" y="0"/>
                  </a:lnTo>
                  <a:lnTo>
                    <a:pt x="11" y="0"/>
                  </a:lnTo>
                  <a:lnTo>
                    <a:pt x="14" y="2"/>
                  </a:lnTo>
                  <a:close/>
                </a:path>
              </a:pathLst>
            </a:custGeom>
            <a:grpFill/>
            <a:ln w="0">
              <a:solidFill>
                <a:srgbClr val="808080"/>
              </a:solidFill>
              <a:round/>
              <a:headEnd/>
              <a:tailEnd/>
            </a:ln>
          </p:spPr>
          <p:txBody>
            <a:bodyPr lIns="101882" tIns="50941" rIns="101882" bIns="50941"/>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itchFamily="34" charset="0"/>
              </a:endParaRPr>
            </a:p>
          </p:txBody>
        </p:sp>
        <p:sp>
          <p:nvSpPr>
            <p:cNvPr id="80" name="Freeform 89"/>
            <p:cNvSpPr>
              <a:spLocks/>
            </p:cNvSpPr>
            <p:nvPr/>
          </p:nvSpPr>
          <p:spPr bwMode="auto">
            <a:xfrm>
              <a:off x="1387917" y="5987595"/>
              <a:ext cx="22395" cy="9229"/>
            </a:xfrm>
            <a:custGeom>
              <a:avLst/>
              <a:gdLst>
                <a:gd name="T0" fmla="*/ 23813 w 15"/>
                <a:gd name="T1" fmla="*/ 4763 h 6"/>
                <a:gd name="T2" fmla="*/ 11113 w 15"/>
                <a:gd name="T3" fmla="*/ 9525 h 6"/>
                <a:gd name="T4" fmla="*/ 6350 w 15"/>
                <a:gd name="T5" fmla="*/ 7938 h 6"/>
                <a:gd name="T6" fmla="*/ 0 w 15"/>
                <a:gd name="T7" fmla="*/ 7938 h 6"/>
                <a:gd name="T8" fmla="*/ 3175 w 15"/>
                <a:gd name="T9" fmla="*/ 1588 h 6"/>
                <a:gd name="T10" fmla="*/ 7938 w 15"/>
                <a:gd name="T11" fmla="*/ 0 h 6"/>
                <a:gd name="T12" fmla="*/ 15875 w 15"/>
                <a:gd name="T13" fmla="*/ 0 h 6"/>
                <a:gd name="T14" fmla="*/ 23813 w 15"/>
                <a:gd name="T15" fmla="*/ 4763 h 6"/>
                <a:gd name="T16" fmla="*/ 23813 w 15"/>
                <a:gd name="T17" fmla="*/ 4763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6"/>
                <a:gd name="T29" fmla="*/ 15 w 15"/>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6">
                  <a:moveTo>
                    <a:pt x="15" y="3"/>
                  </a:moveTo>
                  <a:lnTo>
                    <a:pt x="7" y="6"/>
                  </a:lnTo>
                  <a:lnTo>
                    <a:pt x="4" y="5"/>
                  </a:lnTo>
                  <a:lnTo>
                    <a:pt x="0" y="5"/>
                  </a:lnTo>
                  <a:lnTo>
                    <a:pt x="2" y="1"/>
                  </a:lnTo>
                  <a:lnTo>
                    <a:pt x="5" y="0"/>
                  </a:lnTo>
                  <a:lnTo>
                    <a:pt x="10" y="0"/>
                  </a:lnTo>
                  <a:lnTo>
                    <a:pt x="15" y="3"/>
                  </a:lnTo>
                  <a:close/>
                </a:path>
              </a:pathLst>
            </a:custGeom>
            <a:grpFill/>
            <a:ln w="0">
              <a:solidFill>
                <a:srgbClr val="808080"/>
              </a:solidFill>
              <a:round/>
              <a:headEnd/>
              <a:tailEnd/>
            </a:ln>
          </p:spPr>
          <p:txBody>
            <a:bodyPr lIns="101882" tIns="50941" rIns="101882" bIns="50941"/>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itchFamily="34" charset="0"/>
              </a:endParaRPr>
            </a:p>
          </p:txBody>
        </p:sp>
        <p:sp>
          <p:nvSpPr>
            <p:cNvPr id="81" name="Freeform 90"/>
            <p:cNvSpPr>
              <a:spLocks/>
            </p:cNvSpPr>
            <p:nvPr/>
          </p:nvSpPr>
          <p:spPr bwMode="auto">
            <a:xfrm>
              <a:off x="859408" y="5818393"/>
              <a:ext cx="56733" cy="46146"/>
            </a:xfrm>
            <a:custGeom>
              <a:avLst/>
              <a:gdLst>
                <a:gd name="T0" fmla="*/ 33338 w 38"/>
                <a:gd name="T1" fmla="*/ 23813 h 30"/>
                <a:gd name="T2" fmla="*/ 22225 w 38"/>
                <a:gd name="T3" fmla="*/ 23813 h 30"/>
                <a:gd name="T4" fmla="*/ 15875 w 38"/>
                <a:gd name="T5" fmla="*/ 15875 h 30"/>
                <a:gd name="T6" fmla="*/ 4763 w 38"/>
                <a:gd name="T7" fmla="*/ 4763 h 30"/>
                <a:gd name="T8" fmla="*/ 0 w 38"/>
                <a:gd name="T9" fmla="*/ 0 h 30"/>
                <a:gd name="T10" fmla="*/ 4763 w 38"/>
                <a:gd name="T11" fmla="*/ 0 h 30"/>
                <a:gd name="T12" fmla="*/ 9525 w 38"/>
                <a:gd name="T13" fmla="*/ 3175 h 30"/>
                <a:gd name="T14" fmla="*/ 17463 w 38"/>
                <a:gd name="T15" fmla="*/ 4763 h 30"/>
                <a:gd name="T16" fmla="*/ 22225 w 38"/>
                <a:gd name="T17" fmla="*/ 7938 h 30"/>
                <a:gd name="T18" fmla="*/ 30163 w 38"/>
                <a:gd name="T19" fmla="*/ 11113 h 30"/>
                <a:gd name="T20" fmla="*/ 34925 w 38"/>
                <a:gd name="T21" fmla="*/ 12700 h 30"/>
                <a:gd name="T22" fmla="*/ 39688 w 38"/>
                <a:gd name="T23" fmla="*/ 15875 h 30"/>
                <a:gd name="T24" fmla="*/ 47625 w 38"/>
                <a:gd name="T25" fmla="*/ 15875 h 30"/>
                <a:gd name="T26" fmla="*/ 42863 w 38"/>
                <a:gd name="T27" fmla="*/ 20638 h 30"/>
                <a:gd name="T28" fmla="*/ 38100 w 38"/>
                <a:gd name="T29" fmla="*/ 23813 h 30"/>
                <a:gd name="T30" fmla="*/ 46038 w 38"/>
                <a:gd name="T31" fmla="*/ 28575 h 30"/>
                <a:gd name="T32" fmla="*/ 50800 w 38"/>
                <a:gd name="T33" fmla="*/ 33338 h 30"/>
                <a:gd name="T34" fmla="*/ 55563 w 38"/>
                <a:gd name="T35" fmla="*/ 41275 h 30"/>
                <a:gd name="T36" fmla="*/ 60325 w 38"/>
                <a:gd name="T37" fmla="*/ 47625 h 30"/>
                <a:gd name="T38" fmla="*/ 55563 w 38"/>
                <a:gd name="T39" fmla="*/ 46038 h 30"/>
                <a:gd name="T40" fmla="*/ 47625 w 38"/>
                <a:gd name="T41" fmla="*/ 42863 h 30"/>
                <a:gd name="T42" fmla="*/ 42863 w 38"/>
                <a:gd name="T43" fmla="*/ 38100 h 30"/>
                <a:gd name="T44" fmla="*/ 38100 w 38"/>
                <a:gd name="T45" fmla="*/ 36513 h 30"/>
                <a:gd name="T46" fmla="*/ 38100 w 38"/>
                <a:gd name="T47" fmla="*/ 25400 h 30"/>
                <a:gd name="T48" fmla="*/ 33338 w 38"/>
                <a:gd name="T49" fmla="*/ 23813 h 30"/>
                <a:gd name="T50" fmla="*/ 33338 w 38"/>
                <a:gd name="T51" fmla="*/ 23813 h 3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8"/>
                <a:gd name="T79" fmla="*/ 0 h 30"/>
                <a:gd name="T80" fmla="*/ 38 w 38"/>
                <a:gd name="T81" fmla="*/ 30 h 3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8" h="30">
                  <a:moveTo>
                    <a:pt x="21" y="15"/>
                  </a:moveTo>
                  <a:lnTo>
                    <a:pt x="14" y="15"/>
                  </a:lnTo>
                  <a:lnTo>
                    <a:pt x="10" y="10"/>
                  </a:lnTo>
                  <a:lnTo>
                    <a:pt x="3" y="3"/>
                  </a:lnTo>
                  <a:lnTo>
                    <a:pt x="0" y="0"/>
                  </a:lnTo>
                  <a:lnTo>
                    <a:pt x="3" y="0"/>
                  </a:lnTo>
                  <a:lnTo>
                    <a:pt x="6" y="2"/>
                  </a:lnTo>
                  <a:lnTo>
                    <a:pt x="11" y="3"/>
                  </a:lnTo>
                  <a:lnTo>
                    <a:pt x="14" y="5"/>
                  </a:lnTo>
                  <a:lnTo>
                    <a:pt x="19" y="7"/>
                  </a:lnTo>
                  <a:lnTo>
                    <a:pt x="22" y="8"/>
                  </a:lnTo>
                  <a:lnTo>
                    <a:pt x="25" y="10"/>
                  </a:lnTo>
                  <a:lnTo>
                    <a:pt x="30" y="10"/>
                  </a:lnTo>
                  <a:lnTo>
                    <a:pt x="27" y="13"/>
                  </a:lnTo>
                  <a:lnTo>
                    <a:pt x="24" y="15"/>
                  </a:lnTo>
                  <a:lnTo>
                    <a:pt x="29" y="18"/>
                  </a:lnTo>
                  <a:lnTo>
                    <a:pt x="32" y="21"/>
                  </a:lnTo>
                  <a:lnTo>
                    <a:pt x="35" y="26"/>
                  </a:lnTo>
                  <a:lnTo>
                    <a:pt x="38" y="30"/>
                  </a:lnTo>
                  <a:lnTo>
                    <a:pt x="35" y="29"/>
                  </a:lnTo>
                  <a:lnTo>
                    <a:pt x="30" y="27"/>
                  </a:lnTo>
                  <a:lnTo>
                    <a:pt x="27" y="24"/>
                  </a:lnTo>
                  <a:lnTo>
                    <a:pt x="24" y="23"/>
                  </a:lnTo>
                  <a:lnTo>
                    <a:pt x="24" y="16"/>
                  </a:lnTo>
                  <a:lnTo>
                    <a:pt x="21" y="15"/>
                  </a:lnTo>
                  <a:close/>
                </a:path>
              </a:pathLst>
            </a:custGeom>
            <a:grpFill/>
            <a:ln w="0">
              <a:solidFill>
                <a:srgbClr val="808080"/>
              </a:solidFill>
              <a:round/>
              <a:headEnd/>
              <a:tailEnd/>
            </a:ln>
          </p:spPr>
          <p:txBody>
            <a:bodyPr lIns="101882" tIns="50941" rIns="101882" bIns="50941"/>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itchFamily="34" charset="0"/>
              </a:endParaRPr>
            </a:p>
          </p:txBody>
        </p:sp>
        <p:sp>
          <p:nvSpPr>
            <p:cNvPr id="82" name="Freeform 91"/>
            <p:cNvSpPr>
              <a:spLocks/>
            </p:cNvSpPr>
            <p:nvPr/>
          </p:nvSpPr>
          <p:spPr bwMode="auto">
            <a:xfrm>
              <a:off x="943013" y="5872229"/>
              <a:ext cx="13438" cy="10768"/>
            </a:xfrm>
            <a:custGeom>
              <a:avLst/>
              <a:gdLst>
                <a:gd name="T0" fmla="*/ 9525 w 9"/>
                <a:gd name="T1" fmla="*/ 0 h 7"/>
                <a:gd name="T2" fmla="*/ 0 w 9"/>
                <a:gd name="T3" fmla="*/ 4763 h 7"/>
                <a:gd name="T4" fmla="*/ 4763 w 9"/>
                <a:gd name="T5" fmla="*/ 7938 h 7"/>
                <a:gd name="T6" fmla="*/ 14288 w 9"/>
                <a:gd name="T7" fmla="*/ 11113 h 7"/>
                <a:gd name="T8" fmla="*/ 9525 w 9"/>
                <a:gd name="T9" fmla="*/ 0 h 7"/>
                <a:gd name="T10" fmla="*/ 9525 w 9"/>
                <a:gd name="T11" fmla="*/ 0 h 7"/>
                <a:gd name="T12" fmla="*/ 0 60000 65536"/>
                <a:gd name="T13" fmla="*/ 0 60000 65536"/>
                <a:gd name="T14" fmla="*/ 0 60000 65536"/>
                <a:gd name="T15" fmla="*/ 0 60000 65536"/>
                <a:gd name="T16" fmla="*/ 0 60000 65536"/>
                <a:gd name="T17" fmla="*/ 0 60000 65536"/>
                <a:gd name="T18" fmla="*/ 0 w 9"/>
                <a:gd name="T19" fmla="*/ 0 h 7"/>
                <a:gd name="T20" fmla="*/ 9 w 9"/>
                <a:gd name="T21" fmla="*/ 7 h 7"/>
              </a:gdLst>
              <a:ahLst/>
              <a:cxnLst>
                <a:cxn ang="T12">
                  <a:pos x="T0" y="T1"/>
                </a:cxn>
                <a:cxn ang="T13">
                  <a:pos x="T2" y="T3"/>
                </a:cxn>
                <a:cxn ang="T14">
                  <a:pos x="T4" y="T5"/>
                </a:cxn>
                <a:cxn ang="T15">
                  <a:pos x="T6" y="T7"/>
                </a:cxn>
                <a:cxn ang="T16">
                  <a:pos x="T8" y="T9"/>
                </a:cxn>
                <a:cxn ang="T17">
                  <a:pos x="T10" y="T11"/>
                </a:cxn>
              </a:cxnLst>
              <a:rect l="T18" t="T19" r="T20" b="T21"/>
              <a:pathLst>
                <a:path w="9" h="7">
                  <a:moveTo>
                    <a:pt x="6" y="0"/>
                  </a:moveTo>
                  <a:lnTo>
                    <a:pt x="0" y="3"/>
                  </a:lnTo>
                  <a:lnTo>
                    <a:pt x="3" y="5"/>
                  </a:lnTo>
                  <a:lnTo>
                    <a:pt x="9" y="7"/>
                  </a:lnTo>
                  <a:lnTo>
                    <a:pt x="6" y="0"/>
                  </a:lnTo>
                  <a:close/>
                </a:path>
              </a:pathLst>
            </a:custGeom>
            <a:grpFill/>
            <a:ln w="0">
              <a:solidFill>
                <a:srgbClr val="808080"/>
              </a:solidFill>
              <a:round/>
              <a:headEnd/>
              <a:tailEnd/>
            </a:ln>
          </p:spPr>
          <p:txBody>
            <a:bodyPr lIns="101882" tIns="50941" rIns="101882" bIns="50941"/>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itchFamily="34" charset="0"/>
              </a:endParaRPr>
            </a:p>
          </p:txBody>
        </p:sp>
        <p:sp>
          <p:nvSpPr>
            <p:cNvPr id="83" name="St. Lawrence Island"/>
            <p:cNvSpPr>
              <a:spLocks/>
            </p:cNvSpPr>
            <p:nvPr/>
          </p:nvSpPr>
          <p:spPr bwMode="auto">
            <a:xfrm>
              <a:off x="1374480" y="5736868"/>
              <a:ext cx="52253" cy="41532"/>
            </a:xfrm>
            <a:custGeom>
              <a:avLst/>
              <a:gdLst>
                <a:gd name="T0" fmla="*/ 44450 w 35"/>
                <a:gd name="T1" fmla="*/ 39688 h 27"/>
                <a:gd name="T2" fmla="*/ 31750 w 35"/>
                <a:gd name="T3" fmla="*/ 42863 h 27"/>
                <a:gd name="T4" fmla="*/ 22225 w 35"/>
                <a:gd name="T5" fmla="*/ 38100 h 27"/>
                <a:gd name="T6" fmla="*/ 14287 w 35"/>
                <a:gd name="T7" fmla="*/ 30163 h 27"/>
                <a:gd name="T8" fmla="*/ 9525 w 35"/>
                <a:gd name="T9" fmla="*/ 22225 h 27"/>
                <a:gd name="T10" fmla="*/ 7937 w 35"/>
                <a:gd name="T11" fmla="*/ 12700 h 27"/>
                <a:gd name="T12" fmla="*/ 0 w 35"/>
                <a:gd name="T13" fmla="*/ 4763 h 27"/>
                <a:gd name="T14" fmla="*/ 7937 w 35"/>
                <a:gd name="T15" fmla="*/ 0 h 27"/>
                <a:gd name="T16" fmla="*/ 14287 w 35"/>
                <a:gd name="T17" fmla="*/ 0 h 27"/>
                <a:gd name="T18" fmla="*/ 22225 w 35"/>
                <a:gd name="T19" fmla="*/ 3175 h 27"/>
                <a:gd name="T20" fmla="*/ 30162 w 35"/>
                <a:gd name="T21" fmla="*/ 7938 h 27"/>
                <a:gd name="T22" fmla="*/ 38100 w 35"/>
                <a:gd name="T23" fmla="*/ 9525 h 27"/>
                <a:gd name="T24" fmla="*/ 44450 w 35"/>
                <a:gd name="T25" fmla="*/ 15875 h 27"/>
                <a:gd name="T26" fmla="*/ 47625 w 35"/>
                <a:gd name="T27" fmla="*/ 17463 h 27"/>
                <a:gd name="T28" fmla="*/ 55562 w 35"/>
                <a:gd name="T29" fmla="*/ 22225 h 27"/>
                <a:gd name="T30" fmla="*/ 47625 w 35"/>
                <a:gd name="T31" fmla="*/ 30163 h 27"/>
                <a:gd name="T32" fmla="*/ 44450 w 35"/>
                <a:gd name="T33" fmla="*/ 39688 h 27"/>
                <a:gd name="T34" fmla="*/ 44450 w 35"/>
                <a:gd name="T35" fmla="*/ 39688 h 2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
                <a:gd name="T55" fmla="*/ 0 h 27"/>
                <a:gd name="T56" fmla="*/ 35 w 35"/>
                <a:gd name="T57" fmla="*/ 27 h 2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 h="27">
                  <a:moveTo>
                    <a:pt x="28" y="25"/>
                  </a:moveTo>
                  <a:lnTo>
                    <a:pt x="20" y="27"/>
                  </a:lnTo>
                  <a:lnTo>
                    <a:pt x="14" y="24"/>
                  </a:lnTo>
                  <a:lnTo>
                    <a:pt x="9" y="19"/>
                  </a:lnTo>
                  <a:lnTo>
                    <a:pt x="6" y="14"/>
                  </a:lnTo>
                  <a:lnTo>
                    <a:pt x="5" y="8"/>
                  </a:lnTo>
                  <a:lnTo>
                    <a:pt x="0" y="3"/>
                  </a:lnTo>
                  <a:lnTo>
                    <a:pt x="5" y="0"/>
                  </a:lnTo>
                  <a:lnTo>
                    <a:pt x="9" y="0"/>
                  </a:lnTo>
                  <a:lnTo>
                    <a:pt x="14" y="2"/>
                  </a:lnTo>
                  <a:lnTo>
                    <a:pt x="19" y="5"/>
                  </a:lnTo>
                  <a:lnTo>
                    <a:pt x="24" y="6"/>
                  </a:lnTo>
                  <a:lnTo>
                    <a:pt x="28" y="10"/>
                  </a:lnTo>
                  <a:lnTo>
                    <a:pt x="30" y="11"/>
                  </a:lnTo>
                  <a:lnTo>
                    <a:pt x="35" y="14"/>
                  </a:lnTo>
                  <a:lnTo>
                    <a:pt x="30" y="19"/>
                  </a:lnTo>
                  <a:lnTo>
                    <a:pt x="28" y="25"/>
                  </a:lnTo>
                  <a:close/>
                </a:path>
              </a:pathLst>
            </a:custGeom>
            <a:grpFill/>
            <a:ln w="0">
              <a:solidFill>
                <a:srgbClr val="808080"/>
              </a:solidFill>
              <a:round/>
              <a:headEnd/>
              <a:tailEnd/>
            </a:ln>
          </p:spPr>
          <p:txBody>
            <a:bodyPr lIns="101882" tIns="50941" rIns="101882" bIns="50941"/>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endParaRPr>
            </a:p>
          </p:txBody>
        </p:sp>
        <p:sp>
          <p:nvSpPr>
            <p:cNvPr id="84" name="Freeform 93"/>
            <p:cNvSpPr>
              <a:spLocks/>
            </p:cNvSpPr>
            <p:nvPr/>
          </p:nvSpPr>
          <p:spPr bwMode="auto">
            <a:xfrm>
              <a:off x="1410311" y="5499985"/>
              <a:ext cx="56733" cy="75372"/>
            </a:xfrm>
            <a:custGeom>
              <a:avLst/>
              <a:gdLst>
                <a:gd name="T0" fmla="*/ 39688 w 38"/>
                <a:gd name="T1" fmla="*/ 25400 h 49"/>
                <a:gd name="T2" fmla="*/ 39688 w 38"/>
                <a:gd name="T3" fmla="*/ 34925 h 49"/>
                <a:gd name="T4" fmla="*/ 39688 w 38"/>
                <a:gd name="T5" fmla="*/ 47625 h 49"/>
                <a:gd name="T6" fmla="*/ 44450 w 38"/>
                <a:gd name="T7" fmla="*/ 57150 h 49"/>
                <a:gd name="T8" fmla="*/ 49213 w 38"/>
                <a:gd name="T9" fmla="*/ 65088 h 49"/>
                <a:gd name="T10" fmla="*/ 55563 w 38"/>
                <a:gd name="T11" fmla="*/ 68263 h 49"/>
                <a:gd name="T12" fmla="*/ 60325 w 38"/>
                <a:gd name="T13" fmla="*/ 73025 h 49"/>
                <a:gd name="T14" fmla="*/ 49213 w 38"/>
                <a:gd name="T15" fmla="*/ 77788 h 49"/>
                <a:gd name="T16" fmla="*/ 44450 w 38"/>
                <a:gd name="T17" fmla="*/ 68263 h 49"/>
                <a:gd name="T18" fmla="*/ 39688 w 38"/>
                <a:gd name="T19" fmla="*/ 68263 h 49"/>
                <a:gd name="T20" fmla="*/ 31750 w 38"/>
                <a:gd name="T21" fmla="*/ 68263 h 49"/>
                <a:gd name="T22" fmla="*/ 25400 w 38"/>
                <a:gd name="T23" fmla="*/ 73025 h 49"/>
                <a:gd name="T24" fmla="*/ 25400 w 38"/>
                <a:gd name="T25" fmla="*/ 65088 h 49"/>
                <a:gd name="T26" fmla="*/ 25400 w 38"/>
                <a:gd name="T27" fmla="*/ 57150 h 49"/>
                <a:gd name="T28" fmla="*/ 25400 w 38"/>
                <a:gd name="T29" fmla="*/ 52388 h 49"/>
                <a:gd name="T30" fmla="*/ 25400 w 38"/>
                <a:gd name="T31" fmla="*/ 47625 h 49"/>
                <a:gd name="T32" fmla="*/ 22225 w 38"/>
                <a:gd name="T33" fmla="*/ 39688 h 49"/>
                <a:gd name="T34" fmla="*/ 22225 w 38"/>
                <a:gd name="T35" fmla="*/ 34925 h 49"/>
                <a:gd name="T36" fmla="*/ 22225 w 38"/>
                <a:gd name="T37" fmla="*/ 30163 h 49"/>
                <a:gd name="T38" fmla="*/ 22225 w 38"/>
                <a:gd name="T39" fmla="*/ 25400 h 49"/>
                <a:gd name="T40" fmla="*/ 17463 w 38"/>
                <a:gd name="T41" fmla="*/ 22225 h 49"/>
                <a:gd name="T42" fmla="*/ 9525 w 38"/>
                <a:gd name="T43" fmla="*/ 22225 h 49"/>
                <a:gd name="T44" fmla="*/ 4763 w 38"/>
                <a:gd name="T45" fmla="*/ 20638 h 49"/>
                <a:gd name="T46" fmla="*/ 0 w 38"/>
                <a:gd name="T47" fmla="*/ 17463 h 49"/>
                <a:gd name="T48" fmla="*/ 0 w 38"/>
                <a:gd name="T49" fmla="*/ 12700 h 49"/>
                <a:gd name="T50" fmla="*/ 1588 w 38"/>
                <a:gd name="T51" fmla="*/ 7938 h 49"/>
                <a:gd name="T52" fmla="*/ 6350 w 38"/>
                <a:gd name="T53" fmla="*/ 1588 h 49"/>
                <a:gd name="T54" fmla="*/ 14288 w 38"/>
                <a:gd name="T55" fmla="*/ 0 h 49"/>
                <a:gd name="T56" fmla="*/ 17463 w 38"/>
                <a:gd name="T57" fmla="*/ 4763 h 49"/>
                <a:gd name="T58" fmla="*/ 19050 w 38"/>
                <a:gd name="T59" fmla="*/ 7938 h 49"/>
                <a:gd name="T60" fmla="*/ 22225 w 38"/>
                <a:gd name="T61" fmla="*/ 12700 h 49"/>
                <a:gd name="T62" fmla="*/ 26988 w 38"/>
                <a:gd name="T63" fmla="*/ 14288 h 49"/>
                <a:gd name="T64" fmla="*/ 34925 w 38"/>
                <a:gd name="T65" fmla="*/ 17463 h 49"/>
                <a:gd name="T66" fmla="*/ 39688 w 38"/>
                <a:gd name="T67" fmla="*/ 25400 h 49"/>
                <a:gd name="T68" fmla="*/ 39688 w 38"/>
                <a:gd name="T69" fmla="*/ 25400 h 4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8"/>
                <a:gd name="T106" fmla="*/ 0 h 49"/>
                <a:gd name="T107" fmla="*/ 38 w 38"/>
                <a:gd name="T108" fmla="*/ 49 h 4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8" h="49">
                  <a:moveTo>
                    <a:pt x="25" y="16"/>
                  </a:moveTo>
                  <a:lnTo>
                    <a:pt x="25" y="22"/>
                  </a:lnTo>
                  <a:lnTo>
                    <a:pt x="25" y="30"/>
                  </a:lnTo>
                  <a:lnTo>
                    <a:pt x="28" y="36"/>
                  </a:lnTo>
                  <a:lnTo>
                    <a:pt x="31" y="41"/>
                  </a:lnTo>
                  <a:lnTo>
                    <a:pt x="35" y="43"/>
                  </a:lnTo>
                  <a:lnTo>
                    <a:pt x="38" y="46"/>
                  </a:lnTo>
                  <a:lnTo>
                    <a:pt x="31" y="49"/>
                  </a:lnTo>
                  <a:lnTo>
                    <a:pt x="28" y="43"/>
                  </a:lnTo>
                  <a:lnTo>
                    <a:pt x="25" y="43"/>
                  </a:lnTo>
                  <a:lnTo>
                    <a:pt x="20" y="43"/>
                  </a:lnTo>
                  <a:lnTo>
                    <a:pt x="16" y="46"/>
                  </a:lnTo>
                  <a:lnTo>
                    <a:pt x="16" y="41"/>
                  </a:lnTo>
                  <a:lnTo>
                    <a:pt x="16" y="36"/>
                  </a:lnTo>
                  <a:lnTo>
                    <a:pt x="16" y="33"/>
                  </a:lnTo>
                  <a:lnTo>
                    <a:pt x="16" y="30"/>
                  </a:lnTo>
                  <a:lnTo>
                    <a:pt x="14" y="25"/>
                  </a:lnTo>
                  <a:lnTo>
                    <a:pt x="14" y="22"/>
                  </a:lnTo>
                  <a:lnTo>
                    <a:pt x="14" y="19"/>
                  </a:lnTo>
                  <a:lnTo>
                    <a:pt x="14" y="16"/>
                  </a:lnTo>
                  <a:lnTo>
                    <a:pt x="11" y="14"/>
                  </a:lnTo>
                  <a:lnTo>
                    <a:pt x="6" y="14"/>
                  </a:lnTo>
                  <a:lnTo>
                    <a:pt x="3" y="13"/>
                  </a:lnTo>
                  <a:lnTo>
                    <a:pt x="0" y="11"/>
                  </a:lnTo>
                  <a:lnTo>
                    <a:pt x="0" y="8"/>
                  </a:lnTo>
                  <a:lnTo>
                    <a:pt x="1" y="5"/>
                  </a:lnTo>
                  <a:lnTo>
                    <a:pt x="4" y="1"/>
                  </a:lnTo>
                  <a:lnTo>
                    <a:pt x="9" y="0"/>
                  </a:lnTo>
                  <a:lnTo>
                    <a:pt x="11" y="3"/>
                  </a:lnTo>
                  <a:lnTo>
                    <a:pt x="12" y="5"/>
                  </a:lnTo>
                  <a:lnTo>
                    <a:pt x="14" y="8"/>
                  </a:lnTo>
                  <a:lnTo>
                    <a:pt x="17" y="9"/>
                  </a:lnTo>
                  <a:lnTo>
                    <a:pt x="22" y="11"/>
                  </a:lnTo>
                  <a:lnTo>
                    <a:pt x="25" y="16"/>
                  </a:lnTo>
                  <a:close/>
                </a:path>
              </a:pathLst>
            </a:custGeom>
            <a:grpFill/>
            <a:ln w="0">
              <a:solidFill>
                <a:srgbClr val="808080"/>
              </a:solidFill>
              <a:round/>
              <a:headEnd/>
              <a:tailEnd/>
            </a:ln>
          </p:spPr>
          <p:txBody>
            <a:bodyPr lIns="101882" tIns="50941" rIns="101882" bIns="50941"/>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endParaRPr>
            </a:p>
          </p:txBody>
        </p:sp>
        <p:sp>
          <p:nvSpPr>
            <p:cNvPr id="85" name="Freeform 94"/>
            <p:cNvSpPr>
              <a:spLocks/>
            </p:cNvSpPr>
            <p:nvPr/>
          </p:nvSpPr>
          <p:spPr bwMode="auto">
            <a:xfrm>
              <a:off x="1861185" y="5879921"/>
              <a:ext cx="32845" cy="21534"/>
            </a:xfrm>
            <a:custGeom>
              <a:avLst/>
              <a:gdLst>
                <a:gd name="T0" fmla="*/ 22225 w 22"/>
                <a:gd name="T1" fmla="*/ 3175 h 14"/>
                <a:gd name="T2" fmla="*/ 26988 w 22"/>
                <a:gd name="T3" fmla="*/ 0 h 14"/>
                <a:gd name="T4" fmla="*/ 34925 w 22"/>
                <a:gd name="T5" fmla="*/ 3175 h 14"/>
                <a:gd name="T6" fmla="*/ 30163 w 22"/>
                <a:gd name="T7" fmla="*/ 7938 h 14"/>
                <a:gd name="T8" fmla="*/ 22225 w 22"/>
                <a:gd name="T9" fmla="*/ 9525 h 14"/>
                <a:gd name="T10" fmla="*/ 14288 w 22"/>
                <a:gd name="T11" fmla="*/ 15875 h 14"/>
                <a:gd name="T12" fmla="*/ 6350 w 22"/>
                <a:gd name="T13" fmla="*/ 22225 h 14"/>
                <a:gd name="T14" fmla="*/ 1588 w 22"/>
                <a:gd name="T15" fmla="*/ 22225 h 14"/>
                <a:gd name="T16" fmla="*/ 0 w 22"/>
                <a:gd name="T17" fmla="*/ 20638 h 14"/>
                <a:gd name="T18" fmla="*/ 4763 w 22"/>
                <a:gd name="T19" fmla="*/ 15875 h 14"/>
                <a:gd name="T20" fmla="*/ 9525 w 22"/>
                <a:gd name="T21" fmla="*/ 9525 h 14"/>
                <a:gd name="T22" fmla="*/ 14288 w 22"/>
                <a:gd name="T23" fmla="*/ 4763 h 14"/>
                <a:gd name="T24" fmla="*/ 22225 w 22"/>
                <a:gd name="T25" fmla="*/ 3175 h 14"/>
                <a:gd name="T26" fmla="*/ 22225 w 22"/>
                <a:gd name="T27" fmla="*/ 3175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
                <a:gd name="T43" fmla="*/ 0 h 14"/>
                <a:gd name="T44" fmla="*/ 22 w 22"/>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 h="14">
                  <a:moveTo>
                    <a:pt x="14" y="2"/>
                  </a:moveTo>
                  <a:lnTo>
                    <a:pt x="17" y="0"/>
                  </a:lnTo>
                  <a:lnTo>
                    <a:pt x="22" y="2"/>
                  </a:lnTo>
                  <a:lnTo>
                    <a:pt x="19" y="5"/>
                  </a:lnTo>
                  <a:lnTo>
                    <a:pt x="14" y="6"/>
                  </a:lnTo>
                  <a:lnTo>
                    <a:pt x="9" y="10"/>
                  </a:lnTo>
                  <a:lnTo>
                    <a:pt x="4" y="14"/>
                  </a:lnTo>
                  <a:lnTo>
                    <a:pt x="1" y="14"/>
                  </a:lnTo>
                  <a:lnTo>
                    <a:pt x="0" y="13"/>
                  </a:lnTo>
                  <a:lnTo>
                    <a:pt x="3" y="10"/>
                  </a:lnTo>
                  <a:lnTo>
                    <a:pt x="6" y="6"/>
                  </a:lnTo>
                  <a:lnTo>
                    <a:pt x="9" y="3"/>
                  </a:lnTo>
                  <a:lnTo>
                    <a:pt x="14" y="2"/>
                  </a:lnTo>
                  <a:close/>
                </a:path>
              </a:pathLst>
            </a:custGeom>
            <a:grpFill/>
            <a:ln w="0">
              <a:solidFill>
                <a:srgbClr val="808080"/>
              </a:solidFill>
              <a:round/>
              <a:headEnd/>
              <a:tailEnd/>
            </a:ln>
          </p:spPr>
          <p:txBody>
            <a:bodyPr lIns="101882" tIns="50941" rIns="101882" bIns="50941"/>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itchFamily="34" charset="0"/>
              </a:endParaRPr>
            </a:p>
          </p:txBody>
        </p:sp>
        <p:sp>
          <p:nvSpPr>
            <p:cNvPr id="86" name="Freeform 95"/>
            <p:cNvSpPr>
              <a:spLocks/>
            </p:cNvSpPr>
            <p:nvPr/>
          </p:nvSpPr>
          <p:spPr bwMode="auto">
            <a:xfrm>
              <a:off x="2232931" y="6175255"/>
              <a:ext cx="52254" cy="83063"/>
            </a:xfrm>
            <a:custGeom>
              <a:avLst/>
              <a:gdLst>
                <a:gd name="T0" fmla="*/ 38100 w 35"/>
                <a:gd name="T1" fmla="*/ 23813 h 54"/>
                <a:gd name="T2" fmla="*/ 39688 w 35"/>
                <a:gd name="T3" fmla="*/ 28575 h 54"/>
                <a:gd name="T4" fmla="*/ 38100 w 35"/>
                <a:gd name="T5" fmla="*/ 33338 h 54"/>
                <a:gd name="T6" fmla="*/ 39688 w 35"/>
                <a:gd name="T7" fmla="*/ 34925 h 54"/>
                <a:gd name="T8" fmla="*/ 46038 w 35"/>
                <a:gd name="T9" fmla="*/ 38100 h 54"/>
                <a:gd name="T10" fmla="*/ 46038 w 35"/>
                <a:gd name="T11" fmla="*/ 41275 h 54"/>
                <a:gd name="T12" fmla="*/ 46038 w 35"/>
                <a:gd name="T13" fmla="*/ 42863 h 54"/>
                <a:gd name="T14" fmla="*/ 46038 w 35"/>
                <a:gd name="T15" fmla="*/ 46038 h 54"/>
                <a:gd name="T16" fmla="*/ 47625 w 35"/>
                <a:gd name="T17" fmla="*/ 50800 h 54"/>
                <a:gd name="T18" fmla="*/ 50800 w 35"/>
                <a:gd name="T19" fmla="*/ 53975 h 54"/>
                <a:gd name="T20" fmla="*/ 52388 w 35"/>
                <a:gd name="T21" fmla="*/ 58738 h 54"/>
                <a:gd name="T22" fmla="*/ 55563 w 35"/>
                <a:gd name="T23" fmla="*/ 63500 h 54"/>
                <a:gd name="T24" fmla="*/ 55563 w 35"/>
                <a:gd name="T25" fmla="*/ 71438 h 54"/>
                <a:gd name="T26" fmla="*/ 52388 w 35"/>
                <a:gd name="T27" fmla="*/ 77788 h 54"/>
                <a:gd name="T28" fmla="*/ 50800 w 35"/>
                <a:gd name="T29" fmla="*/ 84138 h 54"/>
                <a:gd name="T30" fmla="*/ 42863 w 35"/>
                <a:gd name="T31" fmla="*/ 84138 h 54"/>
                <a:gd name="T32" fmla="*/ 39688 w 35"/>
                <a:gd name="T33" fmla="*/ 80963 h 54"/>
                <a:gd name="T34" fmla="*/ 38100 w 35"/>
                <a:gd name="T35" fmla="*/ 76200 h 54"/>
                <a:gd name="T36" fmla="*/ 34925 w 35"/>
                <a:gd name="T37" fmla="*/ 73025 h 54"/>
                <a:gd name="T38" fmla="*/ 30163 w 35"/>
                <a:gd name="T39" fmla="*/ 66675 h 54"/>
                <a:gd name="T40" fmla="*/ 30163 w 35"/>
                <a:gd name="T41" fmla="*/ 60325 h 54"/>
                <a:gd name="T42" fmla="*/ 20638 w 35"/>
                <a:gd name="T43" fmla="*/ 66675 h 54"/>
                <a:gd name="T44" fmla="*/ 22225 w 35"/>
                <a:gd name="T45" fmla="*/ 68263 h 54"/>
                <a:gd name="T46" fmla="*/ 26988 w 35"/>
                <a:gd name="T47" fmla="*/ 73025 h 54"/>
                <a:gd name="T48" fmla="*/ 30163 w 35"/>
                <a:gd name="T49" fmla="*/ 77788 h 54"/>
                <a:gd name="T50" fmla="*/ 26988 w 35"/>
                <a:gd name="T51" fmla="*/ 85725 h 54"/>
                <a:gd name="T52" fmla="*/ 22225 w 35"/>
                <a:gd name="T53" fmla="*/ 80963 h 54"/>
                <a:gd name="T54" fmla="*/ 20638 w 35"/>
                <a:gd name="T55" fmla="*/ 73025 h 54"/>
                <a:gd name="T56" fmla="*/ 15875 w 35"/>
                <a:gd name="T57" fmla="*/ 66675 h 54"/>
                <a:gd name="T58" fmla="*/ 15875 w 35"/>
                <a:gd name="T59" fmla="*/ 63500 h 54"/>
                <a:gd name="T60" fmla="*/ 12700 w 35"/>
                <a:gd name="T61" fmla="*/ 58738 h 54"/>
                <a:gd name="T62" fmla="*/ 12700 w 35"/>
                <a:gd name="T63" fmla="*/ 50800 h 54"/>
                <a:gd name="T64" fmla="*/ 4763 w 35"/>
                <a:gd name="T65" fmla="*/ 50800 h 54"/>
                <a:gd name="T66" fmla="*/ 3175 w 35"/>
                <a:gd name="T67" fmla="*/ 47625 h 54"/>
                <a:gd name="T68" fmla="*/ 7938 w 35"/>
                <a:gd name="T69" fmla="*/ 42863 h 54"/>
                <a:gd name="T70" fmla="*/ 12700 w 35"/>
                <a:gd name="T71" fmla="*/ 42863 h 54"/>
                <a:gd name="T72" fmla="*/ 9525 w 35"/>
                <a:gd name="T73" fmla="*/ 34925 h 54"/>
                <a:gd name="T74" fmla="*/ 4763 w 35"/>
                <a:gd name="T75" fmla="*/ 25400 h 54"/>
                <a:gd name="T76" fmla="*/ 12700 w 35"/>
                <a:gd name="T77" fmla="*/ 23813 h 54"/>
                <a:gd name="T78" fmla="*/ 15875 w 35"/>
                <a:gd name="T79" fmla="*/ 20638 h 54"/>
                <a:gd name="T80" fmla="*/ 7938 w 35"/>
                <a:gd name="T81" fmla="*/ 15875 h 54"/>
                <a:gd name="T82" fmla="*/ 0 w 35"/>
                <a:gd name="T83" fmla="*/ 11113 h 54"/>
                <a:gd name="T84" fmla="*/ 4763 w 35"/>
                <a:gd name="T85" fmla="*/ 7938 h 54"/>
                <a:gd name="T86" fmla="*/ 12700 w 35"/>
                <a:gd name="T87" fmla="*/ 4763 h 54"/>
                <a:gd name="T88" fmla="*/ 7938 w 35"/>
                <a:gd name="T89" fmla="*/ 3175 h 54"/>
                <a:gd name="T90" fmla="*/ 9525 w 35"/>
                <a:gd name="T91" fmla="*/ 0 h 54"/>
                <a:gd name="T92" fmla="*/ 15875 w 35"/>
                <a:gd name="T93" fmla="*/ 3175 h 54"/>
                <a:gd name="T94" fmla="*/ 22225 w 35"/>
                <a:gd name="T95" fmla="*/ 7938 h 54"/>
                <a:gd name="T96" fmla="*/ 30163 w 35"/>
                <a:gd name="T97" fmla="*/ 12700 h 54"/>
                <a:gd name="T98" fmla="*/ 38100 w 35"/>
                <a:gd name="T99" fmla="*/ 23813 h 54"/>
                <a:gd name="T100" fmla="*/ 38100 w 35"/>
                <a:gd name="T101" fmla="*/ 23813 h 5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5"/>
                <a:gd name="T154" fmla="*/ 0 h 54"/>
                <a:gd name="T155" fmla="*/ 35 w 35"/>
                <a:gd name="T156" fmla="*/ 54 h 5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5" h="54">
                  <a:moveTo>
                    <a:pt x="24" y="15"/>
                  </a:moveTo>
                  <a:lnTo>
                    <a:pt x="25" y="18"/>
                  </a:lnTo>
                  <a:lnTo>
                    <a:pt x="24" y="21"/>
                  </a:lnTo>
                  <a:lnTo>
                    <a:pt x="25" y="22"/>
                  </a:lnTo>
                  <a:lnTo>
                    <a:pt x="29" y="24"/>
                  </a:lnTo>
                  <a:lnTo>
                    <a:pt x="29" y="26"/>
                  </a:lnTo>
                  <a:lnTo>
                    <a:pt x="29" y="27"/>
                  </a:lnTo>
                  <a:lnTo>
                    <a:pt x="29" y="29"/>
                  </a:lnTo>
                  <a:lnTo>
                    <a:pt x="30" y="32"/>
                  </a:lnTo>
                  <a:lnTo>
                    <a:pt x="32" y="34"/>
                  </a:lnTo>
                  <a:lnTo>
                    <a:pt x="33" y="37"/>
                  </a:lnTo>
                  <a:lnTo>
                    <a:pt x="35" y="40"/>
                  </a:lnTo>
                  <a:lnTo>
                    <a:pt x="35" y="45"/>
                  </a:lnTo>
                  <a:lnTo>
                    <a:pt x="33" y="49"/>
                  </a:lnTo>
                  <a:lnTo>
                    <a:pt x="32" y="53"/>
                  </a:lnTo>
                  <a:lnTo>
                    <a:pt x="27" y="53"/>
                  </a:lnTo>
                  <a:lnTo>
                    <a:pt x="25" y="51"/>
                  </a:lnTo>
                  <a:lnTo>
                    <a:pt x="24" y="48"/>
                  </a:lnTo>
                  <a:lnTo>
                    <a:pt x="22" y="46"/>
                  </a:lnTo>
                  <a:lnTo>
                    <a:pt x="19" y="42"/>
                  </a:lnTo>
                  <a:lnTo>
                    <a:pt x="19" y="38"/>
                  </a:lnTo>
                  <a:lnTo>
                    <a:pt x="13" y="42"/>
                  </a:lnTo>
                  <a:lnTo>
                    <a:pt x="14" y="43"/>
                  </a:lnTo>
                  <a:lnTo>
                    <a:pt x="17" y="46"/>
                  </a:lnTo>
                  <a:lnTo>
                    <a:pt x="19" y="49"/>
                  </a:lnTo>
                  <a:lnTo>
                    <a:pt x="17" y="54"/>
                  </a:lnTo>
                  <a:lnTo>
                    <a:pt x="14" y="51"/>
                  </a:lnTo>
                  <a:lnTo>
                    <a:pt x="13" y="46"/>
                  </a:lnTo>
                  <a:lnTo>
                    <a:pt x="10" y="42"/>
                  </a:lnTo>
                  <a:lnTo>
                    <a:pt x="10" y="40"/>
                  </a:lnTo>
                  <a:lnTo>
                    <a:pt x="8" y="37"/>
                  </a:lnTo>
                  <a:lnTo>
                    <a:pt x="8" y="32"/>
                  </a:lnTo>
                  <a:lnTo>
                    <a:pt x="3" y="32"/>
                  </a:lnTo>
                  <a:lnTo>
                    <a:pt x="2" y="30"/>
                  </a:lnTo>
                  <a:lnTo>
                    <a:pt x="5" y="27"/>
                  </a:lnTo>
                  <a:lnTo>
                    <a:pt x="8" y="27"/>
                  </a:lnTo>
                  <a:lnTo>
                    <a:pt x="6" y="22"/>
                  </a:lnTo>
                  <a:lnTo>
                    <a:pt x="3" y="16"/>
                  </a:lnTo>
                  <a:lnTo>
                    <a:pt x="8" y="15"/>
                  </a:lnTo>
                  <a:lnTo>
                    <a:pt x="10" y="13"/>
                  </a:lnTo>
                  <a:lnTo>
                    <a:pt x="5" y="10"/>
                  </a:lnTo>
                  <a:lnTo>
                    <a:pt x="0" y="7"/>
                  </a:lnTo>
                  <a:lnTo>
                    <a:pt x="3" y="5"/>
                  </a:lnTo>
                  <a:lnTo>
                    <a:pt x="8" y="3"/>
                  </a:lnTo>
                  <a:lnTo>
                    <a:pt x="5" y="2"/>
                  </a:lnTo>
                  <a:lnTo>
                    <a:pt x="6" y="0"/>
                  </a:lnTo>
                  <a:lnTo>
                    <a:pt x="10" y="2"/>
                  </a:lnTo>
                  <a:lnTo>
                    <a:pt x="14" y="5"/>
                  </a:lnTo>
                  <a:lnTo>
                    <a:pt x="19" y="8"/>
                  </a:lnTo>
                  <a:lnTo>
                    <a:pt x="24" y="15"/>
                  </a:lnTo>
                  <a:close/>
                </a:path>
              </a:pathLst>
            </a:custGeom>
            <a:grpFill/>
            <a:ln w="0">
              <a:solidFill>
                <a:srgbClr val="808080"/>
              </a:solidFill>
              <a:round/>
              <a:headEnd/>
              <a:tailEnd/>
            </a:ln>
          </p:spPr>
          <p:txBody>
            <a:bodyPr lIns="101882" tIns="50941" rIns="101882" bIns="50941"/>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itchFamily="34" charset="0"/>
              </a:endParaRPr>
            </a:p>
          </p:txBody>
        </p:sp>
        <p:sp>
          <p:nvSpPr>
            <p:cNvPr id="87" name="Freeform 96"/>
            <p:cNvSpPr>
              <a:spLocks/>
            </p:cNvSpPr>
            <p:nvPr/>
          </p:nvSpPr>
          <p:spPr bwMode="auto">
            <a:xfrm>
              <a:off x="2213524" y="6121418"/>
              <a:ext cx="44789" cy="69219"/>
            </a:xfrm>
            <a:custGeom>
              <a:avLst/>
              <a:gdLst>
                <a:gd name="T0" fmla="*/ 3175 w 30"/>
                <a:gd name="T1" fmla="*/ 11113 h 45"/>
                <a:gd name="T2" fmla="*/ 0 w 30"/>
                <a:gd name="T3" fmla="*/ 12700 h 45"/>
                <a:gd name="T4" fmla="*/ 0 w 30"/>
                <a:gd name="T5" fmla="*/ 20638 h 45"/>
                <a:gd name="T6" fmla="*/ 3175 w 30"/>
                <a:gd name="T7" fmla="*/ 20638 h 45"/>
                <a:gd name="T8" fmla="*/ 4763 w 30"/>
                <a:gd name="T9" fmla="*/ 23813 h 45"/>
                <a:gd name="T10" fmla="*/ 4763 w 30"/>
                <a:gd name="T11" fmla="*/ 25400 h 45"/>
                <a:gd name="T12" fmla="*/ 3175 w 30"/>
                <a:gd name="T13" fmla="*/ 30163 h 45"/>
                <a:gd name="T14" fmla="*/ 3175 w 30"/>
                <a:gd name="T15" fmla="*/ 36513 h 45"/>
                <a:gd name="T16" fmla="*/ 4763 w 30"/>
                <a:gd name="T17" fmla="*/ 42863 h 45"/>
                <a:gd name="T18" fmla="*/ 3175 w 30"/>
                <a:gd name="T19" fmla="*/ 47625 h 45"/>
                <a:gd name="T20" fmla="*/ 0 w 30"/>
                <a:gd name="T21" fmla="*/ 53975 h 45"/>
                <a:gd name="T22" fmla="*/ 0 w 30"/>
                <a:gd name="T23" fmla="*/ 60325 h 45"/>
                <a:gd name="T24" fmla="*/ 3175 w 30"/>
                <a:gd name="T25" fmla="*/ 71438 h 45"/>
                <a:gd name="T26" fmla="*/ 7938 w 30"/>
                <a:gd name="T27" fmla="*/ 66675 h 45"/>
                <a:gd name="T28" fmla="*/ 11113 w 30"/>
                <a:gd name="T29" fmla="*/ 58738 h 45"/>
                <a:gd name="T30" fmla="*/ 12700 w 30"/>
                <a:gd name="T31" fmla="*/ 47625 h 45"/>
                <a:gd name="T32" fmla="*/ 15875 w 30"/>
                <a:gd name="T33" fmla="*/ 38100 h 45"/>
                <a:gd name="T34" fmla="*/ 20638 w 30"/>
                <a:gd name="T35" fmla="*/ 33338 h 45"/>
                <a:gd name="T36" fmla="*/ 23813 w 30"/>
                <a:gd name="T37" fmla="*/ 36513 h 45"/>
                <a:gd name="T38" fmla="*/ 25400 w 30"/>
                <a:gd name="T39" fmla="*/ 38100 h 45"/>
                <a:gd name="T40" fmla="*/ 28575 w 30"/>
                <a:gd name="T41" fmla="*/ 38100 h 45"/>
                <a:gd name="T42" fmla="*/ 30163 w 30"/>
                <a:gd name="T43" fmla="*/ 41275 h 45"/>
                <a:gd name="T44" fmla="*/ 36513 w 30"/>
                <a:gd name="T45" fmla="*/ 38100 h 45"/>
                <a:gd name="T46" fmla="*/ 38100 w 30"/>
                <a:gd name="T47" fmla="*/ 38100 h 45"/>
                <a:gd name="T48" fmla="*/ 41275 w 30"/>
                <a:gd name="T49" fmla="*/ 36513 h 45"/>
                <a:gd name="T50" fmla="*/ 46038 w 30"/>
                <a:gd name="T51" fmla="*/ 28575 h 45"/>
                <a:gd name="T52" fmla="*/ 47625 w 30"/>
                <a:gd name="T53" fmla="*/ 20638 h 45"/>
                <a:gd name="T54" fmla="*/ 47625 w 30"/>
                <a:gd name="T55" fmla="*/ 15875 h 45"/>
                <a:gd name="T56" fmla="*/ 41275 w 30"/>
                <a:gd name="T57" fmla="*/ 7938 h 45"/>
                <a:gd name="T58" fmla="*/ 33338 w 30"/>
                <a:gd name="T59" fmla="*/ 4763 h 45"/>
                <a:gd name="T60" fmla="*/ 23813 w 30"/>
                <a:gd name="T61" fmla="*/ 3175 h 45"/>
                <a:gd name="T62" fmla="*/ 17463 w 30"/>
                <a:gd name="T63" fmla="*/ 0 h 45"/>
                <a:gd name="T64" fmla="*/ 12700 w 30"/>
                <a:gd name="T65" fmla="*/ 3175 h 45"/>
                <a:gd name="T66" fmla="*/ 12700 w 30"/>
                <a:gd name="T67" fmla="*/ 7938 h 45"/>
                <a:gd name="T68" fmla="*/ 17463 w 30"/>
                <a:gd name="T69" fmla="*/ 11113 h 45"/>
                <a:gd name="T70" fmla="*/ 11113 w 30"/>
                <a:gd name="T71" fmla="*/ 7938 h 45"/>
                <a:gd name="T72" fmla="*/ 3175 w 30"/>
                <a:gd name="T73" fmla="*/ 11113 h 45"/>
                <a:gd name="T74" fmla="*/ 3175 w 30"/>
                <a:gd name="T75" fmla="*/ 11113 h 4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0"/>
                <a:gd name="T115" fmla="*/ 0 h 45"/>
                <a:gd name="T116" fmla="*/ 30 w 30"/>
                <a:gd name="T117" fmla="*/ 45 h 4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0" h="45">
                  <a:moveTo>
                    <a:pt x="2" y="7"/>
                  </a:moveTo>
                  <a:lnTo>
                    <a:pt x="0" y="8"/>
                  </a:lnTo>
                  <a:lnTo>
                    <a:pt x="0" y="13"/>
                  </a:lnTo>
                  <a:lnTo>
                    <a:pt x="2" y="13"/>
                  </a:lnTo>
                  <a:lnTo>
                    <a:pt x="3" y="15"/>
                  </a:lnTo>
                  <a:lnTo>
                    <a:pt x="3" y="16"/>
                  </a:lnTo>
                  <a:lnTo>
                    <a:pt x="2" y="19"/>
                  </a:lnTo>
                  <a:lnTo>
                    <a:pt x="2" y="23"/>
                  </a:lnTo>
                  <a:lnTo>
                    <a:pt x="3" y="27"/>
                  </a:lnTo>
                  <a:lnTo>
                    <a:pt x="2" y="30"/>
                  </a:lnTo>
                  <a:lnTo>
                    <a:pt x="0" y="34"/>
                  </a:lnTo>
                  <a:lnTo>
                    <a:pt x="0" y="38"/>
                  </a:lnTo>
                  <a:lnTo>
                    <a:pt x="2" y="45"/>
                  </a:lnTo>
                  <a:lnTo>
                    <a:pt x="5" y="42"/>
                  </a:lnTo>
                  <a:lnTo>
                    <a:pt x="7" y="37"/>
                  </a:lnTo>
                  <a:lnTo>
                    <a:pt x="8" y="30"/>
                  </a:lnTo>
                  <a:lnTo>
                    <a:pt x="10" y="24"/>
                  </a:lnTo>
                  <a:lnTo>
                    <a:pt x="13" y="21"/>
                  </a:lnTo>
                  <a:lnTo>
                    <a:pt x="15" y="23"/>
                  </a:lnTo>
                  <a:lnTo>
                    <a:pt x="16" y="24"/>
                  </a:lnTo>
                  <a:lnTo>
                    <a:pt x="18" y="24"/>
                  </a:lnTo>
                  <a:lnTo>
                    <a:pt x="19" y="26"/>
                  </a:lnTo>
                  <a:lnTo>
                    <a:pt x="23" y="24"/>
                  </a:lnTo>
                  <a:lnTo>
                    <a:pt x="24" y="24"/>
                  </a:lnTo>
                  <a:lnTo>
                    <a:pt x="26" y="23"/>
                  </a:lnTo>
                  <a:lnTo>
                    <a:pt x="29" y="18"/>
                  </a:lnTo>
                  <a:lnTo>
                    <a:pt x="30" y="13"/>
                  </a:lnTo>
                  <a:lnTo>
                    <a:pt x="30" y="10"/>
                  </a:lnTo>
                  <a:lnTo>
                    <a:pt x="26" y="5"/>
                  </a:lnTo>
                  <a:lnTo>
                    <a:pt x="21" y="3"/>
                  </a:lnTo>
                  <a:lnTo>
                    <a:pt x="15" y="2"/>
                  </a:lnTo>
                  <a:lnTo>
                    <a:pt x="11" y="0"/>
                  </a:lnTo>
                  <a:lnTo>
                    <a:pt x="8" y="2"/>
                  </a:lnTo>
                  <a:lnTo>
                    <a:pt x="8" y="5"/>
                  </a:lnTo>
                  <a:lnTo>
                    <a:pt x="11" y="7"/>
                  </a:lnTo>
                  <a:lnTo>
                    <a:pt x="7" y="5"/>
                  </a:lnTo>
                  <a:lnTo>
                    <a:pt x="2" y="7"/>
                  </a:lnTo>
                  <a:close/>
                </a:path>
              </a:pathLst>
            </a:custGeom>
            <a:grpFill/>
            <a:ln w="0">
              <a:solidFill>
                <a:srgbClr val="808080"/>
              </a:solidFill>
              <a:round/>
              <a:headEnd/>
              <a:tailEnd/>
            </a:ln>
          </p:spPr>
          <p:txBody>
            <a:bodyPr lIns="101882" tIns="50941" rIns="101882" bIns="50941"/>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itchFamily="34" charset="0"/>
              </a:endParaRPr>
            </a:p>
          </p:txBody>
        </p:sp>
        <p:sp>
          <p:nvSpPr>
            <p:cNvPr id="88" name="Freeform 97"/>
            <p:cNvSpPr>
              <a:spLocks/>
            </p:cNvSpPr>
            <p:nvPr/>
          </p:nvSpPr>
          <p:spPr bwMode="auto">
            <a:xfrm>
              <a:off x="2159776" y="6050661"/>
              <a:ext cx="47775" cy="119979"/>
            </a:xfrm>
            <a:custGeom>
              <a:avLst/>
              <a:gdLst>
                <a:gd name="T0" fmla="*/ 30163 w 32"/>
                <a:gd name="T1" fmla="*/ 77788 h 78"/>
                <a:gd name="T2" fmla="*/ 25400 w 32"/>
                <a:gd name="T3" fmla="*/ 71438 h 78"/>
                <a:gd name="T4" fmla="*/ 19050 w 32"/>
                <a:gd name="T5" fmla="*/ 73025 h 78"/>
                <a:gd name="T6" fmla="*/ 12700 w 32"/>
                <a:gd name="T7" fmla="*/ 76200 h 78"/>
                <a:gd name="T8" fmla="*/ 12700 w 32"/>
                <a:gd name="T9" fmla="*/ 71438 h 78"/>
                <a:gd name="T10" fmla="*/ 12700 w 32"/>
                <a:gd name="T11" fmla="*/ 60325 h 78"/>
                <a:gd name="T12" fmla="*/ 6350 w 32"/>
                <a:gd name="T13" fmla="*/ 46038 h 78"/>
                <a:gd name="T14" fmla="*/ 1588 w 32"/>
                <a:gd name="T15" fmla="*/ 30163 h 78"/>
                <a:gd name="T16" fmla="*/ 0 w 32"/>
                <a:gd name="T17" fmla="*/ 20638 h 78"/>
                <a:gd name="T18" fmla="*/ 0 w 32"/>
                <a:gd name="T19" fmla="*/ 7938 h 78"/>
                <a:gd name="T20" fmla="*/ 14288 w 32"/>
                <a:gd name="T21" fmla="*/ 0 h 78"/>
                <a:gd name="T22" fmla="*/ 25400 w 32"/>
                <a:gd name="T23" fmla="*/ 7938 h 78"/>
                <a:gd name="T24" fmla="*/ 26988 w 32"/>
                <a:gd name="T25" fmla="*/ 12700 h 78"/>
                <a:gd name="T26" fmla="*/ 34925 w 32"/>
                <a:gd name="T27" fmla="*/ 12700 h 78"/>
                <a:gd name="T28" fmla="*/ 44450 w 32"/>
                <a:gd name="T29" fmla="*/ 17463 h 78"/>
                <a:gd name="T30" fmla="*/ 42863 w 32"/>
                <a:gd name="T31" fmla="*/ 25400 h 78"/>
                <a:gd name="T32" fmla="*/ 44450 w 32"/>
                <a:gd name="T33" fmla="*/ 38100 h 78"/>
                <a:gd name="T34" fmla="*/ 42863 w 32"/>
                <a:gd name="T35" fmla="*/ 50800 h 78"/>
                <a:gd name="T36" fmla="*/ 34925 w 32"/>
                <a:gd name="T37" fmla="*/ 47625 h 78"/>
                <a:gd name="T38" fmla="*/ 42863 w 32"/>
                <a:gd name="T39" fmla="*/ 55563 h 78"/>
                <a:gd name="T40" fmla="*/ 39688 w 32"/>
                <a:gd name="T41" fmla="*/ 68263 h 78"/>
                <a:gd name="T42" fmla="*/ 44450 w 32"/>
                <a:gd name="T43" fmla="*/ 73025 h 78"/>
                <a:gd name="T44" fmla="*/ 47625 w 32"/>
                <a:gd name="T45" fmla="*/ 84138 h 78"/>
                <a:gd name="T46" fmla="*/ 50800 w 32"/>
                <a:gd name="T47" fmla="*/ 98425 h 78"/>
                <a:gd name="T48" fmla="*/ 47625 w 32"/>
                <a:gd name="T49" fmla="*/ 114300 h 78"/>
                <a:gd name="T50" fmla="*/ 47625 w 32"/>
                <a:gd name="T51" fmla="*/ 123825 h 78"/>
                <a:gd name="T52" fmla="*/ 38100 w 32"/>
                <a:gd name="T53" fmla="*/ 119063 h 78"/>
                <a:gd name="T54" fmla="*/ 38100 w 32"/>
                <a:gd name="T55" fmla="*/ 106363 h 78"/>
                <a:gd name="T56" fmla="*/ 38100 w 32"/>
                <a:gd name="T57" fmla="*/ 96838 h 78"/>
                <a:gd name="T58" fmla="*/ 31750 w 32"/>
                <a:gd name="T59" fmla="*/ 96838 h 78"/>
                <a:gd name="T60" fmla="*/ 30163 w 32"/>
                <a:gd name="T61" fmla="*/ 90488 h 78"/>
                <a:gd name="T62" fmla="*/ 25400 w 32"/>
                <a:gd name="T63" fmla="*/ 84138 h 78"/>
                <a:gd name="T64" fmla="*/ 26988 w 32"/>
                <a:gd name="T65" fmla="*/ 80963 h 7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2"/>
                <a:gd name="T100" fmla="*/ 0 h 78"/>
                <a:gd name="T101" fmla="*/ 32 w 32"/>
                <a:gd name="T102" fmla="*/ 78 h 7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2" h="78">
                  <a:moveTo>
                    <a:pt x="17" y="51"/>
                  </a:moveTo>
                  <a:lnTo>
                    <a:pt x="19" y="49"/>
                  </a:lnTo>
                  <a:lnTo>
                    <a:pt x="19" y="48"/>
                  </a:lnTo>
                  <a:lnTo>
                    <a:pt x="16" y="45"/>
                  </a:lnTo>
                  <a:lnTo>
                    <a:pt x="14" y="43"/>
                  </a:lnTo>
                  <a:lnTo>
                    <a:pt x="12" y="46"/>
                  </a:lnTo>
                  <a:lnTo>
                    <a:pt x="11" y="48"/>
                  </a:lnTo>
                  <a:lnTo>
                    <a:pt x="8" y="48"/>
                  </a:lnTo>
                  <a:lnTo>
                    <a:pt x="8" y="45"/>
                  </a:lnTo>
                  <a:lnTo>
                    <a:pt x="9" y="45"/>
                  </a:lnTo>
                  <a:lnTo>
                    <a:pt x="8" y="38"/>
                  </a:lnTo>
                  <a:lnTo>
                    <a:pt x="6" y="34"/>
                  </a:lnTo>
                  <a:lnTo>
                    <a:pt x="4" y="29"/>
                  </a:lnTo>
                  <a:lnTo>
                    <a:pt x="3" y="24"/>
                  </a:lnTo>
                  <a:lnTo>
                    <a:pt x="1" y="19"/>
                  </a:lnTo>
                  <a:lnTo>
                    <a:pt x="0" y="16"/>
                  </a:lnTo>
                  <a:lnTo>
                    <a:pt x="0" y="13"/>
                  </a:lnTo>
                  <a:lnTo>
                    <a:pt x="0" y="10"/>
                  </a:lnTo>
                  <a:lnTo>
                    <a:pt x="0" y="5"/>
                  </a:lnTo>
                  <a:lnTo>
                    <a:pt x="6" y="2"/>
                  </a:lnTo>
                  <a:lnTo>
                    <a:pt x="9" y="0"/>
                  </a:lnTo>
                  <a:lnTo>
                    <a:pt x="14" y="3"/>
                  </a:lnTo>
                  <a:lnTo>
                    <a:pt x="16" y="5"/>
                  </a:lnTo>
                  <a:lnTo>
                    <a:pt x="19" y="8"/>
                  </a:lnTo>
                  <a:lnTo>
                    <a:pt x="17" y="8"/>
                  </a:lnTo>
                  <a:lnTo>
                    <a:pt x="19" y="8"/>
                  </a:lnTo>
                  <a:lnTo>
                    <a:pt x="22" y="8"/>
                  </a:lnTo>
                  <a:lnTo>
                    <a:pt x="25" y="8"/>
                  </a:lnTo>
                  <a:lnTo>
                    <a:pt x="28" y="11"/>
                  </a:lnTo>
                  <a:lnTo>
                    <a:pt x="28" y="15"/>
                  </a:lnTo>
                  <a:lnTo>
                    <a:pt x="27" y="16"/>
                  </a:lnTo>
                  <a:lnTo>
                    <a:pt x="27" y="19"/>
                  </a:lnTo>
                  <a:lnTo>
                    <a:pt x="28" y="24"/>
                  </a:lnTo>
                  <a:lnTo>
                    <a:pt x="28" y="29"/>
                  </a:lnTo>
                  <a:lnTo>
                    <a:pt x="27" y="32"/>
                  </a:lnTo>
                  <a:lnTo>
                    <a:pt x="24" y="32"/>
                  </a:lnTo>
                  <a:lnTo>
                    <a:pt x="22" y="30"/>
                  </a:lnTo>
                  <a:lnTo>
                    <a:pt x="24" y="34"/>
                  </a:lnTo>
                  <a:lnTo>
                    <a:pt x="27" y="35"/>
                  </a:lnTo>
                  <a:lnTo>
                    <a:pt x="27" y="38"/>
                  </a:lnTo>
                  <a:lnTo>
                    <a:pt x="25" y="43"/>
                  </a:lnTo>
                  <a:lnTo>
                    <a:pt x="27" y="45"/>
                  </a:lnTo>
                  <a:lnTo>
                    <a:pt x="28" y="46"/>
                  </a:lnTo>
                  <a:lnTo>
                    <a:pt x="28" y="48"/>
                  </a:lnTo>
                  <a:lnTo>
                    <a:pt x="30" y="53"/>
                  </a:lnTo>
                  <a:lnTo>
                    <a:pt x="30" y="57"/>
                  </a:lnTo>
                  <a:lnTo>
                    <a:pt x="32" y="62"/>
                  </a:lnTo>
                  <a:lnTo>
                    <a:pt x="30" y="67"/>
                  </a:lnTo>
                  <a:lnTo>
                    <a:pt x="30" y="72"/>
                  </a:lnTo>
                  <a:lnTo>
                    <a:pt x="30" y="75"/>
                  </a:lnTo>
                  <a:lnTo>
                    <a:pt x="30" y="78"/>
                  </a:lnTo>
                  <a:lnTo>
                    <a:pt x="27" y="78"/>
                  </a:lnTo>
                  <a:lnTo>
                    <a:pt x="24" y="75"/>
                  </a:lnTo>
                  <a:lnTo>
                    <a:pt x="22" y="70"/>
                  </a:lnTo>
                  <a:lnTo>
                    <a:pt x="24" y="67"/>
                  </a:lnTo>
                  <a:lnTo>
                    <a:pt x="24" y="64"/>
                  </a:lnTo>
                  <a:lnTo>
                    <a:pt x="24" y="61"/>
                  </a:lnTo>
                  <a:lnTo>
                    <a:pt x="20" y="62"/>
                  </a:lnTo>
                  <a:lnTo>
                    <a:pt x="20" y="61"/>
                  </a:lnTo>
                  <a:lnTo>
                    <a:pt x="20" y="59"/>
                  </a:lnTo>
                  <a:lnTo>
                    <a:pt x="19" y="57"/>
                  </a:lnTo>
                  <a:lnTo>
                    <a:pt x="17" y="56"/>
                  </a:lnTo>
                  <a:lnTo>
                    <a:pt x="16" y="53"/>
                  </a:lnTo>
                  <a:lnTo>
                    <a:pt x="17" y="51"/>
                  </a:lnTo>
                  <a:close/>
                </a:path>
              </a:pathLst>
            </a:custGeom>
            <a:grpFill/>
            <a:ln w="0">
              <a:solidFill>
                <a:srgbClr val="808080"/>
              </a:solidFill>
              <a:round/>
              <a:headEnd/>
              <a:tailEnd/>
            </a:ln>
          </p:spPr>
          <p:txBody>
            <a:bodyPr lIns="101882" tIns="50941" rIns="101882" bIns="50941"/>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itchFamily="34" charset="0"/>
              </a:endParaRPr>
            </a:p>
          </p:txBody>
        </p:sp>
        <p:sp>
          <p:nvSpPr>
            <p:cNvPr id="89" name="Freeform 98"/>
            <p:cNvSpPr>
              <a:spLocks/>
            </p:cNvSpPr>
            <p:nvPr/>
          </p:nvSpPr>
          <p:spPr bwMode="auto">
            <a:xfrm>
              <a:off x="2207552" y="6062966"/>
              <a:ext cx="28366" cy="61528"/>
            </a:xfrm>
            <a:custGeom>
              <a:avLst/>
              <a:gdLst>
                <a:gd name="T0" fmla="*/ 17462 w 19"/>
                <a:gd name="T1" fmla="*/ 15875 h 40"/>
                <a:gd name="T2" fmla="*/ 17462 w 19"/>
                <a:gd name="T3" fmla="*/ 15875 h 40"/>
                <a:gd name="T4" fmla="*/ 17462 w 19"/>
                <a:gd name="T5" fmla="*/ 11113 h 40"/>
                <a:gd name="T6" fmla="*/ 17462 w 19"/>
                <a:gd name="T7" fmla="*/ 7938 h 40"/>
                <a:gd name="T8" fmla="*/ 14287 w 19"/>
                <a:gd name="T9" fmla="*/ 3175 h 40"/>
                <a:gd name="T10" fmla="*/ 9525 w 19"/>
                <a:gd name="T11" fmla="*/ 0 h 40"/>
                <a:gd name="T12" fmla="*/ 4762 w 19"/>
                <a:gd name="T13" fmla="*/ 0 h 40"/>
                <a:gd name="T14" fmla="*/ 1587 w 19"/>
                <a:gd name="T15" fmla="*/ 0 h 40"/>
                <a:gd name="T16" fmla="*/ 0 w 19"/>
                <a:gd name="T17" fmla="*/ 0 h 40"/>
                <a:gd name="T18" fmla="*/ 0 w 19"/>
                <a:gd name="T19" fmla="*/ 0 h 40"/>
                <a:gd name="T20" fmla="*/ 0 w 19"/>
                <a:gd name="T21" fmla="*/ 12700 h 40"/>
                <a:gd name="T22" fmla="*/ 0 w 19"/>
                <a:gd name="T23" fmla="*/ 22225 h 40"/>
                <a:gd name="T24" fmla="*/ 1587 w 19"/>
                <a:gd name="T25" fmla="*/ 22225 h 40"/>
                <a:gd name="T26" fmla="*/ 1587 w 19"/>
                <a:gd name="T27" fmla="*/ 25400 h 40"/>
                <a:gd name="T28" fmla="*/ 1587 w 19"/>
                <a:gd name="T29" fmla="*/ 33338 h 40"/>
                <a:gd name="T30" fmla="*/ 1587 w 19"/>
                <a:gd name="T31" fmla="*/ 42863 h 40"/>
                <a:gd name="T32" fmla="*/ 1587 w 19"/>
                <a:gd name="T33" fmla="*/ 50800 h 40"/>
                <a:gd name="T34" fmla="*/ 0 w 19"/>
                <a:gd name="T35" fmla="*/ 60325 h 40"/>
                <a:gd name="T36" fmla="*/ 1587 w 19"/>
                <a:gd name="T37" fmla="*/ 60325 h 40"/>
                <a:gd name="T38" fmla="*/ 9525 w 19"/>
                <a:gd name="T39" fmla="*/ 63500 h 40"/>
                <a:gd name="T40" fmla="*/ 14287 w 19"/>
                <a:gd name="T41" fmla="*/ 55563 h 40"/>
                <a:gd name="T42" fmla="*/ 19050 w 19"/>
                <a:gd name="T43" fmla="*/ 50800 h 40"/>
                <a:gd name="T44" fmla="*/ 23812 w 19"/>
                <a:gd name="T45" fmla="*/ 50800 h 40"/>
                <a:gd name="T46" fmla="*/ 30162 w 19"/>
                <a:gd name="T47" fmla="*/ 50800 h 40"/>
                <a:gd name="T48" fmla="*/ 26987 w 19"/>
                <a:gd name="T49" fmla="*/ 42863 h 40"/>
                <a:gd name="T50" fmla="*/ 22225 w 19"/>
                <a:gd name="T51" fmla="*/ 33338 h 40"/>
                <a:gd name="T52" fmla="*/ 19050 w 19"/>
                <a:gd name="T53" fmla="*/ 22225 h 40"/>
                <a:gd name="T54" fmla="*/ 17462 w 19"/>
                <a:gd name="T55" fmla="*/ 15875 h 40"/>
                <a:gd name="T56" fmla="*/ 17462 w 19"/>
                <a:gd name="T57" fmla="*/ 15875 h 40"/>
                <a:gd name="T58" fmla="*/ 17462 w 19"/>
                <a:gd name="T59" fmla="*/ 15875 h 4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9"/>
                <a:gd name="T91" fmla="*/ 0 h 40"/>
                <a:gd name="T92" fmla="*/ 19 w 19"/>
                <a:gd name="T93" fmla="*/ 40 h 4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9" h="40">
                  <a:moveTo>
                    <a:pt x="11" y="10"/>
                  </a:moveTo>
                  <a:lnTo>
                    <a:pt x="11" y="10"/>
                  </a:lnTo>
                  <a:lnTo>
                    <a:pt x="11" y="7"/>
                  </a:lnTo>
                  <a:lnTo>
                    <a:pt x="11" y="5"/>
                  </a:lnTo>
                  <a:lnTo>
                    <a:pt x="9" y="2"/>
                  </a:lnTo>
                  <a:lnTo>
                    <a:pt x="6" y="0"/>
                  </a:lnTo>
                  <a:lnTo>
                    <a:pt x="3" y="0"/>
                  </a:lnTo>
                  <a:lnTo>
                    <a:pt x="1" y="0"/>
                  </a:lnTo>
                  <a:lnTo>
                    <a:pt x="0" y="0"/>
                  </a:lnTo>
                  <a:lnTo>
                    <a:pt x="0" y="8"/>
                  </a:lnTo>
                  <a:lnTo>
                    <a:pt x="0" y="14"/>
                  </a:lnTo>
                  <a:lnTo>
                    <a:pt x="1" y="14"/>
                  </a:lnTo>
                  <a:lnTo>
                    <a:pt x="1" y="16"/>
                  </a:lnTo>
                  <a:lnTo>
                    <a:pt x="1" y="21"/>
                  </a:lnTo>
                  <a:lnTo>
                    <a:pt x="1" y="27"/>
                  </a:lnTo>
                  <a:lnTo>
                    <a:pt x="1" y="32"/>
                  </a:lnTo>
                  <a:lnTo>
                    <a:pt x="0" y="38"/>
                  </a:lnTo>
                  <a:lnTo>
                    <a:pt x="1" y="38"/>
                  </a:lnTo>
                  <a:lnTo>
                    <a:pt x="6" y="40"/>
                  </a:lnTo>
                  <a:lnTo>
                    <a:pt x="9" y="35"/>
                  </a:lnTo>
                  <a:lnTo>
                    <a:pt x="12" y="32"/>
                  </a:lnTo>
                  <a:lnTo>
                    <a:pt x="15" y="32"/>
                  </a:lnTo>
                  <a:lnTo>
                    <a:pt x="19" y="32"/>
                  </a:lnTo>
                  <a:lnTo>
                    <a:pt x="17" y="27"/>
                  </a:lnTo>
                  <a:lnTo>
                    <a:pt x="14" y="21"/>
                  </a:lnTo>
                  <a:lnTo>
                    <a:pt x="12" y="14"/>
                  </a:lnTo>
                  <a:lnTo>
                    <a:pt x="11" y="10"/>
                  </a:lnTo>
                  <a:close/>
                </a:path>
              </a:pathLst>
            </a:custGeom>
            <a:grpFill/>
            <a:ln w="0">
              <a:solidFill>
                <a:srgbClr val="808080"/>
              </a:solidFill>
              <a:round/>
              <a:headEnd/>
              <a:tailEnd/>
            </a:ln>
          </p:spPr>
          <p:txBody>
            <a:bodyPr lIns="101882" tIns="50941" rIns="101882" bIns="50941"/>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itchFamily="34" charset="0"/>
              </a:endParaRPr>
            </a:p>
          </p:txBody>
        </p:sp>
        <p:sp>
          <p:nvSpPr>
            <p:cNvPr id="90" name="Freeform 99"/>
            <p:cNvSpPr>
              <a:spLocks/>
            </p:cNvSpPr>
            <p:nvPr/>
          </p:nvSpPr>
          <p:spPr bwMode="auto">
            <a:xfrm>
              <a:off x="1307296" y="5227724"/>
              <a:ext cx="1037608" cy="1021366"/>
            </a:xfrm>
            <a:custGeom>
              <a:avLst/>
              <a:gdLst>
                <a:gd name="T0" fmla="*/ 1006475 w 695"/>
                <a:gd name="T1" fmla="*/ 968375 h 664"/>
                <a:gd name="T2" fmla="*/ 1047750 w 695"/>
                <a:gd name="T3" fmla="*/ 1016000 h 664"/>
                <a:gd name="T4" fmla="*/ 1090613 w 695"/>
                <a:gd name="T5" fmla="*/ 1054100 h 664"/>
                <a:gd name="T6" fmla="*/ 1095375 w 695"/>
                <a:gd name="T7" fmla="*/ 981075 h 664"/>
                <a:gd name="T8" fmla="*/ 1036638 w 695"/>
                <a:gd name="T9" fmla="*/ 933450 h 664"/>
                <a:gd name="T10" fmla="*/ 1006475 w 695"/>
                <a:gd name="T11" fmla="*/ 862013 h 664"/>
                <a:gd name="T12" fmla="*/ 957263 w 695"/>
                <a:gd name="T13" fmla="*/ 792163 h 664"/>
                <a:gd name="T14" fmla="*/ 893763 w 695"/>
                <a:gd name="T15" fmla="*/ 801688 h 664"/>
                <a:gd name="T16" fmla="*/ 850900 w 695"/>
                <a:gd name="T17" fmla="*/ 742950 h 664"/>
                <a:gd name="T18" fmla="*/ 800100 w 695"/>
                <a:gd name="T19" fmla="*/ 715963 h 664"/>
                <a:gd name="T20" fmla="*/ 835025 w 695"/>
                <a:gd name="T21" fmla="*/ 149225 h 664"/>
                <a:gd name="T22" fmla="*/ 766763 w 695"/>
                <a:gd name="T23" fmla="*/ 103188 h 664"/>
                <a:gd name="T24" fmla="*/ 714375 w 695"/>
                <a:gd name="T25" fmla="*/ 69850 h 664"/>
                <a:gd name="T26" fmla="*/ 679450 w 695"/>
                <a:gd name="T27" fmla="*/ 22225 h 664"/>
                <a:gd name="T28" fmla="*/ 588963 w 695"/>
                <a:gd name="T29" fmla="*/ 0 h 664"/>
                <a:gd name="T30" fmla="*/ 522288 w 695"/>
                <a:gd name="T31" fmla="*/ 4763 h 664"/>
                <a:gd name="T32" fmla="*/ 439738 w 695"/>
                <a:gd name="T33" fmla="*/ 30163 h 664"/>
                <a:gd name="T34" fmla="*/ 409575 w 695"/>
                <a:gd name="T35" fmla="*/ 80963 h 664"/>
                <a:gd name="T36" fmla="*/ 422275 w 695"/>
                <a:gd name="T37" fmla="*/ 150813 h 664"/>
                <a:gd name="T38" fmla="*/ 419100 w 695"/>
                <a:gd name="T39" fmla="*/ 198438 h 664"/>
                <a:gd name="T40" fmla="*/ 385763 w 695"/>
                <a:gd name="T41" fmla="*/ 153988 h 664"/>
                <a:gd name="T42" fmla="*/ 285750 w 695"/>
                <a:gd name="T43" fmla="*/ 136525 h 664"/>
                <a:gd name="T44" fmla="*/ 276225 w 695"/>
                <a:gd name="T45" fmla="*/ 219075 h 664"/>
                <a:gd name="T46" fmla="*/ 381000 w 695"/>
                <a:gd name="T47" fmla="*/ 282575 h 664"/>
                <a:gd name="T48" fmla="*/ 349250 w 695"/>
                <a:gd name="T49" fmla="*/ 333375 h 664"/>
                <a:gd name="T50" fmla="*/ 269875 w 695"/>
                <a:gd name="T51" fmla="*/ 320675 h 664"/>
                <a:gd name="T52" fmla="*/ 196850 w 695"/>
                <a:gd name="T53" fmla="*/ 342900 h 664"/>
                <a:gd name="T54" fmla="*/ 158750 w 695"/>
                <a:gd name="T55" fmla="*/ 407988 h 664"/>
                <a:gd name="T56" fmla="*/ 153988 w 695"/>
                <a:gd name="T57" fmla="*/ 466725 h 664"/>
                <a:gd name="T58" fmla="*/ 204788 w 695"/>
                <a:gd name="T59" fmla="*/ 509588 h 664"/>
                <a:gd name="T60" fmla="*/ 166688 w 695"/>
                <a:gd name="T61" fmla="*/ 579438 h 664"/>
                <a:gd name="T62" fmla="*/ 225425 w 695"/>
                <a:gd name="T63" fmla="*/ 603250 h 664"/>
                <a:gd name="T64" fmla="*/ 250825 w 695"/>
                <a:gd name="T65" fmla="*/ 635000 h 664"/>
                <a:gd name="T66" fmla="*/ 293688 w 695"/>
                <a:gd name="T67" fmla="*/ 652463 h 664"/>
                <a:gd name="T68" fmla="*/ 222250 w 695"/>
                <a:gd name="T69" fmla="*/ 708025 h 664"/>
                <a:gd name="T70" fmla="*/ 149225 w 695"/>
                <a:gd name="T71" fmla="*/ 725488 h 664"/>
                <a:gd name="T72" fmla="*/ 30163 w 695"/>
                <a:gd name="T73" fmla="*/ 738188 h 664"/>
                <a:gd name="T74" fmla="*/ 25400 w 695"/>
                <a:gd name="T75" fmla="*/ 755650 h 664"/>
                <a:gd name="T76" fmla="*/ 101600 w 695"/>
                <a:gd name="T77" fmla="*/ 774700 h 664"/>
                <a:gd name="T78" fmla="*/ 188913 w 695"/>
                <a:gd name="T79" fmla="*/ 768350 h 664"/>
                <a:gd name="T80" fmla="*/ 252413 w 695"/>
                <a:gd name="T81" fmla="*/ 750888 h 664"/>
                <a:gd name="T82" fmla="*/ 319088 w 695"/>
                <a:gd name="T83" fmla="*/ 723900 h 664"/>
                <a:gd name="T84" fmla="*/ 385763 w 695"/>
                <a:gd name="T85" fmla="*/ 700088 h 664"/>
                <a:gd name="T86" fmla="*/ 406400 w 695"/>
                <a:gd name="T87" fmla="*/ 657225 h 664"/>
                <a:gd name="T88" fmla="*/ 461963 w 695"/>
                <a:gd name="T89" fmla="*/ 625475 h 664"/>
                <a:gd name="T90" fmla="*/ 546100 w 695"/>
                <a:gd name="T91" fmla="*/ 582613 h 664"/>
                <a:gd name="T92" fmla="*/ 503238 w 695"/>
                <a:gd name="T93" fmla="*/ 627063 h 664"/>
                <a:gd name="T94" fmla="*/ 466725 w 695"/>
                <a:gd name="T95" fmla="*/ 688975 h 664"/>
                <a:gd name="T96" fmla="*/ 590550 w 695"/>
                <a:gd name="T97" fmla="*/ 665163 h 664"/>
                <a:gd name="T98" fmla="*/ 638175 w 695"/>
                <a:gd name="T99" fmla="*/ 638175 h 664"/>
                <a:gd name="T100" fmla="*/ 666750 w 695"/>
                <a:gd name="T101" fmla="*/ 669925 h 664"/>
                <a:gd name="T102" fmla="*/ 739775 w 695"/>
                <a:gd name="T103" fmla="*/ 720725 h 664"/>
                <a:gd name="T104" fmla="*/ 803275 w 695"/>
                <a:gd name="T105" fmla="*/ 754063 h 664"/>
                <a:gd name="T106" fmla="*/ 835025 w 695"/>
                <a:gd name="T107" fmla="*/ 776288 h 664"/>
                <a:gd name="T108" fmla="*/ 889000 w 695"/>
                <a:gd name="T109" fmla="*/ 849313 h 664"/>
                <a:gd name="T110" fmla="*/ 911225 w 695"/>
                <a:gd name="T111" fmla="*/ 827088 h 664"/>
                <a:gd name="T112" fmla="*/ 950913 w 695"/>
                <a:gd name="T113" fmla="*/ 847725 h 664"/>
                <a:gd name="T114" fmla="*/ 958850 w 695"/>
                <a:gd name="T115" fmla="*/ 852488 h 664"/>
                <a:gd name="T116" fmla="*/ 993775 w 695"/>
                <a:gd name="T117" fmla="*/ 922338 h 66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95"/>
                <a:gd name="T178" fmla="*/ 0 h 664"/>
                <a:gd name="T179" fmla="*/ 695 w 695"/>
                <a:gd name="T180" fmla="*/ 664 h 66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95" h="664">
                  <a:moveTo>
                    <a:pt x="626" y="581"/>
                  </a:moveTo>
                  <a:lnTo>
                    <a:pt x="630" y="583"/>
                  </a:lnTo>
                  <a:lnTo>
                    <a:pt x="633" y="581"/>
                  </a:lnTo>
                  <a:lnTo>
                    <a:pt x="634" y="583"/>
                  </a:lnTo>
                  <a:lnTo>
                    <a:pt x="637" y="584"/>
                  </a:lnTo>
                  <a:lnTo>
                    <a:pt x="641" y="588"/>
                  </a:lnTo>
                  <a:lnTo>
                    <a:pt x="642" y="589"/>
                  </a:lnTo>
                  <a:lnTo>
                    <a:pt x="642" y="594"/>
                  </a:lnTo>
                  <a:lnTo>
                    <a:pt x="639" y="600"/>
                  </a:lnTo>
                  <a:lnTo>
                    <a:pt x="634" y="605"/>
                  </a:lnTo>
                  <a:lnTo>
                    <a:pt x="634" y="610"/>
                  </a:lnTo>
                  <a:lnTo>
                    <a:pt x="636" y="613"/>
                  </a:lnTo>
                  <a:lnTo>
                    <a:pt x="639" y="613"/>
                  </a:lnTo>
                  <a:lnTo>
                    <a:pt x="642" y="618"/>
                  </a:lnTo>
                  <a:lnTo>
                    <a:pt x="644" y="623"/>
                  </a:lnTo>
                  <a:lnTo>
                    <a:pt x="645" y="626"/>
                  </a:lnTo>
                  <a:lnTo>
                    <a:pt x="647" y="627"/>
                  </a:lnTo>
                  <a:lnTo>
                    <a:pt x="649" y="632"/>
                  </a:lnTo>
                  <a:lnTo>
                    <a:pt x="650" y="635"/>
                  </a:lnTo>
                  <a:lnTo>
                    <a:pt x="655" y="638"/>
                  </a:lnTo>
                  <a:lnTo>
                    <a:pt x="660" y="638"/>
                  </a:lnTo>
                  <a:lnTo>
                    <a:pt x="660" y="640"/>
                  </a:lnTo>
                  <a:lnTo>
                    <a:pt x="658" y="643"/>
                  </a:lnTo>
                  <a:lnTo>
                    <a:pt x="658" y="646"/>
                  </a:lnTo>
                  <a:lnTo>
                    <a:pt x="658" y="650"/>
                  </a:lnTo>
                  <a:lnTo>
                    <a:pt x="661" y="651"/>
                  </a:lnTo>
                  <a:lnTo>
                    <a:pt x="668" y="653"/>
                  </a:lnTo>
                  <a:lnTo>
                    <a:pt x="666" y="654"/>
                  </a:lnTo>
                  <a:lnTo>
                    <a:pt x="666" y="659"/>
                  </a:lnTo>
                  <a:lnTo>
                    <a:pt x="671" y="659"/>
                  </a:lnTo>
                  <a:lnTo>
                    <a:pt x="676" y="661"/>
                  </a:lnTo>
                  <a:lnTo>
                    <a:pt x="680" y="662"/>
                  </a:lnTo>
                  <a:lnTo>
                    <a:pt x="687" y="664"/>
                  </a:lnTo>
                  <a:lnTo>
                    <a:pt x="687" y="659"/>
                  </a:lnTo>
                  <a:lnTo>
                    <a:pt x="690" y="654"/>
                  </a:lnTo>
                  <a:lnTo>
                    <a:pt x="693" y="650"/>
                  </a:lnTo>
                  <a:lnTo>
                    <a:pt x="695" y="646"/>
                  </a:lnTo>
                  <a:lnTo>
                    <a:pt x="695" y="640"/>
                  </a:lnTo>
                  <a:lnTo>
                    <a:pt x="693" y="637"/>
                  </a:lnTo>
                  <a:lnTo>
                    <a:pt x="693" y="632"/>
                  </a:lnTo>
                  <a:lnTo>
                    <a:pt x="695" y="629"/>
                  </a:lnTo>
                  <a:lnTo>
                    <a:pt x="695" y="624"/>
                  </a:lnTo>
                  <a:lnTo>
                    <a:pt x="695" y="621"/>
                  </a:lnTo>
                  <a:lnTo>
                    <a:pt x="690" y="618"/>
                  </a:lnTo>
                  <a:lnTo>
                    <a:pt x="685" y="616"/>
                  </a:lnTo>
                  <a:lnTo>
                    <a:pt x="684" y="611"/>
                  </a:lnTo>
                  <a:lnTo>
                    <a:pt x="680" y="608"/>
                  </a:lnTo>
                  <a:lnTo>
                    <a:pt x="674" y="607"/>
                  </a:lnTo>
                  <a:lnTo>
                    <a:pt x="668" y="604"/>
                  </a:lnTo>
                  <a:lnTo>
                    <a:pt x="661" y="602"/>
                  </a:lnTo>
                  <a:lnTo>
                    <a:pt x="658" y="597"/>
                  </a:lnTo>
                  <a:lnTo>
                    <a:pt x="657" y="596"/>
                  </a:lnTo>
                  <a:lnTo>
                    <a:pt x="653" y="591"/>
                  </a:lnTo>
                  <a:lnTo>
                    <a:pt x="653" y="588"/>
                  </a:lnTo>
                  <a:lnTo>
                    <a:pt x="652" y="584"/>
                  </a:lnTo>
                  <a:lnTo>
                    <a:pt x="650" y="581"/>
                  </a:lnTo>
                  <a:lnTo>
                    <a:pt x="649" y="578"/>
                  </a:lnTo>
                  <a:lnTo>
                    <a:pt x="647" y="573"/>
                  </a:lnTo>
                  <a:lnTo>
                    <a:pt x="645" y="570"/>
                  </a:lnTo>
                  <a:lnTo>
                    <a:pt x="645" y="567"/>
                  </a:lnTo>
                  <a:lnTo>
                    <a:pt x="642" y="561"/>
                  </a:lnTo>
                  <a:lnTo>
                    <a:pt x="641" y="557"/>
                  </a:lnTo>
                  <a:lnTo>
                    <a:pt x="637" y="553"/>
                  </a:lnTo>
                  <a:lnTo>
                    <a:pt x="636" y="548"/>
                  </a:lnTo>
                  <a:lnTo>
                    <a:pt x="634" y="543"/>
                  </a:lnTo>
                  <a:lnTo>
                    <a:pt x="631" y="538"/>
                  </a:lnTo>
                  <a:lnTo>
                    <a:pt x="630" y="535"/>
                  </a:lnTo>
                  <a:lnTo>
                    <a:pt x="630" y="534"/>
                  </a:lnTo>
                  <a:lnTo>
                    <a:pt x="625" y="527"/>
                  </a:lnTo>
                  <a:lnTo>
                    <a:pt x="623" y="524"/>
                  </a:lnTo>
                  <a:lnTo>
                    <a:pt x="620" y="521"/>
                  </a:lnTo>
                  <a:lnTo>
                    <a:pt x="615" y="516"/>
                  </a:lnTo>
                  <a:lnTo>
                    <a:pt x="612" y="508"/>
                  </a:lnTo>
                  <a:lnTo>
                    <a:pt x="609" y="503"/>
                  </a:lnTo>
                  <a:lnTo>
                    <a:pt x="606" y="500"/>
                  </a:lnTo>
                  <a:lnTo>
                    <a:pt x="603" y="499"/>
                  </a:lnTo>
                  <a:lnTo>
                    <a:pt x="603" y="494"/>
                  </a:lnTo>
                  <a:lnTo>
                    <a:pt x="603" y="489"/>
                  </a:lnTo>
                  <a:lnTo>
                    <a:pt x="599" y="484"/>
                  </a:lnTo>
                  <a:lnTo>
                    <a:pt x="593" y="483"/>
                  </a:lnTo>
                  <a:lnTo>
                    <a:pt x="587" y="483"/>
                  </a:lnTo>
                  <a:lnTo>
                    <a:pt x="582" y="486"/>
                  </a:lnTo>
                  <a:lnTo>
                    <a:pt x="577" y="489"/>
                  </a:lnTo>
                  <a:lnTo>
                    <a:pt x="574" y="494"/>
                  </a:lnTo>
                  <a:lnTo>
                    <a:pt x="571" y="499"/>
                  </a:lnTo>
                  <a:lnTo>
                    <a:pt x="566" y="503"/>
                  </a:lnTo>
                  <a:lnTo>
                    <a:pt x="563" y="505"/>
                  </a:lnTo>
                  <a:lnTo>
                    <a:pt x="560" y="507"/>
                  </a:lnTo>
                  <a:lnTo>
                    <a:pt x="555" y="507"/>
                  </a:lnTo>
                  <a:lnTo>
                    <a:pt x="555" y="503"/>
                  </a:lnTo>
                  <a:lnTo>
                    <a:pt x="553" y="499"/>
                  </a:lnTo>
                  <a:lnTo>
                    <a:pt x="552" y="494"/>
                  </a:lnTo>
                  <a:lnTo>
                    <a:pt x="548" y="488"/>
                  </a:lnTo>
                  <a:lnTo>
                    <a:pt x="544" y="484"/>
                  </a:lnTo>
                  <a:lnTo>
                    <a:pt x="539" y="480"/>
                  </a:lnTo>
                  <a:lnTo>
                    <a:pt x="537" y="475"/>
                  </a:lnTo>
                  <a:lnTo>
                    <a:pt x="536" y="470"/>
                  </a:lnTo>
                  <a:lnTo>
                    <a:pt x="536" y="468"/>
                  </a:lnTo>
                  <a:lnTo>
                    <a:pt x="533" y="467"/>
                  </a:lnTo>
                  <a:lnTo>
                    <a:pt x="529" y="465"/>
                  </a:lnTo>
                  <a:lnTo>
                    <a:pt x="529" y="459"/>
                  </a:lnTo>
                  <a:lnTo>
                    <a:pt x="531" y="456"/>
                  </a:lnTo>
                  <a:lnTo>
                    <a:pt x="528" y="453"/>
                  </a:lnTo>
                  <a:lnTo>
                    <a:pt x="525" y="453"/>
                  </a:lnTo>
                  <a:lnTo>
                    <a:pt x="520" y="454"/>
                  </a:lnTo>
                  <a:lnTo>
                    <a:pt x="515" y="457"/>
                  </a:lnTo>
                  <a:lnTo>
                    <a:pt x="512" y="456"/>
                  </a:lnTo>
                  <a:lnTo>
                    <a:pt x="510" y="454"/>
                  </a:lnTo>
                  <a:lnTo>
                    <a:pt x="504" y="451"/>
                  </a:lnTo>
                  <a:lnTo>
                    <a:pt x="498" y="449"/>
                  </a:lnTo>
                  <a:lnTo>
                    <a:pt x="496" y="448"/>
                  </a:lnTo>
                  <a:lnTo>
                    <a:pt x="566" y="124"/>
                  </a:lnTo>
                  <a:lnTo>
                    <a:pt x="561" y="117"/>
                  </a:lnTo>
                  <a:lnTo>
                    <a:pt x="555" y="111"/>
                  </a:lnTo>
                  <a:lnTo>
                    <a:pt x="550" y="103"/>
                  </a:lnTo>
                  <a:lnTo>
                    <a:pt x="544" y="100"/>
                  </a:lnTo>
                  <a:lnTo>
                    <a:pt x="541" y="98"/>
                  </a:lnTo>
                  <a:lnTo>
                    <a:pt x="537" y="97"/>
                  </a:lnTo>
                  <a:lnTo>
                    <a:pt x="531" y="95"/>
                  </a:lnTo>
                  <a:lnTo>
                    <a:pt x="526" y="94"/>
                  </a:lnTo>
                  <a:lnTo>
                    <a:pt x="520" y="92"/>
                  </a:lnTo>
                  <a:lnTo>
                    <a:pt x="515" y="90"/>
                  </a:lnTo>
                  <a:lnTo>
                    <a:pt x="512" y="90"/>
                  </a:lnTo>
                  <a:lnTo>
                    <a:pt x="510" y="90"/>
                  </a:lnTo>
                  <a:lnTo>
                    <a:pt x="510" y="89"/>
                  </a:lnTo>
                  <a:lnTo>
                    <a:pt x="504" y="84"/>
                  </a:lnTo>
                  <a:lnTo>
                    <a:pt x="499" y="79"/>
                  </a:lnTo>
                  <a:lnTo>
                    <a:pt x="493" y="76"/>
                  </a:lnTo>
                  <a:lnTo>
                    <a:pt x="487" y="71"/>
                  </a:lnTo>
                  <a:lnTo>
                    <a:pt x="485" y="68"/>
                  </a:lnTo>
                  <a:lnTo>
                    <a:pt x="483" y="65"/>
                  </a:lnTo>
                  <a:lnTo>
                    <a:pt x="482" y="62"/>
                  </a:lnTo>
                  <a:lnTo>
                    <a:pt x="480" y="59"/>
                  </a:lnTo>
                  <a:lnTo>
                    <a:pt x="475" y="59"/>
                  </a:lnTo>
                  <a:lnTo>
                    <a:pt x="471" y="59"/>
                  </a:lnTo>
                  <a:lnTo>
                    <a:pt x="466" y="60"/>
                  </a:lnTo>
                  <a:lnTo>
                    <a:pt x="461" y="60"/>
                  </a:lnTo>
                  <a:lnTo>
                    <a:pt x="456" y="57"/>
                  </a:lnTo>
                  <a:lnTo>
                    <a:pt x="455" y="54"/>
                  </a:lnTo>
                  <a:lnTo>
                    <a:pt x="450" y="49"/>
                  </a:lnTo>
                  <a:lnTo>
                    <a:pt x="447" y="49"/>
                  </a:lnTo>
                  <a:lnTo>
                    <a:pt x="450" y="44"/>
                  </a:lnTo>
                  <a:lnTo>
                    <a:pt x="450" y="40"/>
                  </a:lnTo>
                  <a:lnTo>
                    <a:pt x="445" y="33"/>
                  </a:lnTo>
                  <a:lnTo>
                    <a:pt x="439" y="32"/>
                  </a:lnTo>
                  <a:lnTo>
                    <a:pt x="434" y="30"/>
                  </a:lnTo>
                  <a:lnTo>
                    <a:pt x="429" y="28"/>
                  </a:lnTo>
                  <a:lnTo>
                    <a:pt x="426" y="28"/>
                  </a:lnTo>
                  <a:lnTo>
                    <a:pt x="425" y="28"/>
                  </a:lnTo>
                  <a:lnTo>
                    <a:pt x="426" y="25"/>
                  </a:lnTo>
                  <a:lnTo>
                    <a:pt x="428" y="22"/>
                  </a:lnTo>
                  <a:lnTo>
                    <a:pt x="428" y="17"/>
                  </a:lnTo>
                  <a:lnTo>
                    <a:pt x="428" y="14"/>
                  </a:lnTo>
                  <a:lnTo>
                    <a:pt x="423" y="9"/>
                  </a:lnTo>
                  <a:lnTo>
                    <a:pt x="418" y="3"/>
                  </a:lnTo>
                  <a:lnTo>
                    <a:pt x="412" y="0"/>
                  </a:lnTo>
                  <a:lnTo>
                    <a:pt x="407" y="1"/>
                  </a:lnTo>
                  <a:lnTo>
                    <a:pt x="402" y="3"/>
                  </a:lnTo>
                  <a:lnTo>
                    <a:pt x="396" y="6"/>
                  </a:lnTo>
                  <a:lnTo>
                    <a:pt x="391" y="9"/>
                  </a:lnTo>
                  <a:lnTo>
                    <a:pt x="385" y="9"/>
                  </a:lnTo>
                  <a:lnTo>
                    <a:pt x="380" y="6"/>
                  </a:lnTo>
                  <a:lnTo>
                    <a:pt x="375" y="3"/>
                  </a:lnTo>
                  <a:lnTo>
                    <a:pt x="371" y="0"/>
                  </a:lnTo>
                  <a:lnTo>
                    <a:pt x="364" y="0"/>
                  </a:lnTo>
                  <a:lnTo>
                    <a:pt x="359" y="1"/>
                  </a:lnTo>
                  <a:lnTo>
                    <a:pt x="358" y="3"/>
                  </a:lnTo>
                  <a:lnTo>
                    <a:pt x="355" y="3"/>
                  </a:lnTo>
                  <a:lnTo>
                    <a:pt x="350" y="5"/>
                  </a:lnTo>
                  <a:lnTo>
                    <a:pt x="347" y="5"/>
                  </a:lnTo>
                  <a:lnTo>
                    <a:pt x="344" y="3"/>
                  </a:lnTo>
                  <a:lnTo>
                    <a:pt x="339" y="3"/>
                  </a:lnTo>
                  <a:lnTo>
                    <a:pt x="337" y="3"/>
                  </a:lnTo>
                  <a:lnTo>
                    <a:pt x="332" y="3"/>
                  </a:lnTo>
                  <a:lnTo>
                    <a:pt x="329" y="3"/>
                  </a:lnTo>
                  <a:lnTo>
                    <a:pt x="324" y="3"/>
                  </a:lnTo>
                  <a:lnTo>
                    <a:pt x="321" y="6"/>
                  </a:lnTo>
                  <a:lnTo>
                    <a:pt x="315" y="9"/>
                  </a:lnTo>
                  <a:lnTo>
                    <a:pt x="312" y="13"/>
                  </a:lnTo>
                  <a:lnTo>
                    <a:pt x="309" y="16"/>
                  </a:lnTo>
                  <a:lnTo>
                    <a:pt x="302" y="20"/>
                  </a:lnTo>
                  <a:lnTo>
                    <a:pt x="296" y="22"/>
                  </a:lnTo>
                  <a:lnTo>
                    <a:pt x="291" y="22"/>
                  </a:lnTo>
                  <a:lnTo>
                    <a:pt x="286" y="22"/>
                  </a:lnTo>
                  <a:lnTo>
                    <a:pt x="282" y="20"/>
                  </a:lnTo>
                  <a:lnTo>
                    <a:pt x="277" y="19"/>
                  </a:lnTo>
                  <a:lnTo>
                    <a:pt x="274" y="16"/>
                  </a:lnTo>
                  <a:lnTo>
                    <a:pt x="269" y="14"/>
                  </a:lnTo>
                  <a:lnTo>
                    <a:pt x="264" y="11"/>
                  </a:lnTo>
                  <a:lnTo>
                    <a:pt x="259" y="16"/>
                  </a:lnTo>
                  <a:lnTo>
                    <a:pt x="256" y="19"/>
                  </a:lnTo>
                  <a:lnTo>
                    <a:pt x="253" y="24"/>
                  </a:lnTo>
                  <a:lnTo>
                    <a:pt x="251" y="28"/>
                  </a:lnTo>
                  <a:lnTo>
                    <a:pt x="251" y="32"/>
                  </a:lnTo>
                  <a:lnTo>
                    <a:pt x="251" y="36"/>
                  </a:lnTo>
                  <a:lnTo>
                    <a:pt x="255" y="43"/>
                  </a:lnTo>
                  <a:lnTo>
                    <a:pt x="258" y="51"/>
                  </a:lnTo>
                  <a:lnTo>
                    <a:pt x="259" y="57"/>
                  </a:lnTo>
                  <a:lnTo>
                    <a:pt x="259" y="62"/>
                  </a:lnTo>
                  <a:lnTo>
                    <a:pt x="259" y="68"/>
                  </a:lnTo>
                  <a:lnTo>
                    <a:pt x="258" y="73"/>
                  </a:lnTo>
                  <a:lnTo>
                    <a:pt x="255" y="76"/>
                  </a:lnTo>
                  <a:lnTo>
                    <a:pt x="251" y="79"/>
                  </a:lnTo>
                  <a:lnTo>
                    <a:pt x="250" y="82"/>
                  </a:lnTo>
                  <a:lnTo>
                    <a:pt x="250" y="87"/>
                  </a:lnTo>
                  <a:lnTo>
                    <a:pt x="255" y="90"/>
                  </a:lnTo>
                  <a:lnTo>
                    <a:pt x="261" y="94"/>
                  </a:lnTo>
                  <a:lnTo>
                    <a:pt x="266" y="95"/>
                  </a:lnTo>
                  <a:lnTo>
                    <a:pt x="270" y="100"/>
                  </a:lnTo>
                  <a:lnTo>
                    <a:pt x="270" y="103"/>
                  </a:lnTo>
                  <a:lnTo>
                    <a:pt x="269" y="105"/>
                  </a:lnTo>
                  <a:lnTo>
                    <a:pt x="267" y="106"/>
                  </a:lnTo>
                  <a:lnTo>
                    <a:pt x="264" y="108"/>
                  </a:lnTo>
                  <a:lnTo>
                    <a:pt x="264" y="109"/>
                  </a:lnTo>
                  <a:lnTo>
                    <a:pt x="264" y="113"/>
                  </a:lnTo>
                  <a:lnTo>
                    <a:pt x="264" y="116"/>
                  </a:lnTo>
                  <a:lnTo>
                    <a:pt x="266" y="119"/>
                  </a:lnTo>
                  <a:lnTo>
                    <a:pt x="264" y="122"/>
                  </a:lnTo>
                  <a:lnTo>
                    <a:pt x="264" y="125"/>
                  </a:lnTo>
                  <a:lnTo>
                    <a:pt x="259" y="128"/>
                  </a:lnTo>
                  <a:lnTo>
                    <a:pt x="256" y="130"/>
                  </a:lnTo>
                  <a:lnTo>
                    <a:pt x="240" y="119"/>
                  </a:lnTo>
                  <a:lnTo>
                    <a:pt x="237" y="116"/>
                  </a:lnTo>
                  <a:lnTo>
                    <a:pt x="237" y="113"/>
                  </a:lnTo>
                  <a:lnTo>
                    <a:pt x="237" y="108"/>
                  </a:lnTo>
                  <a:lnTo>
                    <a:pt x="237" y="105"/>
                  </a:lnTo>
                  <a:lnTo>
                    <a:pt x="239" y="103"/>
                  </a:lnTo>
                  <a:lnTo>
                    <a:pt x="242" y="101"/>
                  </a:lnTo>
                  <a:lnTo>
                    <a:pt x="243" y="98"/>
                  </a:lnTo>
                  <a:lnTo>
                    <a:pt x="243" y="97"/>
                  </a:lnTo>
                  <a:lnTo>
                    <a:pt x="239" y="92"/>
                  </a:lnTo>
                  <a:lnTo>
                    <a:pt x="232" y="90"/>
                  </a:lnTo>
                  <a:lnTo>
                    <a:pt x="224" y="89"/>
                  </a:lnTo>
                  <a:lnTo>
                    <a:pt x="220" y="89"/>
                  </a:lnTo>
                  <a:lnTo>
                    <a:pt x="215" y="87"/>
                  </a:lnTo>
                  <a:lnTo>
                    <a:pt x="208" y="87"/>
                  </a:lnTo>
                  <a:lnTo>
                    <a:pt x="202" y="87"/>
                  </a:lnTo>
                  <a:lnTo>
                    <a:pt x="197" y="87"/>
                  </a:lnTo>
                  <a:lnTo>
                    <a:pt x="191" y="86"/>
                  </a:lnTo>
                  <a:lnTo>
                    <a:pt x="185" y="86"/>
                  </a:lnTo>
                  <a:lnTo>
                    <a:pt x="180" y="86"/>
                  </a:lnTo>
                  <a:lnTo>
                    <a:pt x="174" y="86"/>
                  </a:lnTo>
                  <a:lnTo>
                    <a:pt x="174" y="90"/>
                  </a:lnTo>
                  <a:lnTo>
                    <a:pt x="175" y="97"/>
                  </a:lnTo>
                  <a:lnTo>
                    <a:pt x="177" y="103"/>
                  </a:lnTo>
                  <a:lnTo>
                    <a:pt x="177" y="108"/>
                  </a:lnTo>
                  <a:lnTo>
                    <a:pt x="175" y="116"/>
                  </a:lnTo>
                  <a:lnTo>
                    <a:pt x="172" y="124"/>
                  </a:lnTo>
                  <a:lnTo>
                    <a:pt x="170" y="127"/>
                  </a:lnTo>
                  <a:lnTo>
                    <a:pt x="170" y="130"/>
                  </a:lnTo>
                  <a:lnTo>
                    <a:pt x="170" y="133"/>
                  </a:lnTo>
                  <a:lnTo>
                    <a:pt x="174" y="138"/>
                  </a:lnTo>
                  <a:lnTo>
                    <a:pt x="177" y="148"/>
                  </a:lnTo>
                  <a:lnTo>
                    <a:pt x="210" y="168"/>
                  </a:lnTo>
                  <a:lnTo>
                    <a:pt x="212" y="171"/>
                  </a:lnTo>
                  <a:lnTo>
                    <a:pt x="213" y="175"/>
                  </a:lnTo>
                  <a:lnTo>
                    <a:pt x="215" y="176"/>
                  </a:lnTo>
                  <a:lnTo>
                    <a:pt x="218" y="178"/>
                  </a:lnTo>
                  <a:lnTo>
                    <a:pt x="224" y="176"/>
                  </a:lnTo>
                  <a:lnTo>
                    <a:pt x="229" y="175"/>
                  </a:lnTo>
                  <a:lnTo>
                    <a:pt x="234" y="173"/>
                  </a:lnTo>
                  <a:lnTo>
                    <a:pt x="240" y="173"/>
                  </a:lnTo>
                  <a:lnTo>
                    <a:pt x="240" y="178"/>
                  </a:lnTo>
                  <a:lnTo>
                    <a:pt x="239" y="181"/>
                  </a:lnTo>
                  <a:lnTo>
                    <a:pt x="234" y="183"/>
                  </a:lnTo>
                  <a:lnTo>
                    <a:pt x="231" y="184"/>
                  </a:lnTo>
                  <a:lnTo>
                    <a:pt x="228" y="184"/>
                  </a:lnTo>
                  <a:lnTo>
                    <a:pt x="226" y="187"/>
                  </a:lnTo>
                  <a:lnTo>
                    <a:pt x="224" y="194"/>
                  </a:lnTo>
                  <a:lnTo>
                    <a:pt x="224" y="198"/>
                  </a:lnTo>
                  <a:lnTo>
                    <a:pt x="224" y="202"/>
                  </a:lnTo>
                  <a:lnTo>
                    <a:pt x="224" y="205"/>
                  </a:lnTo>
                  <a:lnTo>
                    <a:pt x="221" y="206"/>
                  </a:lnTo>
                  <a:lnTo>
                    <a:pt x="220" y="210"/>
                  </a:lnTo>
                  <a:lnTo>
                    <a:pt x="215" y="210"/>
                  </a:lnTo>
                  <a:lnTo>
                    <a:pt x="210" y="210"/>
                  </a:lnTo>
                  <a:lnTo>
                    <a:pt x="207" y="208"/>
                  </a:lnTo>
                  <a:lnTo>
                    <a:pt x="204" y="208"/>
                  </a:lnTo>
                  <a:lnTo>
                    <a:pt x="196" y="205"/>
                  </a:lnTo>
                  <a:lnTo>
                    <a:pt x="189" y="203"/>
                  </a:lnTo>
                  <a:lnTo>
                    <a:pt x="185" y="205"/>
                  </a:lnTo>
                  <a:lnTo>
                    <a:pt x="180" y="206"/>
                  </a:lnTo>
                  <a:lnTo>
                    <a:pt x="177" y="208"/>
                  </a:lnTo>
                  <a:lnTo>
                    <a:pt x="174" y="206"/>
                  </a:lnTo>
                  <a:lnTo>
                    <a:pt x="170" y="202"/>
                  </a:lnTo>
                  <a:lnTo>
                    <a:pt x="169" y="198"/>
                  </a:lnTo>
                  <a:lnTo>
                    <a:pt x="166" y="195"/>
                  </a:lnTo>
                  <a:lnTo>
                    <a:pt x="164" y="195"/>
                  </a:lnTo>
                  <a:lnTo>
                    <a:pt x="159" y="195"/>
                  </a:lnTo>
                  <a:lnTo>
                    <a:pt x="156" y="198"/>
                  </a:lnTo>
                  <a:lnTo>
                    <a:pt x="153" y="200"/>
                  </a:lnTo>
                  <a:lnTo>
                    <a:pt x="150" y="203"/>
                  </a:lnTo>
                  <a:lnTo>
                    <a:pt x="145" y="205"/>
                  </a:lnTo>
                  <a:lnTo>
                    <a:pt x="139" y="208"/>
                  </a:lnTo>
                  <a:lnTo>
                    <a:pt x="131" y="211"/>
                  </a:lnTo>
                  <a:lnTo>
                    <a:pt x="124" y="216"/>
                  </a:lnTo>
                  <a:lnTo>
                    <a:pt x="119" y="216"/>
                  </a:lnTo>
                  <a:lnTo>
                    <a:pt x="115" y="217"/>
                  </a:lnTo>
                  <a:lnTo>
                    <a:pt x="112" y="217"/>
                  </a:lnTo>
                  <a:lnTo>
                    <a:pt x="108" y="219"/>
                  </a:lnTo>
                  <a:lnTo>
                    <a:pt x="104" y="222"/>
                  </a:lnTo>
                  <a:lnTo>
                    <a:pt x="100" y="229"/>
                  </a:lnTo>
                  <a:lnTo>
                    <a:pt x="100" y="233"/>
                  </a:lnTo>
                  <a:lnTo>
                    <a:pt x="102" y="240"/>
                  </a:lnTo>
                  <a:lnTo>
                    <a:pt x="102" y="246"/>
                  </a:lnTo>
                  <a:lnTo>
                    <a:pt x="102" y="252"/>
                  </a:lnTo>
                  <a:lnTo>
                    <a:pt x="100" y="257"/>
                  </a:lnTo>
                  <a:lnTo>
                    <a:pt x="97" y="262"/>
                  </a:lnTo>
                  <a:lnTo>
                    <a:pt x="94" y="264"/>
                  </a:lnTo>
                  <a:lnTo>
                    <a:pt x="91" y="264"/>
                  </a:lnTo>
                  <a:lnTo>
                    <a:pt x="89" y="265"/>
                  </a:lnTo>
                  <a:lnTo>
                    <a:pt x="89" y="268"/>
                  </a:lnTo>
                  <a:lnTo>
                    <a:pt x="89" y="273"/>
                  </a:lnTo>
                  <a:lnTo>
                    <a:pt x="91" y="278"/>
                  </a:lnTo>
                  <a:lnTo>
                    <a:pt x="92" y="283"/>
                  </a:lnTo>
                  <a:lnTo>
                    <a:pt x="94" y="287"/>
                  </a:lnTo>
                  <a:lnTo>
                    <a:pt x="96" y="291"/>
                  </a:lnTo>
                  <a:lnTo>
                    <a:pt x="97" y="294"/>
                  </a:lnTo>
                  <a:lnTo>
                    <a:pt x="94" y="297"/>
                  </a:lnTo>
                  <a:lnTo>
                    <a:pt x="96" y="302"/>
                  </a:lnTo>
                  <a:lnTo>
                    <a:pt x="99" y="305"/>
                  </a:lnTo>
                  <a:lnTo>
                    <a:pt x="102" y="308"/>
                  </a:lnTo>
                  <a:lnTo>
                    <a:pt x="107" y="308"/>
                  </a:lnTo>
                  <a:lnTo>
                    <a:pt x="112" y="308"/>
                  </a:lnTo>
                  <a:lnTo>
                    <a:pt x="116" y="308"/>
                  </a:lnTo>
                  <a:lnTo>
                    <a:pt x="121" y="310"/>
                  </a:lnTo>
                  <a:lnTo>
                    <a:pt x="124" y="313"/>
                  </a:lnTo>
                  <a:lnTo>
                    <a:pt x="129" y="316"/>
                  </a:lnTo>
                  <a:lnTo>
                    <a:pt x="129" y="321"/>
                  </a:lnTo>
                  <a:lnTo>
                    <a:pt x="131" y="327"/>
                  </a:lnTo>
                  <a:lnTo>
                    <a:pt x="129" y="333"/>
                  </a:lnTo>
                  <a:lnTo>
                    <a:pt x="124" y="337"/>
                  </a:lnTo>
                  <a:lnTo>
                    <a:pt x="119" y="338"/>
                  </a:lnTo>
                  <a:lnTo>
                    <a:pt x="116" y="343"/>
                  </a:lnTo>
                  <a:lnTo>
                    <a:pt x="115" y="346"/>
                  </a:lnTo>
                  <a:lnTo>
                    <a:pt x="113" y="349"/>
                  </a:lnTo>
                  <a:lnTo>
                    <a:pt x="112" y="354"/>
                  </a:lnTo>
                  <a:lnTo>
                    <a:pt x="110" y="359"/>
                  </a:lnTo>
                  <a:lnTo>
                    <a:pt x="108" y="362"/>
                  </a:lnTo>
                  <a:lnTo>
                    <a:pt x="105" y="365"/>
                  </a:lnTo>
                  <a:lnTo>
                    <a:pt x="110" y="367"/>
                  </a:lnTo>
                  <a:lnTo>
                    <a:pt x="113" y="368"/>
                  </a:lnTo>
                  <a:lnTo>
                    <a:pt x="116" y="370"/>
                  </a:lnTo>
                  <a:lnTo>
                    <a:pt x="119" y="376"/>
                  </a:lnTo>
                  <a:lnTo>
                    <a:pt x="126" y="372"/>
                  </a:lnTo>
                  <a:lnTo>
                    <a:pt x="131" y="370"/>
                  </a:lnTo>
                  <a:lnTo>
                    <a:pt x="134" y="368"/>
                  </a:lnTo>
                  <a:lnTo>
                    <a:pt x="139" y="367"/>
                  </a:lnTo>
                  <a:lnTo>
                    <a:pt x="139" y="372"/>
                  </a:lnTo>
                  <a:lnTo>
                    <a:pt x="140" y="376"/>
                  </a:lnTo>
                  <a:lnTo>
                    <a:pt x="142" y="380"/>
                  </a:lnTo>
                  <a:lnTo>
                    <a:pt x="145" y="381"/>
                  </a:lnTo>
                  <a:lnTo>
                    <a:pt x="148" y="383"/>
                  </a:lnTo>
                  <a:lnTo>
                    <a:pt x="151" y="386"/>
                  </a:lnTo>
                  <a:lnTo>
                    <a:pt x="151" y="389"/>
                  </a:lnTo>
                  <a:lnTo>
                    <a:pt x="151" y="394"/>
                  </a:lnTo>
                  <a:lnTo>
                    <a:pt x="151" y="397"/>
                  </a:lnTo>
                  <a:lnTo>
                    <a:pt x="153" y="400"/>
                  </a:lnTo>
                  <a:lnTo>
                    <a:pt x="153" y="402"/>
                  </a:lnTo>
                  <a:lnTo>
                    <a:pt x="154" y="405"/>
                  </a:lnTo>
                  <a:lnTo>
                    <a:pt x="156" y="403"/>
                  </a:lnTo>
                  <a:lnTo>
                    <a:pt x="158" y="400"/>
                  </a:lnTo>
                  <a:lnTo>
                    <a:pt x="158" y="399"/>
                  </a:lnTo>
                  <a:lnTo>
                    <a:pt x="158" y="395"/>
                  </a:lnTo>
                  <a:lnTo>
                    <a:pt x="162" y="392"/>
                  </a:lnTo>
                  <a:lnTo>
                    <a:pt x="167" y="395"/>
                  </a:lnTo>
                  <a:lnTo>
                    <a:pt x="170" y="400"/>
                  </a:lnTo>
                  <a:lnTo>
                    <a:pt x="175" y="403"/>
                  </a:lnTo>
                  <a:lnTo>
                    <a:pt x="180" y="403"/>
                  </a:lnTo>
                  <a:lnTo>
                    <a:pt x="185" y="405"/>
                  </a:lnTo>
                  <a:lnTo>
                    <a:pt x="191" y="407"/>
                  </a:lnTo>
                  <a:lnTo>
                    <a:pt x="188" y="408"/>
                  </a:lnTo>
                  <a:lnTo>
                    <a:pt x="185" y="411"/>
                  </a:lnTo>
                  <a:lnTo>
                    <a:pt x="180" y="413"/>
                  </a:lnTo>
                  <a:lnTo>
                    <a:pt x="177" y="416"/>
                  </a:lnTo>
                  <a:lnTo>
                    <a:pt x="170" y="422"/>
                  </a:lnTo>
                  <a:lnTo>
                    <a:pt x="167" y="429"/>
                  </a:lnTo>
                  <a:lnTo>
                    <a:pt x="164" y="432"/>
                  </a:lnTo>
                  <a:lnTo>
                    <a:pt x="162" y="435"/>
                  </a:lnTo>
                  <a:lnTo>
                    <a:pt x="159" y="437"/>
                  </a:lnTo>
                  <a:lnTo>
                    <a:pt x="156" y="440"/>
                  </a:lnTo>
                  <a:lnTo>
                    <a:pt x="150" y="441"/>
                  </a:lnTo>
                  <a:lnTo>
                    <a:pt x="145" y="445"/>
                  </a:lnTo>
                  <a:lnTo>
                    <a:pt x="140" y="446"/>
                  </a:lnTo>
                  <a:lnTo>
                    <a:pt x="137" y="448"/>
                  </a:lnTo>
                  <a:lnTo>
                    <a:pt x="132" y="451"/>
                  </a:lnTo>
                  <a:lnTo>
                    <a:pt x="129" y="453"/>
                  </a:lnTo>
                  <a:lnTo>
                    <a:pt x="127" y="453"/>
                  </a:lnTo>
                  <a:lnTo>
                    <a:pt x="123" y="453"/>
                  </a:lnTo>
                  <a:lnTo>
                    <a:pt x="118" y="453"/>
                  </a:lnTo>
                  <a:lnTo>
                    <a:pt x="112" y="454"/>
                  </a:lnTo>
                  <a:lnTo>
                    <a:pt x="105" y="456"/>
                  </a:lnTo>
                  <a:lnTo>
                    <a:pt x="100" y="457"/>
                  </a:lnTo>
                  <a:lnTo>
                    <a:pt x="96" y="457"/>
                  </a:lnTo>
                  <a:lnTo>
                    <a:pt x="94" y="457"/>
                  </a:lnTo>
                  <a:lnTo>
                    <a:pt x="65" y="472"/>
                  </a:lnTo>
                  <a:lnTo>
                    <a:pt x="65" y="467"/>
                  </a:lnTo>
                  <a:lnTo>
                    <a:pt x="65" y="462"/>
                  </a:lnTo>
                  <a:lnTo>
                    <a:pt x="61" y="457"/>
                  </a:lnTo>
                  <a:lnTo>
                    <a:pt x="58" y="457"/>
                  </a:lnTo>
                  <a:lnTo>
                    <a:pt x="51" y="456"/>
                  </a:lnTo>
                  <a:lnTo>
                    <a:pt x="45" y="457"/>
                  </a:lnTo>
                  <a:lnTo>
                    <a:pt x="37" y="461"/>
                  </a:lnTo>
                  <a:lnTo>
                    <a:pt x="31" y="462"/>
                  </a:lnTo>
                  <a:lnTo>
                    <a:pt x="24" y="464"/>
                  </a:lnTo>
                  <a:lnTo>
                    <a:pt x="19" y="465"/>
                  </a:lnTo>
                  <a:lnTo>
                    <a:pt x="15" y="465"/>
                  </a:lnTo>
                  <a:lnTo>
                    <a:pt x="10" y="465"/>
                  </a:lnTo>
                  <a:lnTo>
                    <a:pt x="5" y="465"/>
                  </a:lnTo>
                  <a:lnTo>
                    <a:pt x="0" y="464"/>
                  </a:lnTo>
                  <a:lnTo>
                    <a:pt x="0" y="468"/>
                  </a:lnTo>
                  <a:lnTo>
                    <a:pt x="2" y="472"/>
                  </a:lnTo>
                  <a:lnTo>
                    <a:pt x="3" y="473"/>
                  </a:lnTo>
                  <a:lnTo>
                    <a:pt x="7" y="473"/>
                  </a:lnTo>
                  <a:lnTo>
                    <a:pt x="10" y="473"/>
                  </a:lnTo>
                  <a:lnTo>
                    <a:pt x="13" y="475"/>
                  </a:lnTo>
                  <a:lnTo>
                    <a:pt x="16" y="476"/>
                  </a:lnTo>
                  <a:lnTo>
                    <a:pt x="21" y="478"/>
                  </a:lnTo>
                  <a:lnTo>
                    <a:pt x="24" y="481"/>
                  </a:lnTo>
                  <a:lnTo>
                    <a:pt x="29" y="483"/>
                  </a:lnTo>
                  <a:lnTo>
                    <a:pt x="32" y="481"/>
                  </a:lnTo>
                  <a:lnTo>
                    <a:pt x="37" y="480"/>
                  </a:lnTo>
                  <a:lnTo>
                    <a:pt x="42" y="478"/>
                  </a:lnTo>
                  <a:lnTo>
                    <a:pt x="46" y="478"/>
                  </a:lnTo>
                  <a:lnTo>
                    <a:pt x="51" y="478"/>
                  </a:lnTo>
                  <a:lnTo>
                    <a:pt x="56" y="478"/>
                  </a:lnTo>
                  <a:lnTo>
                    <a:pt x="59" y="481"/>
                  </a:lnTo>
                  <a:lnTo>
                    <a:pt x="64" y="488"/>
                  </a:lnTo>
                  <a:lnTo>
                    <a:pt x="69" y="488"/>
                  </a:lnTo>
                  <a:lnTo>
                    <a:pt x="72" y="488"/>
                  </a:lnTo>
                  <a:lnTo>
                    <a:pt x="75" y="484"/>
                  </a:lnTo>
                  <a:lnTo>
                    <a:pt x="80" y="483"/>
                  </a:lnTo>
                  <a:lnTo>
                    <a:pt x="83" y="483"/>
                  </a:lnTo>
                  <a:lnTo>
                    <a:pt x="88" y="483"/>
                  </a:lnTo>
                  <a:lnTo>
                    <a:pt x="92" y="483"/>
                  </a:lnTo>
                  <a:lnTo>
                    <a:pt x="100" y="483"/>
                  </a:lnTo>
                  <a:lnTo>
                    <a:pt x="107" y="483"/>
                  </a:lnTo>
                  <a:lnTo>
                    <a:pt x="115" y="484"/>
                  </a:lnTo>
                  <a:lnTo>
                    <a:pt x="119" y="484"/>
                  </a:lnTo>
                  <a:lnTo>
                    <a:pt x="127" y="484"/>
                  </a:lnTo>
                  <a:lnTo>
                    <a:pt x="127" y="483"/>
                  </a:lnTo>
                  <a:lnTo>
                    <a:pt x="127" y="481"/>
                  </a:lnTo>
                  <a:lnTo>
                    <a:pt x="127" y="480"/>
                  </a:lnTo>
                  <a:lnTo>
                    <a:pt x="126" y="478"/>
                  </a:lnTo>
                  <a:lnTo>
                    <a:pt x="134" y="473"/>
                  </a:lnTo>
                  <a:lnTo>
                    <a:pt x="140" y="473"/>
                  </a:lnTo>
                  <a:lnTo>
                    <a:pt x="145" y="473"/>
                  </a:lnTo>
                  <a:lnTo>
                    <a:pt x="150" y="473"/>
                  </a:lnTo>
                  <a:lnTo>
                    <a:pt x="154" y="475"/>
                  </a:lnTo>
                  <a:lnTo>
                    <a:pt x="159" y="473"/>
                  </a:lnTo>
                  <a:lnTo>
                    <a:pt x="164" y="473"/>
                  </a:lnTo>
                  <a:lnTo>
                    <a:pt x="169" y="473"/>
                  </a:lnTo>
                  <a:lnTo>
                    <a:pt x="175" y="472"/>
                  </a:lnTo>
                  <a:lnTo>
                    <a:pt x="177" y="470"/>
                  </a:lnTo>
                  <a:lnTo>
                    <a:pt x="178" y="468"/>
                  </a:lnTo>
                  <a:lnTo>
                    <a:pt x="178" y="465"/>
                  </a:lnTo>
                  <a:lnTo>
                    <a:pt x="181" y="464"/>
                  </a:lnTo>
                  <a:lnTo>
                    <a:pt x="185" y="462"/>
                  </a:lnTo>
                  <a:lnTo>
                    <a:pt x="189" y="459"/>
                  </a:lnTo>
                  <a:lnTo>
                    <a:pt x="194" y="457"/>
                  </a:lnTo>
                  <a:lnTo>
                    <a:pt x="201" y="456"/>
                  </a:lnTo>
                  <a:lnTo>
                    <a:pt x="205" y="454"/>
                  </a:lnTo>
                  <a:lnTo>
                    <a:pt x="210" y="453"/>
                  </a:lnTo>
                  <a:lnTo>
                    <a:pt x="215" y="451"/>
                  </a:lnTo>
                  <a:lnTo>
                    <a:pt x="220" y="451"/>
                  </a:lnTo>
                  <a:lnTo>
                    <a:pt x="221" y="451"/>
                  </a:lnTo>
                  <a:lnTo>
                    <a:pt x="226" y="453"/>
                  </a:lnTo>
                  <a:lnTo>
                    <a:pt x="229" y="453"/>
                  </a:lnTo>
                  <a:lnTo>
                    <a:pt x="234" y="453"/>
                  </a:lnTo>
                  <a:lnTo>
                    <a:pt x="237" y="449"/>
                  </a:lnTo>
                  <a:lnTo>
                    <a:pt x="240" y="446"/>
                  </a:lnTo>
                  <a:lnTo>
                    <a:pt x="243" y="441"/>
                  </a:lnTo>
                  <a:lnTo>
                    <a:pt x="247" y="440"/>
                  </a:lnTo>
                  <a:lnTo>
                    <a:pt x="250" y="438"/>
                  </a:lnTo>
                  <a:lnTo>
                    <a:pt x="253" y="441"/>
                  </a:lnTo>
                  <a:lnTo>
                    <a:pt x="262" y="437"/>
                  </a:lnTo>
                  <a:lnTo>
                    <a:pt x="261" y="434"/>
                  </a:lnTo>
                  <a:lnTo>
                    <a:pt x="259" y="430"/>
                  </a:lnTo>
                  <a:lnTo>
                    <a:pt x="259" y="429"/>
                  </a:lnTo>
                  <a:lnTo>
                    <a:pt x="255" y="424"/>
                  </a:lnTo>
                  <a:lnTo>
                    <a:pt x="251" y="421"/>
                  </a:lnTo>
                  <a:lnTo>
                    <a:pt x="256" y="414"/>
                  </a:lnTo>
                  <a:lnTo>
                    <a:pt x="262" y="410"/>
                  </a:lnTo>
                  <a:lnTo>
                    <a:pt x="269" y="408"/>
                  </a:lnTo>
                  <a:lnTo>
                    <a:pt x="274" y="407"/>
                  </a:lnTo>
                  <a:lnTo>
                    <a:pt x="278" y="403"/>
                  </a:lnTo>
                  <a:lnTo>
                    <a:pt x="283" y="400"/>
                  </a:lnTo>
                  <a:lnTo>
                    <a:pt x="285" y="403"/>
                  </a:lnTo>
                  <a:lnTo>
                    <a:pt x="291" y="403"/>
                  </a:lnTo>
                  <a:lnTo>
                    <a:pt x="291" y="400"/>
                  </a:lnTo>
                  <a:lnTo>
                    <a:pt x="289" y="399"/>
                  </a:lnTo>
                  <a:lnTo>
                    <a:pt x="289" y="395"/>
                  </a:lnTo>
                  <a:lnTo>
                    <a:pt x="291" y="394"/>
                  </a:lnTo>
                  <a:lnTo>
                    <a:pt x="294" y="391"/>
                  </a:lnTo>
                  <a:lnTo>
                    <a:pt x="299" y="387"/>
                  </a:lnTo>
                  <a:lnTo>
                    <a:pt x="304" y="386"/>
                  </a:lnTo>
                  <a:lnTo>
                    <a:pt x="307" y="383"/>
                  </a:lnTo>
                  <a:lnTo>
                    <a:pt x="310" y="380"/>
                  </a:lnTo>
                  <a:lnTo>
                    <a:pt x="315" y="376"/>
                  </a:lnTo>
                  <a:lnTo>
                    <a:pt x="320" y="373"/>
                  </a:lnTo>
                  <a:lnTo>
                    <a:pt x="323" y="373"/>
                  </a:lnTo>
                  <a:lnTo>
                    <a:pt x="326" y="372"/>
                  </a:lnTo>
                  <a:lnTo>
                    <a:pt x="329" y="373"/>
                  </a:lnTo>
                  <a:lnTo>
                    <a:pt x="344" y="367"/>
                  </a:lnTo>
                  <a:lnTo>
                    <a:pt x="350" y="383"/>
                  </a:lnTo>
                  <a:lnTo>
                    <a:pt x="347" y="383"/>
                  </a:lnTo>
                  <a:lnTo>
                    <a:pt x="345" y="384"/>
                  </a:lnTo>
                  <a:lnTo>
                    <a:pt x="342" y="380"/>
                  </a:lnTo>
                  <a:lnTo>
                    <a:pt x="337" y="380"/>
                  </a:lnTo>
                  <a:lnTo>
                    <a:pt x="334" y="380"/>
                  </a:lnTo>
                  <a:lnTo>
                    <a:pt x="329" y="381"/>
                  </a:lnTo>
                  <a:lnTo>
                    <a:pt x="324" y="383"/>
                  </a:lnTo>
                  <a:lnTo>
                    <a:pt x="321" y="386"/>
                  </a:lnTo>
                  <a:lnTo>
                    <a:pt x="318" y="392"/>
                  </a:lnTo>
                  <a:lnTo>
                    <a:pt x="317" y="395"/>
                  </a:lnTo>
                  <a:lnTo>
                    <a:pt x="315" y="399"/>
                  </a:lnTo>
                  <a:lnTo>
                    <a:pt x="312" y="400"/>
                  </a:lnTo>
                  <a:lnTo>
                    <a:pt x="309" y="403"/>
                  </a:lnTo>
                  <a:lnTo>
                    <a:pt x="304" y="405"/>
                  </a:lnTo>
                  <a:lnTo>
                    <a:pt x="302" y="408"/>
                  </a:lnTo>
                  <a:lnTo>
                    <a:pt x="301" y="413"/>
                  </a:lnTo>
                  <a:lnTo>
                    <a:pt x="299" y="416"/>
                  </a:lnTo>
                  <a:lnTo>
                    <a:pt x="301" y="419"/>
                  </a:lnTo>
                  <a:lnTo>
                    <a:pt x="304" y="422"/>
                  </a:lnTo>
                  <a:lnTo>
                    <a:pt x="291" y="429"/>
                  </a:lnTo>
                  <a:lnTo>
                    <a:pt x="294" y="434"/>
                  </a:lnTo>
                  <a:lnTo>
                    <a:pt x="302" y="435"/>
                  </a:lnTo>
                  <a:lnTo>
                    <a:pt x="310" y="435"/>
                  </a:lnTo>
                  <a:lnTo>
                    <a:pt x="321" y="434"/>
                  </a:lnTo>
                  <a:lnTo>
                    <a:pt x="331" y="432"/>
                  </a:lnTo>
                  <a:lnTo>
                    <a:pt x="340" y="429"/>
                  </a:lnTo>
                  <a:lnTo>
                    <a:pt x="350" y="426"/>
                  </a:lnTo>
                  <a:lnTo>
                    <a:pt x="358" y="422"/>
                  </a:lnTo>
                  <a:lnTo>
                    <a:pt x="359" y="422"/>
                  </a:lnTo>
                  <a:lnTo>
                    <a:pt x="366" y="422"/>
                  </a:lnTo>
                  <a:lnTo>
                    <a:pt x="369" y="421"/>
                  </a:lnTo>
                  <a:lnTo>
                    <a:pt x="372" y="419"/>
                  </a:lnTo>
                  <a:lnTo>
                    <a:pt x="375" y="418"/>
                  </a:lnTo>
                  <a:lnTo>
                    <a:pt x="380" y="418"/>
                  </a:lnTo>
                  <a:lnTo>
                    <a:pt x="382" y="414"/>
                  </a:lnTo>
                  <a:lnTo>
                    <a:pt x="383" y="410"/>
                  </a:lnTo>
                  <a:lnTo>
                    <a:pt x="383" y="407"/>
                  </a:lnTo>
                  <a:lnTo>
                    <a:pt x="385" y="403"/>
                  </a:lnTo>
                  <a:lnTo>
                    <a:pt x="386" y="403"/>
                  </a:lnTo>
                  <a:lnTo>
                    <a:pt x="390" y="402"/>
                  </a:lnTo>
                  <a:lnTo>
                    <a:pt x="394" y="402"/>
                  </a:lnTo>
                  <a:lnTo>
                    <a:pt x="399" y="402"/>
                  </a:lnTo>
                  <a:lnTo>
                    <a:pt x="402" y="402"/>
                  </a:lnTo>
                  <a:lnTo>
                    <a:pt x="407" y="402"/>
                  </a:lnTo>
                  <a:lnTo>
                    <a:pt x="409" y="403"/>
                  </a:lnTo>
                  <a:lnTo>
                    <a:pt x="412" y="405"/>
                  </a:lnTo>
                  <a:lnTo>
                    <a:pt x="412" y="408"/>
                  </a:lnTo>
                  <a:lnTo>
                    <a:pt x="410" y="411"/>
                  </a:lnTo>
                  <a:lnTo>
                    <a:pt x="409" y="414"/>
                  </a:lnTo>
                  <a:lnTo>
                    <a:pt x="409" y="418"/>
                  </a:lnTo>
                  <a:lnTo>
                    <a:pt x="410" y="419"/>
                  </a:lnTo>
                  <a:lnTo>
                    <a:pt x="415" y="419"/>
                  </a:lnTo>
                  <a:lnTo>
                    <a:pt x="417" y="421"/>
                  </a:lnTo>
                  <a:lnTo>
                    <a:pt x="420" y="422"/>
                  </a:lnTo>
                  <a:lnTo>
                    <a:pt x="423" y="427"/>
                  </a:lnTo>
                  <a:lnTo>
                    <a:pt x="428" y="432"/>
                  </a:lnTo>
                  <a:lnTo>
                    <a:pt x="431" y="435"/>
                  </a:lnTo>
                  <a:lnTo>
                    <a:pt x="434" y="440"/>
                  </a:lnTo>
                  <a:lnTo>
                    <a:pt x="437" y="443"/>
                  </a:lnTo>
                  <a:lnTo>
                    <a:pt x="442" y="448"/>
                  </a:lnTo>
                  <a:lnTo>
                    <a:pt x="447" y="448"/>
                  </a:lnTo>
                  <a:lnTo>
                    <a:pt x="453" y="449"/>
                  </a:lnTo>
                  <a:lnTo>
                    <a:pt x="456" y="451"/>
                  </a:lnTo>
                  <a:lnTo>
                    <a:pt x="461" y="453"/>
                  </a:lnTo>
                  <a:lnTo>
                    <a:pt x="466" y="454"/>
                  </a:lnTo>
                  <a:lnTo>
                    <a:pt x="471" y="456"/>
                  </a:lnTo>
                  <a:lnTo>
                    <a:pt x="474" y="457"/>
                  </a:lnTo>
                  <a:lnTo>
                    <a:pt x="479" y="457"/>
                  </a:lnTo>
                  <a:lnTo>
                    <a:pt x="483" y="461"/>
                  </a:lnTo>
                  <a:lnTo>
                    <a:pt x="488" y="462"/>
                  </a:lnTo>
                  <a:lnTo>
                    <a:pt x="490" y="464"/>
                  </a:lnTo>
                  <a:lnTo>
                    <a:pt x="493" y="468"/>
                  </a:lnTo>
                  <a:lnTo>
                    <a:pt x="496" y="470"/>
                  </a:lnTo>
                  <a:lnTo>
                    <a:pt x="501" y="473"/>
                  </a:lnTo>
                  <a:lnTo>
                    <a:pt x="502" y="473"/>
                  </a:lnTo>
                  <a:lnTo>
                    <a:pt x="506" y="475"/>
                  </a:lnTo>
                  <a:lnTo>
                    <a:pt x="509" y="473"/>
                  </a:lnTo>
                  <a:lnTo>
                    <a:pt x="512" y="473"/>
                  </a:lnTo>
                  <a:lnTo>
                    <a:pt x="514" y="472"/>
                  </a:lnTo>
                  <a:lnTo>
                    <a:pt x="518" y="470"/>
                  </a:lnTo>
                  <a:lnTo>
                    <a:pt x="520" y="472"/>
                  </a:lnTo>
                  <a:lnTo>
                    <a:pt x="521" y="475"/>
                  </a:lnTo>
                  <a:lnTo>
                    <a:pt x="518" y="478"/>
                  </a:lnTo>
                  <a:lnTo>
                    <a:pt x="515" y="484"/>
                  </a:lnTo>
                  <a:lnTo>
                    <a:pt x="518" y="484"/>
                  </a:lnTo>
                  <a:lnTo>
                    <a:pt x="521" y="488"/>
                  </a:lnTo>
                  <a:lnTo>
                    <a:pt x="526" y="489"/>
                  </a:lnTo>
                  <a:lnTo>
                    <a:pt x="529" y="492"/>
                  </a:lnTo>
                  <a:lnTo>
                    <a:pt x="534" y="495"/>
                  </a:lnTo>
                  <a:lnTo>
                    <a:pt x="537" y="499"/>
                  </a:lnTo>
                  <a:lnTo>
                    <a:pt x="539" y="503"/>
                  </a:lnTo>
                  <a:lnTo>
                    <a:pt x="542" y="507"/>
                  </a:lnTo>
                  <a:lnTo>
                    <a:pt x="544" y="510"/>
                  </a:lnTo>
                  <a:lnTo>
                    <a:pt x="545" y="515"/>
                  </a:lnTo>
                  <a:lnTo>
                    <a:pt x="547" y="518"/>
                  </a:lnTo>
                  <a:lnTo>
                    <a:pt x="550" y="522"/>
                  </a:lnTo>
                  <a:lnTo>
                    <a:pt x="553" y="527"/>
                  </a:lnTo>
                  <a:lnTo>
                    <a:pt x="560" y="535"/>
                  </a:lnTo>
                  <a:lnTo>
                    <a:pt x="563" y="535"/>
                  </a:lnTo>
                  <a:lnTo>
                    <a:pt x="564" y="535"/>
                  </a:lnTo>
                  <a:lnTo>
                    <a:pt x="566" y="535"/>
                  </a:lnTo>
                  <a:lnTo>
                    <a:pt x="569" y="534"/>
                  </a:lnTo>
                  <a:lnTo>
                    <a:pt x="574" y="535"/>
                  </a:lnTo>
                  <a:lnTo>
                    <a:pt x="577" y="534"/>
                  </a:lnTo>
                  <a:lnTo>
                    <a:pt x="575" y="532"/>
                  </a:lnTo>
                  <a:lnTo>
                    <a:pt x="579" y="530"/>
                  </a:lnTo>
                  <a:lnTo>
                    <a:pt x="579" y="527"/>
                  </a:lnTo>
                  <a:lnTo>
                    <a:pt x="577" y="526"/>
                  </a:lnTo>
                  <a:lnTo>
                    <a:pt x="574" y="521"/>
                  </a:lnTo>
                  <a:lnTo>
                    <a:pt x="577" y="518"/>
                  </a:lnTo>
                  <a:lnTo>
                    <a:pt x="579" y="518"/>
                  </a:lnTo>
                  <a:lnTo>
                    <a:pt x="582" y="521"/>
                  </a:lnTo>
                  <a:lnTo>
                    <a:pt x="582" y="526"/>
                  </a:lnTo>
                  <a:lnTo>
                    <a:pt x="582" y="530"/>
                  </a:lnTo>
                  <a:lnTo>
                    <a:pt x="596" y="538"/>
                  </a:lnTo>
                  <a:lnTo>
                    <a:pt x="601" y="537"/>
                  </a:lnTo>
                  <a:lnTo>
                    <a:pt x="599" y="537"/>
                  </a:lnTo>
                  <a:lnTo>
                    <a:pt x="599" y="535"/>
                  </a:lnTo>
                  <a:lnTo>
                    <a:pt x="599" y="534"/>
                  </a:lnTo>
                  <a:lnTo>
                    <a:pt x="598" y="527"/>
                  </a:lnTo>
                  <a:lnTo>
                    <a:pt x="596" y="522"/>
                  </a:lnTo>
                  <a:lnTo>
                    <a:pt x="593" y="519"/>
                  </a:lnTo>
                  <a:lnTo>
                    <a:pt x="590" y="518"/>
                  </a:lnTo>
                  <a:lnTo>
                    <a:pt x="599" y="515"/>
                  </a:lnTo>
                  <a:lnTo>
                    <a:pt x="599" y="519"/>
                  </a:lnTo>
                  <a:lnTo>
                    <a:pt x="599" y="524"/>
                  </a:lnTo>
                  <a:lnTo>
                    <a:pt x="601" y="529"/>
                  </a:lnTo>
                  <a:lnTo>
                    <a:pt x="603" y="534"/>
                  </a:lnTo>
                  <a:lnTo>
                    <a:pt x="604" y="535"/>
                  </a:lnTo>
                  <a:lnTo>
                    <a:pt x="604" y="537"/>
                  </a:lnTo>
                  <a:lnTo>
                    <a:pt x="607" y="540"/>
                  </a:lnTo>
                  <a:lnTo>
                    <a:pt x="610" y="542"/>
                  </a:lnTo>
                  <a:lnTo>
                    <a:pt x="614" y="543"/>
                  </a:lnTo>
                  <a:lnTo>
                    <a:pt x="617" y="548"/>
                  </a:lnTo>
                  <a:lnTo>
                    <a:pt x="618" y="551"/>
                  </a:lnTo>
                  <a:lnTo>
                    <a:pt x="620" y="554"/>
                  </a:lnTo>
                  <a:lnTo>
                    <a:pt x="622" y="561"/>
                  </a:lnTo>
                  <a:lnTo>
                    <a:pt x="623" y="565"/>
                  </a:lnTo>
                  <a:lnTo>
                    <a:pt x="625" y="570"/>
                  </a:lnTo>
                  <a:lnTo>
                    <a:pt x="626" y="577"/>
                  </a:lnTo>
                  <a:lnTo>
                    <a:pt x="626" y="581"/>
                  </a:lnTo>
                  <a:close/>
                </a:path>
              </a:pathLst>
            </a:custGeom>
            <a:grpFill/>
            <a:ln w="0" algn="ctr">
              <a:solidFill>
                <a:srgbClr val="808080"/>
              </a:solidFill>
              <a:round/>
              <a:headEnd/>
              <a:tailEnd/>
            </a:ln>
          </p:spPr>
          <p:txBody>
            <a:bodyPr lIns="101882" tIns="50941" rIns="101882" bIns="50941"/>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itchFamily="34" charset="0"/>
              </a:endParaRPr>
            </a:p>
          </p:txBody>
        </p:sp>
      </p:grpSp>
      <p:sp>
        <p:nvSpPr>
          <p:cNvPr id="91" name="State: Alabama"/>
          <p:cNvSpPr>
            <a:spLocks/>
          </p:cNvSpPr>
          <p:nvPr/>
        </p:nvSpPr>
        <p:spPr bwMode="auto">
          <a:xfrm>
            <a:off x="5132330" y="4590908"/>
            <a:ext cx="486705" cy="836782"/>
          </a:xfrm>
          <a:custGeom>
            <a:avLst/>
            <a:gdLst>
              <a:gd name="T0" fmla="*/ 2147483647 w 326"/>
              <a:gd name="T1" fmla="*/ 2147483647 h 544"/>
              <a:gd name="T2" fmla="*/ 2147483647 w 326"/>
              <a:gd name="T3" fmla="*/ 2147483647 h 544"/>
              <a:gd name="T4" fmla="*/ 2147483647 w 326"/>
              <a:gd name="T5" fmla="*/ 2147483647 h 544"/>
              <a:gd name="T6" fmla="*/ 2147483647 w 326"/>
              <a:gd name="T7" fmla="*/ 2147483647 h 544"/>
              <a:gd name="T8" fmla="*/ 2147483647 w 326"/>
              <a:gd name="T9" fmla="*/ 2147483647 h 544"/>
              <a:gd name="T10" fmla="*/ 2147483647 w 326"/>
              <a:gd name="T11" fmla="*/ 2147483647 h 544"/>
              <a:gd name="T12" fmla="*/ 2147483647 w 326"/>
              <a:gd name="T13" fmla="*/ 2147483647 h 544"/>
              <a:gd name="T14" fmla="*/ 2147483647 w 326"/>
              <a:gd name="T15" fmla="*/ 2147483647 h 544"/>
              <a:gd name="T16" fmla="*/ 2147483647 w 326"/>
              <a:gd name="T17" fmla="*/ 2147483647 h 544"/>
              <a:gd name="T18" fmla="*/ 2147483647 w 326"/>
              <a:gd name="T19" fmla="*/ 2147483647 h 544"/>
              <a:gd name="T20" fmla="*/ 2147483647 w 326"/>
              <a:gd name="T21" fmla="*/ 2147483647 h 544"/>
              <a:gd name="T22" fmla="*/ 2147483647 w 326"/>
              <a:gd name="T23" fmla="*/ 2147483647 h 544"/>
              <a:gd name="T24" fmla="*/ 2147483647 w 326"/>
              <a:gd name="T25" fmla="*/ 2147483647 h 544"/>
              <a:gd name="T26" fmla="*/ 2147483647 w 326"/>
              <a:gd name="T27" fmla="*/ 2147483647 h 544"/>
              <a:gd name="T28" fmla="*/ 2147483647 w 326"/>
              <a:gd name="T29" fmla="*/ 2147483647 h 544"/>
              <a:gd name="T30" fmla="*/ 2147483647 w 326"/>
              <a:gd name="T31" fmla="*/ 2147483647 h 544"/>
              <a:gd name="T32" fmla="*/ 2147483647 w 326"/>
              <a:gd name="T33" fmla="*/ 2147483647 h 544"/>
              <a:gd name="T34" fmla="*/ 2147483647 w 326"/>
              <a:gd name="T35" fmla="*/ 2147483647 h 544"/>
              <a:gd name="T36" fmla="*/ 2147483647 w 326"/>
              <a:gd name="T37" fmla="*/ 2147483647 h 544"/>
              <a:gd name="T38" fmla="*/ 2147483647 w 326"/>
              <a:gd name="T39" fmla="*/ 2147483647 h 544"/>
              <a:gd name="T40" fmla="*/ 2147483647 w 326"/>
              <a:gd name="T41" fmla="*/ 2147483647 h 544"/>
              <a:gd name="T42" fmla="*/ 2147483647 w 326"/>
              <a:gd name="T43" fmla="*/ 2147483647 h 544"/>
              <a:gd name="T44" fmla="*/ 2147483647 w 326"/>
              <a:gd name="T45" fmla="*/ 2147483647 h 544"/>
              <a:gd name="T46" fmla="*/ 2147483647 w 326"/>
              <a:gd name="T47" fmla="*/ 2147483647 h 544"/>
              <a:gd name="T48" fmla="*/ 2147483647 w 326"/>
              <a:gd name="T49" fmla="*/ 2147483647 h 544"/>
              <a:gd name="T50" fmla="*/ 2147483647 w 326"/>
              <a:gd name="T51" fmla="*/ 2147483647 h 544"/>
              <a:gd name="T52" fmla="*/ 2147483647 w 326"/>
              <a:gd name="T53" fmla="*/ 2147483647 h 544"/>
              <a:gd name="T54" fmla="*/ 2147483647 w 326"/>
              <a:gd name="T55" fmla="*/ 2147483647 h 544"/>
              <a:gd name="T56" fmla="*/ 2147483647 w 326"/>
              <a:gd name="T57" fmla="*/ 2147483647 h 544"/>
              <a:gd name="T58" fmla="*/ 2147483647 w 326"/>
              <a:gd name="T59" fmla="*/ 2147483647 h 544"/>
              <a:gd name="T60" fmla="*/ 2147483647 w 326"/>
              <a:gd name="T61" fmla="*/ 2147483647 h 544"/>
              <a:gd name="T62" fmla="*/ 2147483647 w 326"/>
              <a:gd name="T63" fmla="*/ 2147483647 h 544"/>
              <a:gd name="T64" fmla="*/ 2147483647 w 326"/>
              <a:gd name="T65" fmla="*/ 2147483647 h 544"/>
              <a:gd name="T66" fmla="*/ 2147483647 w 326"/>
              <a:gd name="T67" fmla="*/ 2147483647 h 544"/>
              <a:gd name="T68" fmla="*/ 2147483647 w 326"/>
              <a:gd name="T69" fmla="*/ 2147483647 h 544"/>
              <a:gd name="T70" fmla="*/ 2147483647 w 326"/>
              <a:gd name="T71" fmla="*/ 2147483647 h 544"/>
              <a:gd name="T72" fmla="*/ 2147483647 w 326"/>
              <a:gd name="T73" fmla="*/ 2147483647 h 544"/>
              <a:gd name="T74" fmla="*/ 2147483647 w 326"/>
              <a:gd name="T75" fmla="*/ 2147483647 h 544"/>
              <a:gd name="T76" fmla="*/ 2147483647 w 326"/>
              <a:gd name="T77" fmla="*/ 2147483647 h 544"/>
              <a:gd name="T78" fmla="*/ 2147483647 w 326"/>
              <a:gd name="T79" fmla="*/ 2147483647 h 544"/>
              <a:gd name="T80" fmla="*/ 2147483647 w 326"/>
              <a:gd name="T81" fmla="*/ 2147483647 h 544"/>
              <a:gd name="T82" fmla="*/ 2147483647 w 326"/>
              <a:gd name="T83" fmla="*/ 2147483647 h 54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26"/>
              <a:gd name="T127" fmla="*/ 0 h 544"/>
              <a:gd name="T128" fmla="*/ 326 w 326"/>
              <a:gd name="T129" fmla="*/ 544 h 54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26" h="544">
                <a:moveTo>
                  <a:pt x="13" y="37"/>
                </a:moveTo>
                <a:lnTo>
                  <a:pt x="8" y="31"/>
                </a:lnTo>
                <a:lnTo>
                  <a:pt x="5" y="29"/>
                </a:lnTo>
                <a:lnTo>
                  <a:pt x="2" y="24"/>
                </a:lnTo>
                <a:lnTo>
                  <a:pt x="0" y="21"/>
                </a:lnTo>
                <a:lnTo>
                  <a:pt x="29" y="19"/>
                </a:lnTo>
                <a:lnTo>
                  <a:pt x="227" y="0"/>
                </a:lnTo>
                <a:lnTo>
                  <a:pt x="235" y="18"/>
                </a:lnTo>
                <a:lnTo>
                  <a:pt x="237" y="31"/>
                </a:lnTo>
                <a:lnTo>
                  <a:pt x="241" y="45"/>
                </a:lnTo>
                <a:lnTo>
                  <a:pt x="248" y="59"/>
                </a:lnTo>
                <a:lnTo>
                  <a:pt x="253" y="80"/>
                </a:lnTo>
                <a:lnTo>
                  <a:pt x="257" y="97"/>
                </a:lnTo>
                <a:lnTo>
                  <a:pt x="262" y="118"/>
                </a:lnTo>
                <a:lnTo>
                  <a:pt x="269" y="137"/>
                </a:lnTo>
                <a:lnTo>
                  <a:pt x="276" y="158"/>
                </a:lnTo>
                <a:lnTo>
                  <a:pt x="280" y="181"/>
                </a:lnTo>
                <a:lnTo>
                  <a:pt x="286" y="205"/>
                </a:lnTo>
                <a:lnTo>
                  <a:pt x="291" y="215"/>
                </a:lnTo>
                <a:lnTo>
                  <a:pt x="294" y="226"/>
                </a:lnTo>
                <a:lnTo>
                  <a:pt x="296" y="235"/>
                </a:lnTo>
                <a:lnTo>
                  <a:pt x="299" y="245"/>
                </a:lnTo>
                <a:lnTo>
                  <a:pt x="302" y="255"/>
                </a:lnTo>
                <a:lnTo>
                  <a:pt x="305" y="262"/>
                </a:lnTo>
                <a:lnTo>
                  <a:pt x="313" y="270"/>
                </a:lnTo>
                <a:lnTo>
                  <a:pt x="315" y="275"/>
                </a:lnTo>
                <a:lnTo>
                  <a:pt x="318" y="280"/>
                </a:lnTo>
                <a:lnTo>
                  <a:pt x="315" y="283"/>
                </a:lnTo>
                <a:lnTo>
                  <a:pt x="315" y="286"/>
                </a:lnTo>
                <a:lnTo>
                  <a:pt x="315" y="289"/>
                </a:lnTo>
                <a:lnTo>
                  <a:pt x="321" y="291"/>
                </a:lnTo>
                <a:lnTo>
                  <a:pt x="324" y="294"/>
                </a:lnTo>
                <a:lnTo>
                  <a:pt x="326" y="297"/>
                </a:lnTo>
                <a:lnTo>
                  <a:pt x="323" y="301"/>
                </a:lnTo>
                <a:lnTo>
                  <a:pt x="318" y="304"/>
                </a:lnTo>
                <a:lnTo>
                  <a:pt x="313" y="309"/>
                </a:lnTo>
                <a:lnTo>
                  <a:pt x="311" y="313"/>
                </a:lnTo>
                <a:lnTo>
                  <a:pt x="308" y="318"/>
                </a:lnTo>
                <a:lnTo>
                  <a:pt x="308" y="328"/>
                </a:lnTo>
                <a:lnTo>
                  <a:pt x="310" y="334"/>
                </a:lnTo>
                <a:lnTo>
                  <a:pt x="311" y="340"/>
                </a:lnTo>
                <a:lnTo>
                  <a:pt x="313" y="347"/>
                </a:lnTo>
                <a:lnTo>
                  <a:pt x="316" y="351"/>
                </a:lnTo>
                <a:lnTo>
                  <a:pt x="316" y="418"/>
                </a:lnTo>
                <a:lnTo>
                  <a:pt x="319" y="423"/>
                </a:lnTo>
                <a:lnTo>
                  <a:pt x="323" y="429"/>
                </a:lnTo>
                <a:lnTo>
                  <a:pt x="324" y="432"/>
                </a:lnTo>
                <a:lnTo>
                  <a:pt x="326" y="439"/>
                </a:lnTo>
                <a:lnTo>
                  <a:pt x="89" y="459"/>
                </a:lnTo>
                <a:lnTo>
                  <a:pt x="86" y="461"/>
                </a:lnTo>
                <a:lnTo>
                  <a:pt x="86" y="469"/>
                </a:lnTo>
                <a:lnTo>
                  <a:pt x="86" y="474"/>
                </a:lnTo>
                <a:lnTo>
                  <a:pt x="92" y="480"/>
                </a:lnTo>
                <a:lnTo>
                  <a:pt x="99" y="485"/>
                </a:lnTo>
                <a:lnTo>
                  <a:pt x="103" y="491"/>
                </a:lnTo>
                <a:lnTo>
                  <a:pt x="108" y="496"/>
                </a:lnTo>
                <a:lnTo>
                  <a:pt x="108" y="502"/>
                </a:lnTo>
                <a:lnTo>
                  <a:pt x="108" y="510"/>
                </a:lnTo>
                <a:lnTo>
                  <a:pt x="108" y="520"/>
                </a:lnTo>
                <a:lnTo>
                  <a:pt x="106" y="528"/>
                </a:lnTo>
                <a:lnTo>
                  <a:pt x="100" y="529"/>
                </a:lnTo>
                <a:lnTo>
                  <a:pt x="94" y="533"/>
                </a:lnTo>
                <a:lnTo>
                  <a:pt x="84" y="536"/>
                </a:lnTo>
                <a:lnTo>
                  <a:pt x="78" y="539"/>
                </a:lnTo>
                <a:lnTo>
                  <a:pt x="70" y="539"/>
                </a:lnTo>
                <a:lnTo>
                  <a:pt x="62" y="544"/>
                </a:lnTo>
                <a:lnTo>
                  <a:pt x="57" y="544"/>
                </a:lnTo>
                <a:lnTo>
                  <a:pt x="57" y="536"/>
                </a:lnTo>
                <a:lnTo>
                  <a:pt x="59" y="529"/>
                </a:lnTo>
                <a:lnTo>
                  <a:pt x="60" y="523"/>
                </a:lnTo>
                <a:lnTo>
                  <a:pt x="59" y="518"/>
                </a:lnTo>
                <a:lnTo>
                  <a:pt x="56" y="510"/>
                </a:lnTo>
                <a:lnTo>
                  <a:pt x="54" y="502"/>
                </a:lnTo>
                <a:lnTo>
                  <a:pt x="52" y="496"/>
                </a:lnTo>
                <a:lnTo>
                  <a:pt x="49" y="486"/>
                </a:lnTo>
                <a:lnTo>
                  <a:pt x="48" y="494"/>
                </a:lnTo>
                <a:lnTo>
                  <a:pt x="46" y="499"/>
                </a:lnTo>
                <a:lnTo>
                  <a:pt x="44" y="506"/>
                </a:lnTo>
                <a:lnTo>
                  <a:pt x="41" y="510"/>
                </a:lnTo>
                <a:lnTo>
                  <a:pt x="40" y="526"/>
                </a:lnTo>
                <a:lnTo>
                  <a:pt x="37" y="531"/>
                </a:lnTo>
                <a:lnTo>
                  <a:pt x="32" y="533"/>
                </a:lnTo>
                <a:lnTo>
                  <a:pt x="29" y="536"/>
                </a:lnTo>
                <a:lnTo>
                  <a:pt x="17" y="533"/>
                </a:lnTo>
                <a:lnTo>
                  <a:pt x="13" y="37"/>
                </a:lnTo>
                <a:close/>
              </a:path>
            </a:pathLst>
          </a:custGeom>
          <a:solidFill>
            <a:schemeClr val="bg1">
              <a:lumMod val="95000"/>
            </a:schemeClr>
          </a:solidFill>
          <a:ln w="0" algn="ctr">
            <a:solidFill>
              <a:srgbClr val="808080"/>
            </a:solidFill>
            <a:round/>
            <a:headEnd/>
            <a:tailEnd/>
          </a:ln>
        </p:spPr>
        <p:txBody>
          <a:bodyPr lIns="101798" tIns="50899" rIns="101798" bIns="50899"/>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endParaRPr>
          </a:p>
        </p:txBody>
      </p:sp>
      <p:grpSp>
        <p:nvGrpSpPr>
          <p:cNvPr id="92" name="Labels, Lines &amp; D.C."/>
          <p:cNvGrpSpPr/>
          <p:nvPr/>
        </p:nvGrpSpPr>
        <p:grpSpPr>
          <a:xfrm>
            <a:off x="1079656" y="2017070"/>
            <a:ext cx="6836810" cy="2746792"/>
            <a:chOff x="1813019" y="2017069"/>
            <a:chExt cx="6836810" cy="2746792"/>
          </a:xfrm>
        </p:grpSpPr>
        <p:sp>
          <p:nvSpPr>
            <p:cNvPr id="93" name="Circle: Washington, D.C."/>
            <p:cNvSpPr>
              <a:spLocks noChangeArrowheads="1"/>
            </p:cNvSpPr>
            <p:nvPr/>
          </p:nvSpPr>
          <p:spPr bwMode="auto">
            <a:xfrm>
              <a:off x="7142179" y="3706443"/>
              <a:ext cx="71662" cy="73833"/>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chemeClr val="bg1">
                <a:lumMod val="85000"/>
              </a:schemeClr>
            </a:solidFill>
            <a:ln w="0" algn="ctr">
              <a:solidFill>
                <a:srgbClr val="808080"/>
              </a:solidFill>
              <a:round/>
              <a:headEnd/>
              <a:tailEnd/>
            </a:ln>
          </p:spPr>
          <p:txBody>
            <a:bodyPr lIns="101882" tIns="50941" rIns="101882" bIns="50941"/>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endParaRPr>
            </a:p>
          </p:txBody>
        </p:sp>
        <p:sp>
          <p:nvSpPr>
            <p:cNvPr id="94" name="Label: Washington"/>
            <p:cNvSpPr txBox="1">
              <a:spLocks noChangeArrowheads="1"/>
            </p:cNvSpPr>
            <p:nvPr/>
          </p:nvSpPr>
          <p:spPr bwMode="auto">
            <a:xfrm>
              <a:off x="1813019" y="2017069"/>
              <a:ext cx="766044" cy="184666"/>
            </a:xfrm>
            <a:prstGeom prst="rect">
              <a:avLst/>
            </a:prstGeom>
            <a:noFill/>
            <a:ln>
              <a:noFill/>
            </a:ln>
            <a:extLst/>
          </p:spPr>
          <p:txBody>
            <a:bodyPr wrap="none" lIns="0" tIns="0" rIns="0" bIns="0" anchor="ctr" anchorCtr="1">
              <a:spAutoFit/>
            </a:bodyPr>
            <a:lstStyle>
              <a:defPPr>
                <a:defRPr lang="en-US"/>
              </a:defPPr>
              <a:lvl1pPr algn="ctr" eaLnBrk="1" hangingPunct="1">
                <a:spcBef>
                  <a:spcPct val="50000"/>
                </a:spcBef>
                <a:defRPr sz="1000" b="1">
                  <a:solidFill>
                    <a:srgbClr val="000000"/>
                  </a:solidFill>
                  <a:latin typeface="Arial" panose="020B0604020202020204" pitchFamily="34" charset="0"/>
                  <a:ea typeface="ＭＳ Ｐゴシック" pitchFamily="34" charset="-128"/>
                  <a:cs typeface="Arial" panose="020B0604020202020204" pitchFamily="34" charset="0"/>
                </a:defRPr>
              </a:lvl1pPr>
              <a:lvl2pPr marL="742950" indent="-285750">
                <a:defRPr>
                  <a:latin typeface="Arial" charset="0"/>
                </a:defRPr>
              </a:lvl2pPr>
              <a:lvl3pPr marL="1143000" indent="-228600">
                <a:defRPr>
                  <a:latin typeface="Arial" charset="0"/>
                </a:defRPr>
              </a:lvl3pPr>
              <a:lvl4pPr marL="1600200" indent="-228600">
                <a:defRPr>
                  <a:latin typeface="Arial" charset="0"/>
                </a:defRPr>
              </a:lvl4pPr>
              <a:lvl5pPr marL="2057400" indent="-22860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rPr>
                <a:t>Washington</a:t>
              </a:r>
            </a:p>
          </p:txBody>
        </p:sp>
        <p:sp>
          <p:nvSpPr>
            <p:cNvPr id="95" name="Label: New Mexico"/>
            <p:cNvSpPr txBox="1">
              <a:spLocks noChangeArrowheads="1"/>
            </p:cNvSpPr>
            <p:nvPr/>
          </p:nvSpPr>
          <p:spPr bwMode="auto">
            <a:xfrm>
              <a:off x="2907578" y="4579195"/>
              <a:ext cx="1148504" cy="184666"/>
            </a:xfrm>
            <a:prstGeom prst="rect">
              <a:avLst/>
            </a:prstGeom>
            <a:noFill/>
            <a:ln>
              <a:noFill/>
            </a:ln>
            <a:extLst/>
          </p:spPr>
          <p:txBody>
            <a:bodyPr wrap="square" lIns="0" tIns="0" rIns="0" bIns="0" anchor="ctr" anchorCtr="1">
              <a:spAutoFit/>
            </a:bodyPr>
            <a:lstStyle>
              <a:defPPr>
                <a:defRPr lang="en-US"/>
              </a:defPPr>
              <a:lvl1pPr algn="ctr" eaLnBrk="1" hangingPunct="1">
                <a:spcBef>
                  <a:spcPct val="50000"/>
                </a:spcBef>
                <a:defRPr sz="1000" b="1">
                  <a:solidFill>
                    <a:srgbClr val="000000"/>
                  </a:solidFill>
                  <a:latin typeface="Arial" panose="020B0604020202020204" pitchFamily="34" charset="0"/>
                  <a:ea typeface="ＭＳ Ｐゴシック" pitchFamily="34" charset="-128"/>
                  <a:cs typeface="Arial" panose="020B0604020202020204" pitchFamily="34" charset="0"/>
                </a:defRPr>
              </a:lvl1pPr>
              <a:lvl2pPr marL="742950" indent="-285750">
                <a:defRPr>
                  <a:latin typeface="Arial" charset="0"/>
                </a:defRPr>
              </a:lvl2pPr>
              <a:lvl3pPr marL="1143000" indent="-228600">
                <a:defRPr>
                  <a:latin typeface="Arial" charset="0"/>
                </a:defRPr>
              </a:lvl3pPr>
              <a:lvl4pPr marL="1600200" indent="-228600">
                <a:defRPr>
                  <a:latin typeface="Arial" charset="0"/>
                </a:defRPr>
              </a:lvl4pPr>
              <a:lvl5pPr marL="2057400" indent="-22860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rPr>
                <a:t>New Mexico</a:t>
              </a:r>
            </a:p>
          </p:txBody>
        </p:sp>
        <p:sp>
          <p:nvSpPr>
            <p:cNvPr id="96" name="Label: Minnesota"/>
            <p:cNvSpPr txBox="1">
              <a:spLocks noChangeArrowheads="1"/>
            </p:cNvSpPr>
            <p:nvPr/>
          </p:nvSpPr>
          <p:spPr bwMode="auto">
            <a:xfrm>
              <a:off x="4734535" y="2408671"/>
              <a:ext cx="687817" cy="184666"/>
            </a:xfrm>
            <a:prstGeom prst="rect">
              <a:avLst/>
            </a:prstGeom>
            <a:noFill/>
            <a:ln>
              <a:noFill/>
            </a:ln>
            <a:extLst/>
          </p:spPr>
          <p:txBody>
            <a:bodyPr wrap="none" lIns="0" tIns="0" rIns="0" bIns="0" anchor="ctr" anchorCtr="1">
              <a:spAutoFit/>
            </a:bodyPr>
            <a:lstStyle>
              <a:defPPr>
                <a:defRPr lang="en-US"/>
              </a:defPPr>
              <a:lvl1pPr algn="ctr" eaLnBrk="1" hangingPunct="1">
                <a:spcBef>
                  <a:spcPct val="50000"/>
                </a:spcBef>
                <a:defRPr sz="1000" b="1">
                  <a:solidFill>
                    <a:srgbClr val="000000"/>
                  </a:solidFill>
                  <a:latin typeface="Arial" panose="020B0604020202020204" pitchFamily="34" charset="0"/>
                  <a:ea typeface="ＭＳ Ｐゴシック" pitchFamily="34" charset="-128"/>
                  <a:cs typeface="Arial" panose="020B0604020202020204" pitchFamily="34" charset="0"/>
                </a:defRPr>
              </a:lvl1pPr>
              <a:lvl2pPr marL="742950" indent="-285750">
                <a:defRPr>
                  <a:latin typeface="Arial" charset="0"/>
                </a:defRPr>
              </a:lvl2pPr>
              <a:lvl3pPr marL="1143000" indent="-228600">
                <a:defRPr>
                  <a:latin typeface="Arial" charset="0"/>
                </a:defRPr>
              </a:lvl3pPr>
              <a:lvl4pPr marL="1600200" indent="-228600">
                <a:defRPr>
                  <a:latin typeface="Arial" charset="0"/>
                </a:defRPr>
              </a:lvl4pPr>
              <a:lvl5pPr marL="2057400" indent="-22860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rPr>
                <a:t>Minnesota</a:t>
              </a:r>
            </a:p>
          </p:txBody>
        </p:sp>
        <p:sp>
          <p:nvSpPr>
            <p:cNvPr id="97" name="Line: Connecticut"/>
            <p:cNvSpPr>
              <a:spLocks noChangeShapeType="1"/>
            </p:cNvSpPr>
            <p:nvPr/>
          </p:nvSpPr>
          <p:spPr bwMode="auto">
            <a:xfrm>
              <a:off x="7495722" y="3471095"/>
              <a:ext cx="173466" cy="28909"/>
            </a:xfrm>
            <a:prstGeom prst="line">
              <a:avLst/>
            </a:prstGeom>
            <a:noFill/>
            <a:ln w="6350">
              <a:solidFill>
                <a:schemeClr val="tx1"/>
              </a:solidFill>
              <a:round/>
              <a:headEnd/>
              <a:tailEnd/>
            </a:ln>
            <a:extLst/>
          </p:spPr>
          <p:txBody>
            <a:bodyPr lIns="101882" tIns="50941" rIns="101882" bIns="50941"/>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endParaRPr>
            </a:p>
          </p:txBody>
        </p:sp>
        <p:sp>
          <p:nvSpPr>
            <p:cNvPr id="98" name="Label: Connecticut"/>
            <p:cNvSpPr txBox="1">
              <a:spLocks noChangeArrowheads="1"/>
            </p:cNvSpPr>
            <p:nvPr/>
          </p:nvSpPr>
          <p:spPr bwMode="auto">
            <a:xfrm>
              <a:off x="7885196" y="3131114"/>
              <a:ext cx="764633" cy="184666"/>
            </a:xfrm>
            <a:prstGeom prst="rect">
              <a:avLst/>
            </a:prstGeom>
            <a:noFill/>
            <a:ln>
              <a:noFill/>
            </a:ln>
            <a:extLst/>
          </p:spPr>
          <p:txBody>
            <a:bodyPr wrap="none" lIns="0" tIns="0" rIns="0" bIns="0" anchor="ctr" anchorCtr="1">
              <a:spAutoFit/>
            </a:bodyPr>
            <a:lstStyle>
              <a:defPPr>
                <a:defRPr lang="en-US"/>
              </a:defPPr>
              <a:lvl1pPr eaLnBrk="1" hangingPunct="1">
                <a:spcBef>
                  <a:spcPct val="50000"/>
                </a:spcBef>
                <a:defRPr sz="1000" b="1">
                  <a:solidFill>
                    <a:srgbClr val="000000"/>
                  </a:solidFill>
                  <a:latin typeface="Arial" panose="020B0604020202020204" pitchFamily="34" charset="0"/>
                  <a:ea typeface="ＭＳ Ｐゴシック" pitchFamily="34" charset="-128"/>
                  <a:cs typeface="Arial" panose="020B0604020202020204" pitchFamily="34" charset="0"/>
                </a:defRPr>
              </a:lvl1pPr>
              <a:lvl2pPr marL="742950" indent="-285750">
                <a:defRPr>
                  <a:latin typeface="Arial" charset="0"/>
                </a:defRPr>
              </a:lvl2pPr>
              <a:lvl3pPr marL="1143000" indent="-228600">
                <a:defRPr>
                  <a:latin typeface="Arial" charset="0"/>
                </a:defRPr>
              </a:lvl3pPr>
              <a:lvl4pPr marL="1600200" indent="-228600">
                <a:defRPr>
                  <a:latin typeface="Arial" charset="0"/>
                </a:defRPr>
              </a:lvl4pPr>
              <a:lvl5pPr marL="2057400" indent="-22860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marL="0" marR="0" lvl="0" indent="0" algn="l" defTabSz="457200" rtl="0" eaLnBrk="1" fontAlgn="auto" latinLnBrk="0" hangingPunct="1">
                <a:lnSpc>
                  <a:spcPct val="100000"/>
                </a:lnSpc>
                <a:spcBef>
                  <a:spcPct val="5000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rPr>
                <a:t>Connecticut</a:t>
              </a:r>
            </a:p>
          </p:txBody>
        </p:sp>
        <p:sp>
          <p:nvSpPr>
            <p:cNvPr id="99" name="Label: Colorado"/>
            <p:cNvSpPr txBox="1">
              <a:spLocks noChangeArrowheads="1"/>
            </p:cNvSpPr>
            <p:nvPr/>
          </p:nvSpPr>
          <p:spPr bwMode="auto">
            <a:xfrm>
              <a:off x="3364533" y="3808831"/>
              <a:ext cx="580095" cy="184666"/>
            </a:xfrm>
            <a:prstGeom prst="rect">
              <a:avLst/>
            </a:prstGeom>
            <a:noFill/>
            <a:ln>
              <a:noFill/>
            </a:ln>
            <a:extLst/>
          </p:spPr>
          <p:txBody>
            <a:bodyPr wrap="none" lIns="0" tIns="0" rIns="0" bIns="0" anchor="ctr" anchorCtr="1">
              <a:spAutoFit/>
            </a:bodyPr>
            <a:lstStyle>
              <a:defPPr>
                <a:defRPr lang="en-US"/>
              </a:defPPr>
              <a:lvl1pPr algn="ctr" eaLnBrk="1" hangingPunct="1">
                <a:spcBef>
                  <a:spcPct val="50000"/>
                </a:spcBef>
                <a:defRPr sz="1000" b="1">
                  <a:solidFill>
                    <a:srgbClr val="000000"/>
                  </a:solidFill>
                  <a:latin typeface="Arial" panose="020B0604020202020204" pitchFamily="34" charset="0"/>
                  <a:ea typeface="ＭＳ Ｐゴシック" pitchFamily="34" charset="-128"/>
                  <a:cs typeface="Arial" panose="020B0604020202020204" pitchFamily="34" charset="0"/>
                </a:defRPr>
              </a:lvl1pPr>
              <a:lvl2pPr marL="742950" indent="-285750">
                <a:defRPr>
                  <a:latin typeface="Arial" charset="0"/>
                </a:defRPr>
              </a:lvl2pPr>
              <a:lvl3pPr marL="1143000" indent="-228600">
                <a:defRPr>
                  <a:latin typeface="Arial" charset="0"/>
                </a:defRPr>
              </a:lvl3pPr>
              <a:lvl4pPr marL="1600200" indent="-228600">
                <a:defRPr>
                  <a:latin typeface="Arial" charset="0"/>
                </a:defRPr>
              </a:lvl4pPr>
              <a:lvl5pPr marL="2057400" indent="-22860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rPr>
                <a:t>Colorado</a:t>
              </a:r>
            </a:p>
          </p:txBody>
        </p:sp>
      </p:grpSp>
      <p:grpSp>
        <p:nvGrpSpPr>
          <p:cNvPr id="100" name="Group 99"/>
          <p:cNvGrpSpPr/>
          <p:nvPr/>
        </p:nvGrpSpPr>
        <p:grpSpPr>
          <a:xfrm>
            <a:off x="6534280" y="4730914"/>
            <a:ext cx="2549846" cy="1311960"/>
            <a:chOff x="6833644" y="4730914"/>
            <a:chExt cx="2549846" cy="1311960"/>
          </a:xfrm>
        </p:grpSpPr>
        <p:sp>
          <p:nvSpPr>
            <p:cNvPr id="101" name="Rectangle 100"/>
            <p:cNvSpPr/>
            <p:nvPr/>
          </p:nvSpPr>
          <p:spPr>
            <a:xfrm>
              <a:off x="6833644" y="4832057"/>
              <a:ext cx="228600" cy="228600"/>
            </a:xfrm>
            <a:prstGeom prst="rect">
              <a:avLst/>
            </a:prstGeom>
            <a:solidFill>
              <a:schemeClr val="accent4">
                <a:lumMod val="40000"/>
                <a:lumOff val="60000"/>
              </a:schemeClr>
            </a:solidFill>
            <a:ln w="12700"/>
          </p:spPr>
          <p:style>
            <a:lnRef idx="2">
              <a:schemeClr val="accent4"/>
            </a:lnRef>
            <a:fillRef idx="1">
              <a:schemeClr val="lt1"/>
            </a:fillRef>
            <a:effectRef idx="0">
              <a:schemeClr val="accent4"/>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2" name="Rectangle 101"/>
            <p:cNvSpPr/>
            <p:nvPr/>
          </p:nvSpPr>
          <p:spPr>
            <a:xfrm>
              <a:off x="6833644" y="5272593"/>
              <a:ext cx="228600" cy="228600"/>
            </a:xfrm>
            <a:prstGeom prst="rect">
              <a:avLst/>
            </a:prstGeom>
            <a:solidFill>
              <a:schemeClr val="accent6">
                <a:lumMod val="40000"/>
                <a:lumOff val="60000"/>
              </a:schemeClr>
            </a:solidFill>
            <a:ln w="12700"/>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3" name="TextBox 102"/>
            <p:cNvSpPr txBox="1"/>
            <p:nvPr/>
          </p:nvSpPr>
          <p:spPr>
            <a:xfrm>
              <a:off x="7043779" y="4730914"/>
              <a:ext cx="1839984" cy="43088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ea typeface="+mn-ea"/>
                  <a:cs typeface="+mn-cs"/>
                </a:rPr>
                <a:t>States that considered buy-in/public option legislation</a:t>
              </a:r>
            </a:p>
          </p:txBody>
        </p:sp>
        <p:sp>
          <p:nvSpPr>
            <p:cNvPr id="104" name="TextBox 103"/>
            <p:cNvSpPr txBox="1"/>
            <p:nvPr/>
          </p:nvSpPr>
          <p:spPr>
            <a:xfrm>
              <a:off x="7043779" y="5171450"/>
              <a:ext cx="1845764" cy="43088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ea typeface="+mn-ea"/>
                  <a:cs typeface="+mn-cs"/>
                </a:rPr>
                <a:t>States that considered study legislation</a:t>
              </a:r>
            </a:p>
          </p:txBody>
        </p:sp>
        <p:sp>
          <p:nvSpPr>
            <p:cNvPr id="105" name="Rectangle 104"/>
            <p:cNvSpPr/>
            <p:nvPr/>
          </p:nvSpPr>
          <p:spPr>
            <a:xfrm>
              <a:off x="6840159" y="5713130"/>
              <a:ext cx="228600" cy="228600"/>
            </a:xfrm>
            <a:prstGeom prst="rect">
              <a:avLst/>
            </a:prstGeom>
            <a:pattFill prst="wdDnDiag">
              <a:fgClr>
                <a:schemeClr val="accent4">
                  <a:lumMod val="40000"/>
                  <a:lumOff val="60000"/>
                </a:schemeClr>
              </a:fgClr>
              <a:bgClr>
                <a:schemeClr val="accent6">
                  <a:lumMod val="40000"/>
                  <a:lumOff val="60000"/>
                </a:schemeClr>
              </a:bgClr>
            </a:pattFill>
            <a:ln w="12700">
              <a:solidFill>
                <a:schemeClr val="tx1">
                  <a:lumMod val="50000"/>
                  <a:lumOff val="50000"/>
                </a:schemeClr>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6" name="TextBox 105"/>
            <p:cNvSpPr txBox="1"/>
            <p:nvPr/>
          </p:nvSpPr>
          <p:spPr>
            <a:xfrm>
              <a:off x="7042359" y="5611987"/>
              <a:ext cx="2341131" cy="43088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ea typeface="+mn-ea"/>
                  <a:cs typeface="+mn-cs"/>
                </a:rPr>
                <a:t>States that considered both buy-in/public option and study legislation</a:t>
              </a:r>
            </a:p>
          </p:txBody>
        </p:sp>
      </p:grpSp>
      <p:sp>
        <p:nvSpPr>
          <p:cNvPr id="107" name="Rectangular Callout 106"/>
          <p:cNvSpPr/>
          <p:nvPr/>
        </p:nvSpPr>
        <p:spPr>
          <a:xfrm>
            <a:off x="4856132" y="1735837"/>
            <a:ext cx="1832605" cy="1084455"/>
          </a:xfrm>
          <a:prstGeom prst="wedgeRectCallout">
            <a:avLst>
              <a:gd name="adj1" fmla="val -59639"/>
              <a:gd name="adj2" fmla="val 29488"/>
            </a:avLst>
          </a:prstGeom>
          <a:solidFill>
            <a:schemeClr val="bg1"/>
          </a:solidFill>
          <a:ln w="19050">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lIns="45683" tIns="45683" rIns="45683" bIns="45683"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ea typeface="+mn-ea"/>
                <a:cs typeface="+mn-cs"/>
              </a:rPr>
              <a:t>Introduced bills allow individuals with higher incomes to buy-in to the state BHP program; </a:t>
            </a:r>
            <a:r>
              <a:rPr kumimoji="0" lang="en-US" sz="1100" b="0" i="1" u="none" strike="noStrike" kern="1200" cap="none" spc="0" normalizeH="0" baseline="0" noProof="0" dirty="0">
                <a:ln>
                  <a:noFill/>
                </a:ln>
                <a:solidFill>
                  <a:prstClr val="black"/>
                </a:solidFill>
                <a:effectLst/>
                <a:uLnTx/>
                <a:uFillTx/>
                <a:latin typeface="Calibri"/>
                <a:ea typeface="+mn-ea"/>
                <a:cs typeface="+mn-cs"/>
              </a:rPr>
              <a:t>the bills did not pass in the</a:t>
            </a:r>
            <a:r>
              <a:rPr kumimoji="0" lang="en-US" sz="1100" b="0" i="1" u="none" strike="noStrike" kern="1200" cap="none" spc="0" normalizeH="0" noProof="0" dirty="0">
                <a:ln>
                  <a:noFill/>
                </a:ln>
                <a:solidFill>
                  <a:prstClr val="black"/>
                </a:solidFill>
                <a:effectLst/>
                <a:uLnTx/>
                <a:uFillTx/>
                <a:latin typeface="Calibri"/>
                <a:ea typeface="+mn-ea"/>
                <a:cs typeface="+mn-cs"/>
              </a:rPr>
              <a:t> 2019</a:t>
            </a:r>
            <a:r>
              <a:rPr kumimoji="0" lang="en-US" sz="1100" b="0" i="1" u="none" strike="noStrike" kern="1200" cap="none" spc="0" normalizeH="0" baseline="0" noProof="0" dirty="0">
                <a:ln>
                  <a:noFill/>
                </a:ln>
                <a:solidFill>
                  <a:prstClr val="black"/>
                </a:solidFill>
                <a:effectLst/>
                <a:uLnTx/>
                <a:uFillTx/>
                <a:latin typeface="Calibri"/>
                <a:ea typeface="+mn-ea"/>
                <a:cs typeface="+mn-cs"/>
              </a:rPr>
              <a:t> session</a:t>
            </a:r>
          </a:p>
        </p:txBody>
      </p:sp>
      <p:sp>
        <p:nvSpPr>
          <p:cNvPr id="108" name="Rectangular Callout 107"/>
          <p:cNvSpPr/>
          <p:nvPr/>
        </p:nvSpPr>
        <p:spPr>
          <a:xfrm>
            <a:off x="7341914" y="1869239"/>
            <a:ext cx="1414414" cy="1113767"/>
          </a:xfrm>
          <a:prstGeom prst="wedgeRectCallout">
            <a:avLst>
              <a:gd name="adj1" fmla="val -76800"/>
              <a:gd name="adj2" fmla="val 62724"/>
            </a:avLst>
          </a:prstGeom>
          <a:solidFill>
            <a:schemeClr val="bg1"/>
          </a:solidFill>
          <a:ln w="19050">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lIns="45683" tIns="45683" rIns="45683" bIns="45683"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ea typeface="+mn-ea"/>
                <a:cs typeface="+mn-cs"/>
              </a:rPr>
              <a:t>Proposed legislation to authorize a work group to establish a state public option for 2021; </a:t>
            </a:r>
            <a:r>
              <a:rPr kumimoji="0" lang="en-US" sz="1100" b="0" i="1" u="none" strike="noStrike" kern="1200" cap="none" spc="0" normalizeH="0" baseline="0" noProof="0" dirty="0">
                <a:ln>
                  <a:noFill/>
                </a:ln>
                <a:solidFill>
                  <a:prstClr val="black"/>
                </a:solidFill>
                <a:effectLst/>
                <a:uLnTx/>
                <a:uFillTx/>
                <a:latin typeface="Calibri"/>
                <a:ea typeface="+mn-ea"/>
                <a:cs typeface="+mn-cs"/>
              </a:rPr>
              <a:t>the bill did not pass in the</a:t>
            </a:r>
            <a:r>
              <a:rPr kumimoji="0" lang="en-US" sz="1100" b="0" i="1" u="none" strike="noStrike" kern="1200" cap="none" spc="0" normalizeH="0" noProof="0" dirty="0">
                <a:ln>
                  <a:noFill/>
                </a:ln>
                <a:solidFill>
                  <a:prstClr val="black"/>
                </a:solidFill>
                <a:effectLst/>
                <a:uLnTx/>
                <a:uFillTx/>
                <a:latin typeface="Calibri"/>
                <a:ea typeface="+mn-ea"/>
                <a:cs typeface="+mn-cs"/>
              </a:rPr>
              <a:t> 2019 </a:t>
            </a:r>
            <a:r>
              <a:rPr kumimoji="0" lang="en-US" sz="1100" b="0" i="1" u="none" strike="noStrike" kern="1200" cap="none" spc="0" normalizeH="0" baseline="0" noProof="0" dirty="0">
                <a:ln>
                  <a:noFill/>
                </a:ln>
                <a:solidFill>
                  <a:prstClr val="black"/>
                </a:solidFill>
                <a:effectLst/>
                <a:uLnTx/>
                <a:uFillTx/>
                <a:latin typeface="Calibri"/>
                <a:ea typeface="+mn-ea"/>
                <a:cs typeface="+mn-cs"/>
              </a:rPr>
              <a:t>session</a:t>
            </a:r>
          </a:p>
        </p:txBody>
      </p:sp>
      <p:sp>
        <p:nvSpPr>
          <p:cNvPr id="109" name="Rectangular Callout 108"/>
          <p:cNvSpPr/>
          <p:nvPr/>
        </p:nvSpPr>
        <p:spPr>
          <a:xfrm>
            <a:off x="1970993" y="1531886"/>
            <a:ext cx="2129717" cy="528680"/>
          </a:xfrm>
          <a:prstGeom prst="wedgeRectCallout">
            <a:avLst>
              <a:gd name="adj1" fmla="val -61990"/>
              <a:gd name="adj2" fmla="val 30197"/>
            </a:avLst>
          </a:prstGeom>
          <a:solidFill>
            <a:schemeClr val="bg1"/>
          </a:solidFill>
          <a:ln w="19050">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lIns="91365" tIns="45683" rIns="91365" bIns="45683"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alibri"/>
                <a:ea typeface="+mn-ea"/>
                <a:cs typeface="+mn-cs"/>
              </a:rPr>
              <a:t>Enacted</a:t>
            </a:r>
            <a:r>
              <a:rPr kumimoji="0" lang="en-US" sz="1100" b="0" i="0" u="none" strike="noStrike" kern="1200" cap="none" spc="0" normalizeH="0" baseline="0" noProof="0" dirty="0">
                <a:ln>
                  <a:noFill/>
                </a:ln>
                <a:solidFill>
                  <a:prstClr val="black"/>
                </a:solidFill>
                <a:effectLst/>
                <a:uLnTx/>
                <a:uFillTx/>
                <a:latin typeface="Calibri"/>
                <a:ea typeface="+mn-ea"/>
                <a:cs typeface="+mn-cs"/>
              </a:rPr>
              <a:t> the nation’s first public option bill in May 2019</a:t>
            </a:r>
          </a:p>
        </p:txBody>
      </p:sp>
      <p:sp>
        <p:nvSpPr>
          <p:cNvPr id="110" name="Rectangular Callout 109"/>
          <p:cNvSpPr/>
          <p:nvPr/>
        </p:nvSpPr>
        <p:spPr>
          <a:xfrm>
            <a:off x="3481730" y="4753960"/>
            <a:ext cx="2227867" cy="559134"/>
          </a:xfrm>
          <a:prstGeom prst="wedgeRectCallout">
            <a:avLst>
              <a:gd name="adj1" fmla="val -68562"/>
              <a:gd name="adj2" fmla="val -17870"/>
            </a:avLst>
          </a:prstGeom>
          <a:solidFill>
            <a:schemeClr val="bg1"/>
          </a:solidFill>
          <a:ln w="19050">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lIns="91365" tIns="45683" rIns="91365" bIns="45683" rtlCol="0" anchor="ctr"/>
          <a:lstStyle/>
          <a:p>
            <a:pPr marL="0" marR="0" lvl="0" indent="0" algn="ctr" defTabSz="457200" rtl="0" eaLnBrk="1" fontAlgn="auto" latinLnBrk="0" hangingPunct="1">
              <a:lnSpc>
                <a:spcPct val="100000"/>
              </a:lnSpc>
              <a:spcBef>
                <a:spcPts val="30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alibri"/>
                <a:ea typeface="+mn-ea"/>
                <a:cs typeface="+mn-cs"/>
              </a:rPr>
              <a:t>Enacted</a:t>
            </a:r>
            <a:r>
              <a:rPr kumimoji="0" lang="en-US" sz="1100" b="0" i="0" u="none" strike="noStrike" kern="1200" cap="none" spc="0" normalizeH="0" baseline="0" noProof="0" dirty="0">
                <a:ln>
                  <a:noFill/>
                </a:ln>
                <a:solidFill>
                  <a:prstClr val="black"/>
                </a:solidFill>
                <a:effectLst/>
                <a:uLnTx/>
                <a:uFillTx/>
                <a:latin typeface="Calibri"/>
                <a:ea typeface="+mn-ea"/>
                <a:cs typeface="+mn-cs"/>
              </a:rPr>
              <a:t> appropriations for an additional Medicaid buy-in study in March 2019</a:t>
            </a:r>
          </a:p>
        </p:txBody>
      </p:sp>
      <p:sp>
        <p:nvSpPr>
          <p:cNvPr id="111" name="Rectangular Callout 110"/>
          <p:cNvSpPr/>
          <p:nvPr/>
        </p:nvSpPr>
        <p:spPr>
          <a:xfrm>
            <a:off x="3469174" y="4013924"/>
            <a:ext cx="2481306" cy="689271"/>
          </a:xfrm>
          <a:prstGeom prst="wedgeRectCallout">
            <a:avLst>
              <a:gd name="adj1" fmla="val -64197"/>
              <a:gd name="adj2" fmla="val -44530"/>
            </a:avLst>
          </a:prstGeom>
          <a:solidFill>
            <a:schemeClr val="bg1"/>
          </a:solidFill>
          <a:ln w="19050">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lIns="91365" tIns="45683" rIns="91365" bIns="45683" rtlCol="0" anchor="ctr"/>
          <a:lstStyle/>
          <a:p>
            <a:pPr marL="0" marR="0" lvl="0" indent="0" algn="ctr" defTabSz="457200" rtl="0" eaLnBrk="1" fontAlgn="auto" latinLnBrk="0" hangingPunct="1">
              <a:lnSpc>
                <a:spcPct val="100000"/>
              </a:lnSpc>
              <a:spcBef>
                <a:spcPts val="30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alibri"/>
                <a:ea typeface="+mn-ea"/>
                <a:cs typeface="+mn-cs"/>
              </a:rPr>
              <a:t>Enacted</a:t>
            </a:r>
            <a:r>
              <a:rPr kumimoji="0" lang="en-US" sz="1100" b="0" i="0" u="none" strike="noStrike" kern="1200" cap="none" spc="0" normalizeH="0" baseline="0" noProof="0" dirty="0">
                <a:ln>
                  <a:noFill/>
                </a:ln>
                <a:solidFill>
                  <a:prstClr val="black"/>
                </a:solidFill>
                <a:effectLst/>
                <a:uLnTx/>
                <a:uFillTx/>
                <a:latin typeface="Calibri"/>
                <a:ea typeface="+mn-ea"/>
                <a:cs typeface="+mn-cs"/>
              </a:rPr>
              <a:t> a bill for a “state option for health care coverage” in April 2019. State regulators</a:t>
            </a:r>
            <a:r>
              <a:rPr kumimoji="0" lang="en-US" sz="1100" b="0" i="0" u="none" strike="noStrike" kern="1200" cap="none" spc="0" normalizeH="0" noProof="0" dirty="0">
                <a:ln>
                  <a:noFill/>
                </a:ln>
                <a:solidFill>
                  <a:prstClr val="black"/>
                </a:solidFill>
                <a:effectLst/>
                <a:uLnTx/>
                <a:uFillTx/>
                <a:latin typeface="Calibri"/>
                <a:ea typeface="+mn-ea"/>
                <a:cs typeface="+mn-cs"/>
              </a:rPr>
              <a:t> sent a final report to legislature in November 2019. </a:t>
            </a:r>
            <a:endParaRPr kumimoji="0" lang="en-US" sz="11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2" name="Label: Colorado"/>
          <p:cNvSpPr txBox="1">
            <a:spLocks noChangeArrowheads="1"/>
          </p:cNvSpPr>
          <p:nvPr/>
        </p:nvSpPr>
        <p:spPr bwMode="auto">
          <a:xfrm>
            <a:off x="1302980" y="3424913"/>
            <a:ext cx="481094" cy="184666"/>
          </a:xfrm>
          <a:prstGeom prst="rect">
            <a:avLst/>
          </a:prstGeom>
          <a:noFill/>
          <a:ln>
            <a:noFill/>
          </a:ln>
          <a:extLst/>
        </p:spPr>
        <p:txBody>
          <a:bodyPr wrap="none" lIns="0" tIns="0" rIns="0" bIns="0" anchor="ctr" anchorCtr="1">
            <a:spAutoFit/>
          </a:bodyPr>
          <a:lstStyle>
            <a:defPPr>
              <a:defRPr lang="en-US"/>
            </a:defPPr>
            <a:lvl1pPr algn="ctr" eaLnBrk="1" hangingPunct="1">
              <a:spcBef>
                <a:spcPct val="50000"/>
              </a:spcBef>
              <a:defRPr sz="1000" b="1">
                <a:solidFill>
                  <a:srgbClr val="000000"/>
                </a:solidFill>
                <a:latin typeface="Arial" panose="020B0604020202020204" pitchFamily="34" charset="0"/>
                <a:ea typeface="ＭＳ Ｐゴシック" pitchFamily="34" charset="-128"/>
                <a:cs typeface="Arial" panose="020B0604020202020204" pitchFamily="34" charset="0"/>
              </a:defRPr>
            </a:lvl1pPr>
            <a:lvl2pPr marL="742950" indent="-285750">
              <a:defRPr>
                <a:latin typeface="Arial" charset="0"/>
              </a:defRPr>
            </a:lvl2pPr>
            <a:lvl3pPr marL="1143000" indent="-228600">
              <a:defRPr>
                <a:latin typeface="Arial" charset="0"/>
              </a:defRPr>
            </a:lvl3pPr>
            <a:lvl4pPr marL="1600200" indent="-228600">
              <a:defRPr>
                <a:latin typeface="Arial" charset="0"/>
              </a:defRPr>
            </a:lvl4pPr>
            <a:lvl5pPr marL="2057400" indent="-22860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rPr>
              <a:t>Nevada</a:t>
            </a:r>
          </a:p>
        </p:txBody>
      </p:sp>
      <p:sp>
        <p:nvSpPr>
          <p:cNvPr id="113" name="Rectangular Callout 112"/>
          <p:cNvSpPr/>
          <p:nvPr/>
        </p:nvSpPr>
        <p:spPr>
          <a:xfrm>
            <a:off x="313742" y="4298649"/>
            <a:ext cx="1539038" cy="704012"/>
          </a:xfrm>
          <a:prstGeom prst="wedgeRectCallout">
            <a:avLst>
              <a:gd name="adj1" fmla="val 28881"/>
              <a:gd name="adj2" fmla="val -95744"/>
            </a:avLst>
          </a:prstGeom>
          <a:solidFill>
            <a:schemeClr val="bg1"/>
          </a:solidFill>
          <a:ln w="19050">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lIns="91365" tIns="45683" rIns="91365" bIns="45683" rtlCol="0" anchor="ctr"/>
          <a:lstStyle/>
          <a:p>
            <a:pPr marL="0" marR="0" lvl="0" indent="0" algn="ctr" defTabSz="457200" rtl="0" eaLnBrk="1" fontAlgn="auto" latinLnBrk="0" hangingPunct="1">
              <a:lnSpc>
                <a:spcPct val="100000"/>
              </a:lnSpc>
              <a:spcBef>
                <a:spcPts val="30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alibri"/>
                <a:ea typeface="+mn-ea"/>
                <a:cs typeface="+mn-cs"/>
              </a:rPr>
              <a:t>Passed</a:t>
            </a:r>
            <a:r>
              <a:rPr kumimoji="0" lang="en-US" sz="1100" b="0" i="0" u="none" strike="noStrike" kern="1200" cap="none" spc="0" normalizeH="0" baseline="0" noProof="0" dirty="0">
                <a:ln>
                  <a:noFill/>
                </a:ln>
                <a:solidFill>
                  <a:prstClr val="black"/>
                </a:solidFill>
                <a:effectLst/>
                <a:uLnTx/>
                <a:uFillTx/>
                <a:latin typeface="Calibri"/>
                <a:ea typeface="+mn-ea"/>
                <a:cs typeface="+mn-cs"/>
              </a:rPr>
              <a:t> a bill in June 2019 to study a SEHP-based public healthcare insurance plan</a:t>
            </a:r>
          </a:p>
        </p:txBody>
      </p:sp>
      <p:sp>
        <p:nvSpPr>
          <p:cNvPr id="114" name="Label: Minnesota"/>
          <p:cNvSpPr txBox="1">
            <a:spLocks noChangeArrowheads="1"/>
          </p:cNvSpPr>
          <p:nvPr/>
        </p:nvSpPr>
        <p:spPr bwMode="auto">
          <a:xfrm>
            <a:off x="1071743" y="2574248"/>
            <a:ext cx="472886" cy="184666"/>
          </a:xfrm>
          <a:prstGeom prst="rect">
            <a:avLst/>
          </a:prstGeom>
          <a:noFill/>
          <a:ln>
            <a:noFill/>
          </a:ln>
          <a:extLst/>
        </p:spPr>
        <p:txBody>
          <a:bodyPr wrap="none" lIns="0" tIns="0" rIns="0" bIns="0" anchor="ctr" anchorCtr="1">
            <a:spAutoFit/>
          </a:bodyPr>
          <a:lstStyle>
            <a:defPPr>
              <a:defRPr lang="en-US"/>
            </a:defPPr>
            <a:lvl1pPr algn="ctr" eaLnBrk="1" hangingPunct="1">
              <a:spcBef>
                <a:spcPct val="50000"/>
              </a:spcBef>
              <a:defRPr sz="1000" b="1">
                <a:solidFill>
                  <a:srgbClr val="000000"/>
                </a:solidFill>
                <a:latin typeface="Arial" panose="020B0604020202020204" pitchFamily="34" charset="0"/>
                <a:ea typeface="ＭＳ Ｐゴシック" pitchFamily="34" charset="-128"/>
                <a:cs typeface="Arial" panose="020B0604020202020204" pitchFamily="34" charset="0"/>
              </a:defRPr>
            </a:lvl1pPr>
            <a:lvl2pPr marL="742950" indent="-285750">
              <a:defRPr>
                <a:latin typeface="Arial" charset="0"/>
              </a:defRPr>
            </a:lvl2pPr>
            <a:lvl3pPr marL="1143000" indent="-228600">
              <a:defRPr>
                <a:latin typeface="Arial" charset="0"/>
              </a:defRPr>
            </a:lvl3pPr>
            <a:lvl4pPr marL="1600200" indent="-228600">
              <a:defRPr>
                <a:latin typeface="Arial" charset="0"/>
              </a:defRPr>
            </a:lvl4pPr>
            <a:lvl5pPr marL="2057400" indent="-22860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rPr>
              <a:t>Oregon</a:t>
            </a:r>
          </a:p>
        </p:txBody>
      </p:sp>
      <p:sp>
        <p:nvSpPr>
          <p:cNvPr id="115" name="Rectangular Callout 114"/>
          <p:cNvSpPr/>
          <p:nvPr/>
        </p:nvSpPr>
        <p:spPr>
          <a:xfrm>
            <a:off x="1872613" y="2392506"/>
            <a:ext cx="1981158" cy="714806"/>
          </a:xfrm>
          <a:prstGeom prst="wedgeRectCallout">
            <a:avLst>
              <a:gd name="adj1" fmla="val -75121"/>
              <a:gd name="adj2" fmla="val 16747"/>
            </a:avLst>
          </a:prstGeom>
          <a:solidFill>
            <a:schemeClr val="bg1"/>
          </a:solidFill>
          <a:ln w="19050">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lIns="91365" tIns="45683" rIns="91365" bIns="45683" rtlCol="0" anchor="ctr"/>
          <a:lstStyle/>
          <a:p>
            <a:pPr marL="0" marR="0" lvl="0" indent="0" algn="ctr" defTabSz="457200" rtl="0" eaLnBrk="1" fontAlgn="auto" latinLnBrk="0" hangingPunct="1">
              <a:lnSpc>
                <a:spcPct val="100000"/>
              </a:lnSpc>
              <a:spcBef>
                <a:spcPts val="30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alibri"/>
                <a:ea typeface="+mn-ea"/>
                <a:cs typeface="+mn-cs"/>
              </a:rPr>
              <a:t>Enacted a law </a:t>
            </a:r>
            <a:r>
              <a:rPr kumimoji="0" lang="en-US" sz="1100" b="0" i="0" u="none" strike="noStrike" kern="1200" cap="none" spc="0" normalizeH="0" baseline="0" noProof="0" dirty="0">
                <a:ln>
                  <a:noFill/>
                </a:ln>
                <a:solidFill>
                  <a:prstClr val="black"/>
                </a:solidFill>
                <a:effectLst/>
                <a:uLnTx/>
                <a:uFillTx/>
                <a:latin typeface="Calibri"/>
                <a:ea typeface="+mn-ea"/>
                <a:cs typeface="+mn-cs"/>
              </a:rPr>
              <a:t>with provisions to study a state Medicaid buy-in or public option</a:t>
            </a:r>
          </a:p>
        </p:txBody>
      </p:sp>
      <p:sp>
        <p:nvSpPr>
          <p:cNvPr id="116" name="Rectangle 115"/>
          <p:cNvSpPr/>
          <p:nvPr/>
        </p:nvSpPr>
        <p:spPr>
          <a:xfrm>
            <a:off x="6534280" y="6146287"/>
            <a:ext cx="228600" cy="228600"/>
          </a:xfrm>
          <a:prstGeom prst="rect">
            <a:avLst/>
          </a:prstGeom>
          <a:solidFill>
            <a:schemeClr val="bg1">
              <a:lumMod val="75000"/>
            </a:schemeClr>
          </a:solidFill>
          <a:ln w="12700">
            <a:solidFill>
              <a:schemeClr val="tx1">
                <a:lumMod val="50000"/>
                <a:lumOff val="50000"/>
              </a:schemeClr>
            </a:solidFill>
          </a:ln>
        </p:spPr>
        <p:style>
          <a:lnRef idx="2">
            <a:schemeClr val="accent6"/>
          </a:lnRef>
          <a:fillRef idx="1">
            <a:schemeClr val="lt1"/>
          </a:fillRef>
          <a:effectRef idx="0">
            <a:schemeClr val="accent6"/>
          </a:effectRef>
          <a:fontRef idx="minor">
            <a:schemeClr val="dk1"/>
          </a:fontRef>
        </p:style>
        <p:txBody>
          <a:bodyPr lIns="91365" tIns="45683" rIns="91365" bIns="45683"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7" name="TextBox 116"/>
          <p:cNvSpPr txBox="1"/>
          <p:nvPr/>
        </p:nvSpPr>
        <p:spPr>
          <a:xfrm>
            <a:off x="6736483" y="6045151"/>
            <a:ext cx="2129927" cy="430887"/>
          </a:xfrm>
          <a:prstGeom prst="rect">
            <a:avLst/>
          </a:prstGeom>
          <a:noFill/>
        </p:spPr>
        <p:txBody>
          <a:bodyPr wrap="square" lIns="91365" tIns="45683" rIns="91365" bIns="45683"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ea typeface="+mn-ea"/>
                <a:cs typeface="+mn-cs"/>
              </a:rPr>
              <a:t>States with previous studies or commissions tasked with studies </a:t>
            </a:r>
          </a:p>
        </p:txBody>
      </p:sp>
      <p:sp>
        <p:nvSpPr>
          <p:cNvPr id="118" name="Label: Colorado"/>
          <p:cNvSpPr txBox="1">
            <a:spLocks noChangeArrowheads="1"/>
          </p:cNvSpPr>
          <p:nvPr/>
        </p:nvSpPr>
        <p:spPr bwMode="auto">
          <a:xfrm>
            <a:off x="6972076" y="3400947"/>
            <a:ext cx="717311" cy="184666"/>
          </a:xfrm>
          <a:prstGeom prst="rect">
            <a:avLst/>
          </a:prstGeom>
          <a:noFill/>
          <a:ln>
            <a:noFill/>
          </a:ln>
          <a:extLst/>
        </p:spPr>
        <p:txBody>
          <a:bodyPr wrap="none" lIns="0" tIns="0" rIns="0" bIns="0" anchor="ctr" anchorCtr="1">
            <a:spAutoFit/>
          </a:bodyPr>
          <a:lstStyle>
            <a:defPPr>
              <a:defRPr lang="en-US"/>
            </a:defPPr>
            <a:lvl1pPr algn="ctr" eaLnBrk="1" hangingPunct="1">
              <a:spcBef>
                <a:spcPct val="50000"/>
              </a:spcBef>
              <a:defRPr sz="1000" b="1">
                <a:solidFill>
                  <a:srgbClr val="000000"/>
                </a:solidFill>
                <a:latin typeface="Arial" panose="020B0604020202020204" pitchFamily="34" charset="0"/>
                <a:ea typeface="ＭＳ Ｐゴシック" pitchFamily="34" charset="-128"/>
                <a:cs typeface="Arial" panose="020B0604020202020204" pitchFamily="34" charset="0"/>
              </a:defRPr>
            </a:lvl1pPr>
            <a:lvl2pPr marL="742950" indent="-285750">
              <a:defRPr>
                <a:latin typeface="Arial" charset="0"/>
              </a:defRPr>
            </a:lvl2pPr>
            <a:lvl3pPr marL="1143000" indent="-228600">
              <a:defRPr>
                <a:latin typeface="Arial" charset="0"/>
              </a:defRPr>
            </a:lvl3pPr>
            <a:lvl4pPr marL="1600200" indent="-228600">
              <a:defRPr>
                <a:latin typeface="Arial" charset="0"/>
              </a:defRPr>
            </a:lvl4pPr>
            <a:lvl5pPr marL="2057400" indent="-22860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rPr>
              <a:t>New Jersey</a:t>
            </a:r>
          </a:p>
        </p:txBody>
      </p:sp>
      <p:sp>
        <p:nvSpPr>
          <p:cNvPr id="119" name="Line: Connecticut"/>
          <p:cNvSpPr>
            <a:spLocks noChangeShapeType="1"/>
          </p:cNvSpPr>
          <p:nvPr/>
        </p:nvSpPr>
        <p:spPr bwMode="auto">
          <a:xfrm>
            <a:off x="6922543" y="3165907"/>
            <a:ext cx="197643" cy="57819"/>
          </a:xfrm>
          <a:prstGeom prst="line">
            <a:avLst/>
          </a:prstGeom>
          <a:noFill/>
          <a:ln w="6350">
            <a:solidFill>
              <a:schemeClr val="tx1"/>
            </a:solidFill>
            <a:round/>
            <a:headEnd/>
            <a:tailEnd/>
          </a:ln>
          <a:extLst/>
        </p:spPr>
        <p:txBody>
          <a:bodyPr lIns="101882" tIns="50941" rIns="101882" bIns="50941"/>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endParaRPr>
          </a:p>
        </p:txBody>
      </p:sp>
      <p:sp>
        <p:nvSpPr>
          <p:cNvPr id="120" name="Rectangular Callout 119"/>
          <p:cNvSpPr/>
          <p:nvPr/>
        </p:nvSpPr>
        <p:spPr>
          <a:xfrm>
            <a:off x="6994050" y="3674498"/>
            <a:ext cx="1821560" cy="636816"/>
          </a:xfrm>
          <a:prstGeom prst="wedgeRectCallout">
            <a:avLst>
              <a:gd name="adj1" fmla="val -65941"/>
              <a:gd name="adj2" fmla="val -64108"/>
            </a:avLst>
          </a:prstGeom>
          <a:solidFill>
            <a:schemeClr val="bg1"/>
          </a:solidFill>
          <a:ln w="19050">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lIns="45683" tIns="45683" rIns="45683" bIns="45683"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alibri"/>
                <a:ea typeface="+mn-ea"/>
                <a:cs typeface="+mn-cs"/>
              </a:rPr>
              <a:t>Appropriated</a:t>
            </a:r>
            <a:r>
              <a:rPr kumimoji="0" lang="en-US" sz="1100" b="0" i="0" u="none" strike="noStrike" kern="1200" cap="none" spc="0" normalizeH="0" baseline="0" noProof="0" dirty="0">
                <a:ln>
                  <a:noFill/>
                </a:ln>
                <a:solidFill>
                  <a:prstClr val="black"/>
                </a:solidFill>
                <a:effectLst/>
                <a:uLnTx/>
                <a:uFillTx/>
                <a:latin typeface="Calibri"/>
                <a:ea typeface="+mn-ea"/>
                <a:cs typeface="+mn-cs"/>
              </a:rPr>
              <a:t> funds in the FY2020 budget to study a BHP and “Medicaid-like” option</a:t>
            </a:r>
            <a:endParaRPr kumimoji="0" lang="en-US" sz="1100" b="0" i="1"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502262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rketplace Transitions </a:t>
            </a:r>
          </a:p>
        </p:txBody>
      </p:sp>
      <p:sp>
        <p:nvSpPr>
          <p:cNvPr id="3" name="Content Placeholder 2"/>
          <p:cNvSpPr>
            <a:spLocks noGrp="1"/>
          </p:cNvSpPr>
          <p:nvPr>
            <p:ph idx="1"/>
          </p:nvPr>
        </p:nvSpPr>
        <p:spPr>
          <a:xfrm>
            <a:off x="370490" y="1684374"/>
            <a:ext cx="8503544" cy="4533546"/>
          </a:xfrm>
        </p:spPr>
        <p:txBody>
          <a:bodyPr>
            <a:normAutofit fontScale="92500" lnSpcReduction="10000"/>
          </a:bodyPr>
          <a:lstStyle/>
          <a:p>
            <a:r>
              <a:rPr lang="en-US" sz="3000" dirty="0"/>
              <a:t>State-based marketplaces (SBMs) continue to outperform the federally-facilitated marketplaces </a:t>
            </a:r>
          </a:p>
          <a:p>
            <a:r>
              <a:rPr lang="en-US" sz="3000" dirty="0"/>
              <a:t>Benefits of transitioning include greater autonomy over key marketplace functions such as: </a:t>
            </a:r>
          </a:p>
          <a:p>
            <a:pPr lvl="1"/>
            <a:r>
              <a:rPr lang="en-US" sz="3000" dirty="0"/>
              <a:t>Plan management;</a:t>
            </a:r>
          </a:p>
          <a:p>
            <a:pPr lvl="1"/>
            <a:r>
              <a:rPr lang="en-US" sz="3000" dirty="0"/>
              <a:t>Outreach and marketing; and </a:t>
            </a:r>
          </a:p>
          <a:p>
            <a:pPr lvl="1"/>
            <a:r>
              <a:rPr lang="en-US" sz="3000" dirty="0"/>
              <a:t>IT and operations. </a:t>
            </a:r>
          </a:p>
          <a:p>
            <a:pPr>
              <a:buFont typeface="Arial" panose="020B0604020202020204" pitchFamily="34" charset="0"/>
              <a:buChar char="•"/>
            </a:pPr>
            <a:r>
              <a:rPr lang="en-US" sz="3000" dirty="0"/>
              <a:t>States can receive detailed enrollment data on consumers and better tailor plans to meet consumer needs </a:t>
            </a:r>
          </a:p>
          <a:p>
            <a:pPr lvl="1"/>
            <a:endParaRPr lang="en-US" sz="3000" dirty="0"/>
          </a:p>
          <a:p>
            <a:pPr marL="457200" lvl="1" indent="0">
              <a:buNone/>
            </a:pPr>
            <a:endParaRPr lang="en-US" sz="3000" dirty="0"/>
          </a:p>
          <a:p>
            <a:endParaRPr lang="en-US" dirty="0"/>
          </a:p>
        </p:txBody>
      </p:sp>
    </p:spTree>
    <p:extLst>
      <p:ext uri="{BB962C8B-B14F-4D97-AF65-F5344CB8AC3E}">
        <p14:creationId xmlns:p14="http://schemas.microsoft.com/office/powerpoint/2010/main" val="7862510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5101" y="412591"/>
            <a:ext cx="8229600" cy="1143000"/>
          </a:xfrm>
        </p:spPr>
        <p:txBody>
          <a:bodyPr/>
          <a:lstStyle/>
          <a:p>
            <a:r>
              <a:rPr lang="en-US" dirty="0"/>
              <a:t>State-Based Marketplaces</a:t>
            </a:r>
          </a:p>
        </p:txBody>
      </p:sp>
      <p:grpSp>
        <p:nvGrpSpPr>
          <p:cNvPr id="4" name="Group 3"/>
          <p:cNvGrpSpPr/>
          <p:nvPr/>
        </p:nvGrpSpPr>
        <p:grpSpPr>
          <a:xfrm>
            <a:off x="1045987" y="5516415"/>
            <a:ext cx="7983316" cy="1034349"/>
            <a:chOff x="353370" y="5438403"/>
            <a:chExt cx="7983316" cy="1034349"/>
          </a:xfrm>
        </p:grpSpPr>
        <p:grpSp>
          <p:nvGrpSpPr>
            <p:cNvPr id="144" name="Group 143"/>
            <p:cNvGrpSpPr/>
            <p:nvPr/>
          </p:nvGrpSpPr>
          <p:grpSpPr>
            <a:xfrm>
              <a:off x="353370" y="5438403"/>
              <a:ext cx="7983316" cy="936015"/>
              <a:chOff x="2848217" y="5351308"/>
              <a:chExt cx="6561218" cy="761828"/>
            </a:xfrm>
          </p:grpSpPr>
          <p:sp>
            <p:nvSpPr>
              <p:cNvPr id="145" name="Rectangle 144"/>
              <p:cNvSpPr/>
              <p:nvPr/>
            </p:nvSpPr>
            <p:spPr>
              <a:xfrm>
                <a:off x="5752834" y="5976611"/>
                <a:ext cx="133350" cy="136525"/>
              </a:xfrm>
              <a:prstGeom prst="rect">
                <a:avLst/>
              </a:prstGeom>
              <a:solidFill>
                <a:srgbClr val="70AD47">
                  <a:lumMod val="40000"/>
                  <a:lumOff val="60000"/>
                </a:srgbClr>
              </a:solidFill>
              <a:ln w="6350" cap="flat" cmpd="sng" algn="ctr">
                <a:solidFill>
                  <a:sysClr val="windowText" lastClr="000000"/>
                </a:solidFill>
                <a:prstDash val="solid"/>
                <a:miter lim="8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F0AB00"/>
                  </a:solidFill>
                  <a:effectLst/>
                  <a:uLnTx/>
                  <a:uFillTx/>
                  <a:latin typeface="Calibri" panose="020F0502020204030204"/>
                  <a:ea typeface="+mn-ea"/>
                  <a:cs typeface="+mn-cs"/>
                </a:endParaRPr>
              </a:p>
            </p:txBody>
          </p:sp>
          <p:sp>
            <p:nvSpPr>
              <p:cNvPr id="147" name="Rectangle 146"/>
              <p:cNvSpPr/>
              <p:nvPr/>
            </p:nvSpPr>
            <p:spPr>
              <a:xfrm>
                <a:off x="5760861" y="5442536"/>
                <a:ext cx="133350" cy="136525"/>
              </a:xfrm>
              <a:prstGeom prst="rect">
                <a:avLst/>
              </a:prstGeom>
              <a:solidFill>
                <a:schemeClr val="accent4">
                  <a:lumMod val="40000"/>
                  <a:lumOff val="60000"/>
                </a:schemeClr>
              </a:solidFill>
              <a:ln w="6350" cap="flat" cmpd="sng" algn="ctr">
                <a:solidFill>
                  <a:sysClr val="windowText" lastClr="000000"/>
                </a:solidFill>
                <a:prstDash val="solid"/>
                <a:miter lim="8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F0AB00"/>
                  </a:solidFill>
                  <a:effectLst/>
                  <a:uLnTx/>
                  <a:uFillTx/>
                  <a:latin typeface="Calibri" panose="020F0502020204030204"/>
                  <a:ea typeface="+mn-ea"/>
                  <a:cs typeface="+mn-cs"/>
                </a:endParaRPr>
              </a:p>
            </p:txBody>
          </p:sp>
          <p:sp>
            <p:nvSpPr>
              <p:cNvPr id="148" name="Rectangle 3"/>
              <p:cNvSpPr>
                <a:spLocks noChangeArrowheads="1"/>
              </p:cNvSpPr>
              <p:nvPr/>
            </p:nvSpPr>
            <p:spPr bwMode="auto">
              <a:xfrm>
                <a:off x="5942266" y="5351308"/>
                <a:ext cx="3467169" cy="275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itchFamily="34" charset="0"/>
                  <a:buChar char="•"/>
                  <a:defRPr sz="3200">
                    <a:solidFill>
                      <a:schemeClr val="tx1"/>
                    </a:solidFill>
                    <a:latin typeface="Open Sans"/>
                    <a:ea typeface="Open Sans"/>
                    <a:cs typeface="Open Sans"/>
                  </a:defRPr>
                </a:lvl1pPr>
                <a:lvl2pPr marL="742950" indent="-285750" eaLnBrk="0" hangingPunct="0">
                  <a:spcBef>
                    <a:spcPct val="20000"/>
                  </a:spcBef>
                  <a:buFont typeface="Arial" pitchFamily="34" charset="0"/>
                  <a:buChar char="–"/>
                  <a:defRPr sz="2800">
                    <a:solidFill>
                      <a:schemeClr val="tx1"/>
                    </a:solidFill>
                    <a:latin typeface="Open Sans Semibold"/>
                    <a:ea typeface="Open Sans Semibold"/>
                    <a:cs typeface="Open Sans Semibold"/>
                  </a:defRPr>
                </a:lvl2pPr>
                <a:lvl3pPr marL="1143000" indent="-228600" eaLnBrk="0" hangingPunct="0">
                  <a:spcBef>
                    <a:spcPct val="20000"/>
                  </a:spcBef>
                  <a:buFont typeface="Arial" pitchFamily="34" charset="0"/>
                  <a:buChar char="•"/>
                  <a:defRPr sz="2400">
                    <a:solidFill>
                      <a:schemeClr val="tx1"/>
                    </a:solidFill>
                    <a:latin typeface="Open Sans Light"/>
                    <a:ea typeface="Open Sans Light"/>
                    <a:cs typeface="Open Sans Light"/>
                  </a:defRPr>
                </a:lvl3pPr>
                <a:lvl4pPr marL="1600200" indent="-228600" eaLnBrk="0" hangingPunct="0">
                  <a:spcBef>
                    <a:spcPct val="20000"/>
                  </a:spcBef>
                  <a:buFont typeface="Arial" pitchFamily="34" charset="0"/>
                  <a:buChar char="–"/>
                  <a:defRPr sz="2000">
                    <a:solidFill>
                      <a:schemeClr val="tx1"/>
                    </a:solidFill>
                    <a:latin typeface="Open Sans Light"/>
                    <a:ea typeface="Open Sans Light"/>
                    <a:cs typeface="Open Sans Light"/>
                  </a:defRPr>
                </a:lvl4pPr>
                <a:lvl5pPr marL="2057400" indent="-228600" eaLnBrk="0" hangingPunct="0">
                  <a:spcBef>
                    <a:spcPct val="20000"/>
                  </a:spcBef>
                  <a:buFont typeface="Arial" pitchFamily="34" charset="0"/>
                  <a:buChar char="»"/>
                  <a:defRPr sz="2000">
                    <a:solidFill>
                      <a:schemeClr val="tx1"/>
                    </a:solidFill>
                    <a:latin typeface="Open Sans Light"/>
                    <a:ea typeface="Open Sans Light"/>
                    <a:cs typeface="Open Sans Light"/>
                  </a:defRPr>
                </a:lvl5pPr>
                <a:lvl6pPr marL="2514600" indent="-228600"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6pPr>
                <a:lvl7pPr marL="2971800" indent="-228600"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7pPr>
                <a:lvl8pPr marL="3429000" indent="-228600"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8pPr>
                <a:lvl9pPr marL="3886200" indent="-228600"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9pPr>
              </a:lstStyle>
              <a:p>
                <a:pPr marL="0" marR="0" lvl="0" indent="0" algn="l" defTabSz="914400" rtl="0" eaLnBrk="1" fontAlgn="auto" latinLnBrk="0" hangingPunct="1">
                  <a:lnSpc>
                    <a:spcPct val="100000"/>
                  </a:lnSpc>
                  <a:spcBef>
                    <a:spcPts val="200"/>
                  </a:spcBef>
                  <a:spcAft>
                    <a:spcPts val="200"/>
                  </a:spcAft>
                  <a:buClrTx/>
                  <a:buSzTx/>
                  <a:buFont typeface="Arial" pitchFamily="34" charset="0"/>
                  <a:buNone/>
                  <a:tabLst/>
                  <a:defRPr/>
                </a:pPr>
                <a:r>
                  <a:rPr lang="en-US" altLang="en-US" sz="1600" kern="0" dirty="0">
                    <a:solidFill>
                      <a:prstClr val="black"/>
                    </a:solidFill>
                    <a:latin typeface="Calibri" pitchFamily="34" charset="0"/>
                    <a:cs typeface="Arial" pitchFamily="34" charset="0"/>
                  </a:rPr>
                  <a:t>Transitioned to a SBM Beginning Plan Year 2020 </a:t>
                </a:r>
              </a:p>
            </p:txBody>
          </p:sp>
          <p:grpSp>
            <p:nvGrpSpPr>
              <p:cNvPr id="149" name="Group 148"/>
              <p:cNvGrpSpPr/>
              <p:nvPr/>
            </p:nvGrpSpPr>
            <p:grpSpPr>
              <a:xfrm>
                <a:off x="2848217" y="5353216"/>
                <a:ext cx="2407503" cy="343565"/>
                <a:chOff x="4560574" y="5327560"/>
                <a:chExt cx="2407503" cy="343565"/>
              </a:xfrm>
            </p:grpSpPr>
            <p:sp>
              <p:nvSpPr>
                <p:cNvPr id="152" name="Rectangle 151"/>
                <p:cNvSpPr/>
                <p:nvPr/>
              </p:nvSpPr>
              <p:spPr>
                <a:xfrm>
                  <a:off x="4560574" y="5396677"/>
                  <a:ext cx="133350" cy="136525"/>
                </a:xfrm>
                <a:prstGeom prst="rect">
                  <a:avLst/>
                </a:prstGeom>
                <a:solidFill>
                  <a:srgbClr val="5B9BD5">
                    <a:lumMod val="40000"/>
                    <a:lumOff val="60000"/>
                  </a:srgbClr>
                </a:solidFill>
                <a:ln w="6350" cap="flat" cmpd="sng" algn="ctr">
                  <a:solidFill>
                    <a:sysClr val="windowText" lastClr="000000"/>
                  </a:solidFill>
                  <a:prstDash val="solid"/>
                  <a:miter lim="8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F0AB00"/>
                    </a:solidFill>
                    <a:effectLst/>
                    <a:uLnTx/>
                    <a:uFillTx/>
                    <a:latin typeface="Calibri" panose="020F0502020204030204"/>
                    <a:ea typeface="+mn-ea"/>
                    <a:cs typeface="+mn-cs"/>
                  </a:endParaRPr>
                </a:p>
              </p:txBody>
            </p:sp>
            <p:sp>
              <p:nvSpPr>
                <p:cNvPr id="153" name="Rectangle 3"/>
                <p:cNvSpPr>
                  <a:spLocks noChangeArrowheads="1"/>
                </p:cNvSpPr>
                <p:nvPr/>
              </p:nvSpPr>
              <p:spPr bwMode="auto">
                <a:xfrm>
                  <a:off x="4743844" y="5327560"/>
                  <a:ext cx="2224233" cy="343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Open Sans"/>
                      <a:ea typeface="Open Sans"/>
                      <a:cs typeface="Open Sans"/>
                    </a:defRPr>
                  </a:lvl1pPr>
                  <a:lvl2pPr marL="742950" indent="-285750" eaLnBrk="0" hangingPunct="0">
                    <a:spcBef>
                      <a:spcPct val="20000"/>
                    </a:spcBef>
                    <a:buFont typeface="Arial" pitchFamily="34" charset="0"/>
                    <a:buChar char="–"/>
                    <a:defRPr sz="2800">
                      <a:solidFill>
                        <a:schemeClr val="tx1"/>
                      </a:solidFill>
                      <a:latin typeface="Open Sans Semibold"/>
                      <a:ea typeface="Open Sans Semibold"/>
                      <a:cs typeface="Open Sans Semibold"/>
                    </a:defRPr>
                  </a:lvl2pPr>
                  <a:lvl3pPr marL="1143000" indent="-228600" eaLnBrk="0" hangingPunct="0">
                    <a:spcBef>
                      <a:spcPct val="20000"/>
                    </a:spcBef>
                    <a:buFont typeface="Arial" pitchFamily="34" charset="0"/>
                    <a:buChar char="•"/>
                    <a:defRPr sz="2400">
                      <a:solidFill>
                        <a:schemeClr val="tx1"/>
                      </a:solidFill>
                      <a:latin typeface="Open Sans Light"/>
                      <a:ea typeface="Open Sans Light"/>
                      <a:cs typeface="Open Sans Light"/>
                    </a:defRPr>
                  </a:lvl3pPr>
                  <a:lvl4pPr marL="1600200" indent="-228600" eaLnBrk="0" hangingPunct="0">
                    <a:spcBef>
                      <a:spcPct val="20000"/>
                    </a:spcBef>
                    <a:buFont typeface="Arial" pitchFamily="34" charset="0"/>
                    <a:buChar char="–"/>
                    <a:defRPr sz="2000">
                      <a:solidFill>
                        <a:schemeClr val="tx1"/>
                      </a:solidFill>
                      <a:latin typeface="Open Sans Light"/>
                      <a:ea typeface="Open Sans Light"/>
                      <a:cs typeface="Open Sans Light"/>
                    </a:defRPr>
                  </a:lvl4pPr>
                  <a:lvl5pPr marL="2057400" indent="-228600" eaLnBrk="0" hangingPunct="0">
                    <a:spcBef>
                      <a:spcPct val="20000"/>
                    </a:spcBef>
                    <a:buFont typeface="Arial" pitchFamily="34" charset="0"/>
                    <a:buChar char="»"/>
                    <a:defRPr sz="2000">
                      <a:solidFill>
                        <a:schemeClr val="tx1"/>
                      </a:solidFill>
                      <a:latin typeface="Open Sans Light"/>
                      <a:ea typeface="Open Sans Light"/>
                      <a:cs typeface="Open Sans Light"/>
                    </a:defRPr>
                  </a:lvl5pPr>
                  <a:lvl6pPr marL="2514600" indent="-228600"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6pPr>
                  <a:lvl7pPr marL="2971800" indent="-228600"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7pPr>
                  <a:lvl8pPr marL="3429000" indent="-228600"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8pPr>
                  <a:lvl9pPr marL="3886200" indent="-228600"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9pPr>
                </a:lstStyle>
                <a:p>
                  <a:pPr marL="0" marR="0" lvl="0" indent="0" algn="l" defTabSz="914400" rtl="0" eaLnBrk="1" fontAlgn="auto" latinLnBrk="0" hangingPunct="1">
                    <a:lnSpc>
                      <a:spcPct val="100000"/>
                    </a:lnSpc>
                    <a:spcBef>
                      <a:spcPts val="200"/>
                    </a:spcBef>
                    <a:spcAft>
                      <a:spcPts val="200"/>
                    </a:spcAft>
                    <a:buClrTx/>
                    <a:buSzTx/>
                    <a:buFont typeface="Arial" pitchFamily="34" charset="0"/>
                    <a:buNone/>
                    <a:tabLst/>
                    <a:defRPr/>
                  </a:pPr>
                  <a:r>
                    <a:rPr kumimoji="0" lang="en-US" altLang="en-US" sz="1600" b="0" i="0" u="none" strike="noStrike" kern="0" cap="none" spc="0" normalizeH="0" baseline="0" noProof="0" dirty="0">
                      <a:ln>
                        <a:noFill/>
                      </a:ln>
                      <a:solidFill>
                        <a:prstClr val="black"/>
                      </a:solidFill>
                      <a:effectLst/>
                      <a:uLnTx/>
                      <a:uFillTx/>
                      <a:latin typeface="Calibri" pitchFamily="34" charset="0"/>
                      <a:cs typeface="Arial" pitchFamily="34" charset="0"/>
                    </a:rPr>
                    <a:t>State-Based Marketplaces</a:t>
                  </a:r>
                  <a:r>
                    <a:rPr kumimoji="0" lang="en-US" altLang="en-US" sz="1600" b="0" i="0" u="none" strike="noStrike" kern="0" cap="none" spc="0" normalizeH="0" noProof="0" dirty="0">
                      <a:ln>
                        <a:noFill/>
                      </a:ln>
                      <a:solidFill>
                        <a:prstClr val="black"/>
                      </a:solidFill>
                      <a:effectLst/>
                      <a:uLnTx/>
                      <a:uFillTx/>
                      <a:latin typeface="Calibri" pitchFamily="34" charset="0"/>
                      <a:cs typeface="Arial" pitchFamily="34" charset="0"/>
                    </a:rPr>
                    <a:t> </a:t>
                  </a:r>
                  <a:endParaRPr kumimoji="0" lang="en-US" altLang="en-US" sz="1600" b="0" i="0" u="none" strike="noStrike" kern="0" cap="none" spc="0" normalizeH="0" baseline="0" noProof="0" dirty="0">
                    <a:ln>
                      <a:noFill/>
                    </a:ln>
                    <a:solidFill>
                      <a:prstClr val="black"/>
                    </a:solidFill>
                    <a:effectLst/>
                    <a:uLnTx/>
                    <a:uFillTx/>
                    <a:latin typeface="Calibri" pitchFamily="34" charset="0"/>
                    <a:cs typeface="Arial" pitchFamily="34" charset="0"/>
                  </a:endParaRPr>
                </a:p>
              </p:txBody>
            </p:sp>
          </p:grpSp>
          <p:sp>
            <p:nvSpPr>
              <p:cNvPr id="150" name="Rectangle 149"/>
              <p:cNvSpPr/>
              <p:nvPr/>
            </p:nvSpPr>
            <p:spPr>
              <a:xfrm>
                <a:off x="5758639" y="5714782"/>
                <a:ext cx="133350" cy="136525"/>
              </a:xfrm>
              <a:prstGeom prst="rect">
                <a:avLst/>
              </a:prstGeom>
              <a:solidFill>
                <a:srgbClr val="ED7D31">
                  <a:lumMod val="40000"/>
                  <a:lumOff val="60000"/>
                </a:srgbClr>
              </a:solidFill>
              <a:ln w="6350" cap="flat" cmpd="sng" algn="ctr">
                <a:solidFill>
                  <a:sysClr val="windowText" lastClr="000000"/>
                </a:solidFill>
                <a:prstDash val="solid"/>
                <a:miter lim="8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F0AB00"/>
                  </a:solidFill>
                  <a:effectLst/>
                  <a:uLnTx/>
                  <a:uFillTx/>
                  <a:latin typeface="Calibri" panose="020F0502020204030204"/>
                  <a:ea typeface="+mn-ea"/>
                  <a:cs typeface="+mn-cs"/>
                </a:endParaRPr>
              </a:p>
            </p:txBody>
          </p:sp>
          <p:sp>
            <p:nvSpPr>
              <p:cNvPr id="151" name="Rectangle 3"/>
              <p:cNvSpPr>
                <a:spLocks noChangeArrowheads="1"/>
              </p:cNvSpPr>
              <p:nvPr/>
            </p:nvSpPr>
            <p:spPr bwMode="auto">
              <a:xfrm>
                <a:off x="5959502" y="5627921"/>
                <a:ext cx="3247788" cy="275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Open Sans"/>
                    <a:ea typeface="Open Sans"/>
                    <a:cs typeface="Open Sans"/>
                  </a:defRPr>
                </a:lvl1pPr>
                <a:lvl2pPr marL="742950" indent="-285750" eaLnBrk="0" hangingPunct="0">
                  <a:spcBef>
                    <a:spcPct val="20000"/>
                  </a:spcBef>
                  <a:buFont typeface="Arial" pitchFamily="34" charset="0"/>
                  <a:buChar char="–"/>
                  <a:defRPr sz="2800">
                    <a:solidFill>
                      <a:schemeClr val="tx1"/>
                    </a:solidFill>
                    <a:latin typeface="Open Sans Semibold"/>
                    <a:ea typeface="Open Sans Semibold"/>
                    <a:cs typeface="Open Sans Semibold"/>
                  </a:defRPr>
                </a:lvl2pPr>
                <a:lvl3pPr marL="1143000" indent="-228600" eaLnBrk="0" hangingPunct="0">
                  <a:spcBef>
                    <a:spcPct val="20000"/>
                  </a:spcBef>
                  <a:buFont typeface="Arial" pitchFamily="34" charset="0"/>
                  <a:buChar char="•"/>
                  <a:defRPr sz="2400">
                    <a:solidFill>
                      <a:schemeClr val="tx1"/>
                    </a:solidFill>
                    <a:latin typeface="Open Sans Light"/>
                    <a:ea typeface="Open Sans Light"/>
                    <a:cs typeface="Open Sans Light"/>
                  </a:defRPr>
                </a:lvl3pPr>
                <a:lvl4pPr marL="1600200" indent="-228600" eaLnBrk="0" hangingPunct="0">
                  <a:spcBef>
                    <a:spcPct val="20000"/>
                  </a:spcBef>
                  <a:buFont typeface="Arial" pitchFamily="34" charset="0"/>
                  <a:buChar char="–"/>
                  <a:defRPr sz="2000">
                    <a:solidFill>
                      <a:schemeClr val="tx1"/>
                    </a:solidFill>
                    <a:latin typeface="Open Sans Light"/>
                    <a:ea typeface="Open Sans Light"/>
                    <a:cs typeface="Open Sans Light"/>
                  </a:defRPr>
                </a:lvl4pPr>
                <a:lvl5pPr marL="2057400" indent="-228600" eaLnBrk="0" hangingPunct="0">
                  <a:spcBef>
                    <a:spcPct val="20000"/>
                  </a:spcBef>
                  <a:buFont typeface="Arial" pitchFamily="34" charset="0"/>
                  <a:buChar char="»"/>
                  <a:defRPr sz="2000">
                    <a:solidFill>
                      <a:schemeClr val="tx1"/>
                    </a:solidFill>
                    <a:latin typeface="Open Sans Light"/>
                    <a:ea typeface="Open Sans Light"/>
                    <a:cs typeface="Open Sans Light"/>
                  </a:defRPr>
                </a:lvl5pPr>
                <a:lvl6pPr marL="2514600" indent="-228600"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6pPr>
                <a:lvl7pPr marL="2971800" indent="-228600"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7pPr>
                <a:lvl8pPr marL="3429000" indent="-228600"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8pPr>
                <a:lvl9pPr marL="3886200" indent="-228600"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9pPr>
              </a:lstStyle>
              <a:p>
                <a:pPr marL="0" marR="0" lvl="0" indent="0" algn="l" defTabSz="914400" rtl="0" eaLnBrk="1" fontAlgn="auto" latinLnBrk="0" hangingPunct="1">
                  <a:lnSpc>
                    <a:spcPct val="100000"/>
                  </a:lnSpc>
                  <a:spcBef>
                    <a:spcPts val="200"/>
                  </a:spcBef>
                  <a:spcAft>
                    <a:spcPts val="200"/>
                  </a:spcAft>
                  <a:buClrTx/>
                  <a:buSzTx/>
                  <a:buFont typeface="Arial" pitchFamily="34" charset="0"/>
                  <a:buNone/>
                  <a:tabLst/>
                  <a:defRPr/>
                </a:pPr>
                <a:r>
                  <a:rPr kumimoji="0" lang="en-US" altLang="en-US" sz="1600" b="0" i="0" u="none" strike="noStrike" kern="0" cap="none" spc="0" normalizeH="0" baseline="0" noProof="0" dirty="0">
                    <a:ln>
                      <a:noFill/>
                    </a:ln>
                    <a:solidFill>
                      <a:prstClr val="black"/>
                    </a:solidFill>
                    <a:effectLst/>
                    <a:uLnTx/>
                    <a:uFillTx/>
                    <a:latin typeface="Calibri" pitchFamily="34" charset="0"/>
                    <a:cs typeface="Arial" pitchFamily="34" charset="0"/>
                  </a:rPr>
                  <a:t>I</a:t>
                </a:r>
                <a:r>
                  <a:rPr kumimoji="0" lang="en-US" altLang="en-US" sz="1600" b="0" i="0" u="none" strike="noStrike" kern="0" cap="none" spc="0" normalizeH="0" noProof="0" dirty="0">
                    <a:ln>
                      <a:noFill/>
                    </a:ln>
                    <a:solidFill>
                      <a:prstClr val="black"/>
                    </a:solidFill>
                    <a:effectLst/>
                    <a:uLnTx/>
                    <a:uFillTx/>
                    <a:latin typeface="Calibri" pitchFamily="34" charset="0"/>
                    <a:cs typeface="Arial" pitchFamily="34" charset="0"/>
                  </a:rPr>
                  <a:t>n Process of Transitioning for Plan Year 2021</a:t>
                </a:r>
                <a:endParaRPr kumimoji="0" lang="en-US" altLang="en-US" sz="1600" b="0" i="0" u="none" strike="noStrike" kern="0" cap="none" spc="0" normalizeH="0" baseline="0" noProof="0" dirty="0">
                  <a:ln>
                    <a:noFill/>
                  </a:ln>
                  <a:solidFill>
                    <a:prstClr val="black"/>
                  </a:solidFill>
                  <a:effectLst/>
                  <a:uLnTx/>
                  <a:uFillTx/>
                  <a:latin typeface="Calibri" pitchFamily="34" charset="0"/>
                  <a:cs typeface="Arial" pitchFamily="34" charset="0"/>
                </a:endParaRPr>
              </a:p>
            </p:txBody>
          </p:sp>
        </p:grpSp>
        <p:sp>
          <p:nvSpPr>
            <p:cNvPr id="17" name="Rectangle 3"/>
            <p:cNvSpPr>
              <a:spLocks noChangeArrowheads="1"/>
            </p:cNvSpPr>
            <p:nvPr/>
          </p:nvSpPr>
          <p:spPr bwMode="auto">
            <a:xfrm>
              <a:off x="4116582" y="6134198"/>
              <a:ext cx="405752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Open Sans"/>
                  <a:ea typeface="Open Sans"/>
                  <a:cs typeface="Open Sans"/>
                </a:defRPr>
              </a:lvl1pPr>
              <a:lvl2pPr marL="742950" indent="-285750" eaLnBrk="0" hangingPunct="0">
                <a:spcBef>
                  <a:spcPct val="20000"/>
                </a:spcBef>
                <a:buFont typeface="Arial" pitchFamily="34" charset="0"/>
                <a:buChar char="–"/>
                <a:defRPr sz="2800">
                  <a:solidFill>
                    <a:schemeClr val="tx1"/>
                  </a:solidFill>
                  <a:latin typeface="Open Sans Semibold"/>
                  <a:ea typeface="Open Sans Semibold"/>
                  <a:cs typeface="Open Sans Semibold"/>
                </a:defRPr>
              </a:lvl2pPr>
              <a:lvl3pPr marL="1143000" indent="-228600" eaLnBrk="0" hangingPunct="0">
                <a:spcBef>
                  <a:spcPct val="20000"/>
                </a:spcBef>
                <a:buFont typeface="Arial" pitchFamily="34" charset="0"/>
                <a:buChar char="•"/>
                <a:defRPr sz="2400">
                  <a:solidFill>
                    <a:schemeClr val="tx1"/>
                  </a:solidFill>
                  <a:latin typeface="Open Sans Light"/>
                  <a:ea typeface="Open Sans Light"/>
                  <a:cs typeface="Open Sans Light"/>
                </a:defRPr>
              </a:lvl3pPr>
              <a:lvl4pPr marL="1600200" indent="-228600" eaLnBrk="0" hangingPunct="0">
                <a:spcBef>
                  <a:spcPct val="20000"/>
                </a:spcBef>
                <a:buFont typeface="Arial" pitchFamily="34" charset="0"/>
                <a:buChar char="–"/>
                <a:defRPr sz="2000">
                  <a:solidFill>
                    <a:schemeClr val="tx1"/>
                  </a:solidFill>
                  <a:latin typeface="Open Sans Light"/>
                  <a:ea typeface="Open Sans Light"/>
                  <a:cs typeface="Open Sans Light"/>
                </a:defRPr>
              </a:lvl4pPr>
              <a:lvl5pPr marL="2057400" indent="-228600" eaLnBrk="0" hangingPunct="0">
                <a:spcBef>
                  <a:spcPct val="20000"/>
                </a:spcBef>
                <a:buFont typeface="Arial" pitchFamily="34" charset="0"/>
                <a:buChar char="»"/>
                <a:defRPr sz="2000">
                  <a:solidFill>
                    <a:schemeClr val="tx1"/>
                  </a:solidFill>
                  <a:latin typeface="Open Sans Light"/>
                  <a:ea typeface="Open Sans Light"/>
                  <a:cs typeface="Open Sans Light"/>
                </a:defRPr>
              </a:lvl5pPr>
              <a:lvl6pPr marL="2514600" indent="-228600"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6pPr>
              <a:lvl7pPr marL="2971800" indent="-228600"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7pPr>
              <a:lvl8pPr marL="3429000" indent="-228600"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8pPr>
              <a:lvl9pPr marL="3886200" indent="-228600"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9pPr>
            </a:lstStyle>
            <a:p>
              <a:pPr marL="0" marR="0" lvl="0" indent="0" algn="l" defTabSz="914400" rtl="0" eaLnBrk="1" fontAlgn="auto" latinLnBrk="0" hangingPunct="1">
                <a:lnSpc>
                  <a:spcPct val="100000"/>
                </a:lnSpc>
                <a:spcBef>
                  <a:spcPts val="200"/>
                </a:spcBef>
                <a:spcAft>
                  <a:spcPts val="200"/>
                </a:spcAft>
                <a:buClrTx/>
                <a:buSzTx/>
                <a:buFont typeface="Arial" pitchFamily="34" charset="0"/>
                <a:buNone/>
                <a:tabLst/>
                <a:defRPr/>
              </a:pPr>
              <a:r>
                <a:rPr lang="en-US" altLang="en-US" sz="1600" kern="0" dirty="0">
                  <a:solidFill>
                    <a:prstClr val="black"/>
                  </a:solidFill>
                  <a:latin typeface="Calibri" pitchFamily="34" charset="0"/>
                  <a:cs typeface="Arial" pitchFamily="34" charset="0"/>
                </a:rPr>
                <a:t>Considering Transitioning After Plan Year 2021</a:t>
              </a:r>
              <a:endParaRPr kumimoji="0" lang="en-US" altLang="en-US" sz="1600" b="0" i="0" u="none" strike="noStrike" kern="0" cap="none" spc="0" normalizeH="0" baseline="0" noProof="0" dirty="0">
                <a:ln>
                  <a:noFill/>
                </a:ln>
                <a:solidFill>
                  <a:prstClr val="black"/>
                </a:solidFill>
                <a:effectLst/>
                <a:uLnTx/>
                <a:uFillTx/>
                <a:latin typeface="Calibri" pitchFamily="34" charset="0"/>
                <a:cs typeface="Arial" pitchFamily="34" charset="0"/>
              </a:endParaRPr>
            </a:p>
          </p:txBody>
        </p:sp>
      </p:grpSp>
      <p:grpSp>
        <p:nvGrpSpPr>
          <p:cNvPr id="18" name="Group 150"/>
          <p:cNvGrpSpPr>
            <a:grpSpLocks/>
          </p:cNvGrpSpPr>
          <p:nvPr/>
        </p:nvGrpSpPr>
        <p:grpSpPr bwMode="auto">
          <a:xfrm>
            <a:off x="1124464" y="1430875"/>
            <a:ext cx="6473818" cy="3898684"/>
            <a:chOff x="854440" y="1588437"/>
            <a:chExt cx="4876600" cy="2906960"/>
          </a:xfrm>
          <a:solidFill>
            <a:schemeClr val="bg1">
              <a:lumMod val="95000"/>
            </a:schemeClr>
          </a:solidFill>
        </p:grpSpPr>
        <p:grpSp>
          <p:nvGrpSpPr>
            <p:cNvPr id="19" name="Group 197"/>
            <p:cNvGrpSpPr/>
            <p:nvPr/>
          </p:nvGrpSpPr>
          <p:grpSpPr bwMode="gray">
            <a:xfrm>
              <a:off x="854440" y="1588437"/>
              <a:ext cx="4616570" cy="2906960"/>
              <a:chOff x="570714" y="1144588"/>
              <a:chExt cx="5049810" cy="3179762"/>
            </a:xfrm>
            <a:grpFill/>
          </p:grpSpPr>
          <p:sp>
            <p:nvSpPr>
              <p:cNvPr id="76" name="Freeform 20"/>
              <p:cNvSpPr>
                <a:spLocks/>
              </p:cNvSpPr>
              <p:nvPr/>
            </p:nvSpPr>
            <p:spPr bwMode="gray">
              <a:xfrm>
                <a:off x="3917114" y="3120855"/>
                <a:ext cx="367383" cy="599311"/>
              </a:xfrm>
              <a:custGeom>
                <a:avLst/>
                <a:gdLst>
                  <a:gd name="T0" fmla="*/ 0 w 755"/>
                  <a:gd name="T1" fmla="*/ 43 h 1230"/>
                  <a:gd name="T2" fmla="*/ 19 w 755"/>
                  <a:gd name="T3" fmla="*/ 66 h 1230"/>
                  <a:gd name="T4" fmla="*/ 0 w 755"/>
                  <a:gd name="T5" fmla="*/ 826 h 1230"/>
                  <a:gd name="T6" fmla="*/ 46 w 755"/>
                  <a:gd name="T7" fmla="*/ 1193 h 1230"/>
                  <a:gd name="T8" fmla="*/ 101 w 755"/>
                  <a:gd name="T9" fmla="*/ 1206 h 1230"/>
                  <a:gd name="T10" fmla="*/ 122 w 755"/>
                  <a:gd name="T11" fmla="*/ 1090 h 1230"/>
                  <a:gd name="T12" fmla="*/ 142 w 755"/>
                  <a:gd name="T13" fmla="*/ 1121 h 1230"/>
                  <a:gd name="T14" fmla="*/ 146 w 755"/>
                  <a:gd name="T15" fmla="*/ 1177 h 1230"/>
                  <a:gd name="T16" fmla="*/ 174 w 755"/>
                  <a:gd name="T17" fmla="*/ 1205 h 1230"/>
                  <a:gd name="T18" fmla="*/ 132 w 755"/>
                  <a:gd name="T19" fmla="*/ 1230 h 1230"/>
                  <a:gd name="T20" fmla="*/ 238 w 755"/>
                  <a:gd name="T21" fmla="*/ 1202 h 1230"/>
                  <a:gd name="T22" fmla="*/ 260 w 755"/>
                  <a:gd name="T23" fmla="*/ 1167 h 1230"/>
                  <a:gd name="T24" fmla="*/ 243 w 755"/>
                  <a:gd name="T25" fmla="*/ 1148 h 1230"/>
                  <a:gd name="T26" fmla="*/ 252 w 755"/>
                  <a:gd name="T27" fmla="*/ 1119 h 1230"/>
                  <a:gd name="T28" fmla="*/ 200 w 755"/>
                  <a:gd name="T29" fmla="*/ 1069 h 1230"/>
                  <a:gd name="T30" fmla="*/ 204 w 755"/>
                  <a:gd name="T31" fmla="*/ 1030 h 1230"/>
                  <a:gd name="T32" fmla="*/ 755 w 755"/>
                  <a:gd name="T33" fmla="*/ 980 h 1230"/>
                  <a:gd name="T34" fmla="*/ 708 w 755"/>
                  <a:gd name="T35" fmla="*/ 785 h 1230"/>
                  <a:gd name="T36" fmla="*/ 716 w 755"/>
                  <a:gd name="T37" fmla="*/ 716 h 1230"/>
                  <a:gd name="T38" fmla="*/ 739 w 755"/>
                  <a:gd name="T39" fmla="*/ 670 h 1230"/>
                  <a:gd name="T40" fmla="*/ 720 w 755"/>
                  <a:gd name="T41" fmla="*/ 606 h 1230"/>
                  <a:gd name="T42" fmla="*/ 667 w 755"/>
                  <a:gd name="T43" fmla="*/ 518 h 1230"/>
                  <a:gd name="T44" fmla="*/ 525 w 755"/>
                  <a:gd name="T45" fmla="*/ 0 h 1230"/>
                  <a:gd name="T46" fmla="*/ 0 w 755"/>
                  <a:gd name="T47" fmla="*/ 43 h 123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55"/>
                  <a:gd name="T73" fmla="*/ 0 h 1230"/>
                  <a:gd name="T74" fmla="*/ 755 w 755"/>
                  <a:gd name="T75" fmla="*/ 1230 h 123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55" h="1230">
                    <a:moveTo>
                      <a:pt x="0" y="43"/>
                    </a:moveTo>
                    <a:lnTo>
                      <a:pt x="19" y="66"/>
                    </a:lnTo>
                    <a:lnTo>
                      <a:pt x="0" y="826"/>
                    </a:lnTo>
                    <a:lnTo>
                      <a:pt x="46" y="1193"/>
                    </a:lnTo>
                    <a:lnTo>
                      <a:pt x="101" y="1206"/>
                    </a:lnTo>
                    <a:lnTo>
                      <a:pt x="122" y="1090"/>
                    </a:lnTo>
                    <a:lnTo>
                      <a:pt x="142" y="1121"/>
                    </a:lnTo>
                    <a:lnTo>
                      <a:pt x="146" y="1177"/>
                    </a:lnTo>
                    <a:lnTo>
                      <a:pt x="174" y="1205"/>
                    </a:lnTo>
                    <a:lnTo>
                      <a:pt x="132" y="1230"/>
                    </a:lnTo>
                    <a:lnTo>
                      <a:pt x="238" y="1202"/>
                    </a:lnTo>
                    <a:lnTo>
                      <a:pt x="260" y="1167"/>
                    </a:lnTo>
                    <a:lnTo>
                      <a:pt x="243" y="1148"/>
                    </a:lnTo>
                    <a:lnTo>
                      <a:pt x="252" y="1119"/>
                    </a:lnTo>
                    <a:lnTo>
                      <a:pt x="200" y="1069"/>
                    </a:lnTo>
                    <a:lnTo>
                      <a:pt x="204" y="1030"/>
                    </a:lnTo>
                    <a:lnTo>
                      <a:pt x="755" y="980"/>
                    </a:lnTo>
                    <a:lnTo>
                      <a:pt x="708" y="785"/>
                    </a:lnTo>
                    <a:lnTo>
                      <a:pt x="716" y="716"/>
                    </a:lnTo>
                    <a:lnTo>
                      <a:pt x="739" y="670"/>
                    </a:lnTo>
                    <a:lnTo>
                      <a:pt x="720" y="606"/>
                    </a:lnTo>
                    <a:lnTo>
                      <a:pt x="667" y="518"/>
                    </a:lnTo>
                    <a:lnTo>
                      <a:pt x="525" y="0"/>
                    </a:lnTo>
                    <a:lnTo>
                      <a:pt x="0" y="43"/>
                    </a:lnTo>
                    <a:close/>
                  </a:path>
                </a:pathLst>
              </a:custGeom>
              <a:grpFill/>
              <a:ln w="9525">
                <a:solidFill>
                  <a:schemeClr val="tx1"/>
                </a:solidFill>
                <a:round/>
                <a:headEnd/>
                <a:tailEnd/>
              </a:ln>
            </p:spPr>
            <p:txBody>
              <a:bodyPr/>
              <a:lstStyle/>
              <a:p>
                <a:pPr>
                  <a:defRPr/>
                </a:pPr>
                <a:endParaRPr lang="en-US" sz="1100" dirty="0">
                  <a:latin typeface="+mj-lt"/>
                </a:endParaRPr>
              </a:p>
            </p:txBody>
          </p:sp>
          <p:grpSp>
            <p:nvGrpSpPr>
              <p:cNvPr id="77" name="Group 110"/>
              <p:cNvGrpSpPr/>
              <p:nvPr/>
            </p:nvGrpSpPr>
            <p:grpSpPr bwMode="gray">
              <a:xfrm>
                <a:off x="753918" y="3464848"/>
                <a:ext cx="1112868" cy="802008"/>
                <a:chOff x="753918" y="3464848"/>
                <a:chExt cx="1112868" cy="802008"/>
              </a:xfrm>
              <a:grpFill/>
            </p:grpSpPr>
            <p:sp>
              <p:nvSpPr>
                <p:cNvPr id="163" name="Freeform 21"/>
                <p:cNvSpPr>
                  <a:spLocks/>
                </p:cNvSpPr>
                <p:nvPr/>
              </p:nvSpPr>
              <p:spPr bwMode="gray">
                <a:xfrm>
                  <a:off x="753918" y="4243468"/>
                  <a:ext cx="47750" cy="23388"/>
                </a:xfrm>
                <a:custGeom>
                  <a:avLst/>
                  <a:gdLst>
                    <a:gd name="T0" fmla="*/ 0 w 98"/>
                    <a:gd name="T1" fmla="*/ 48 h 48"/>
                    <a:gd name="T2" fmla="*/ 25 w 98"/>
                    <a:gd name="T3" fmla="*/ 22 h 48"/>
                    <a:gd name="T4" fmla="*/ 92 w 98"/>
                    <a:gd name="T5" fmla="*/ 0 h 48"/>
                    <a:gd name="T6" fmla="*/ 98 w 98"/>
                    <a:gd name="T7" fmla="*/ 9 h 48"/>
                    <a:gd name="T8" fmla="*/ 0 w 98"/>
                    <a:gd name="T9" fmla="*/ 48 h 48"/>
                    <a:gd name="T10" fmla="*/ 0 60000 65536"/>
                    <a:gd name="T11" fmla="*/ 0 60000 65536"/>
                    <a:gd name="T12" fmla="*/ 0 60000 65536"/>
                    <a:gd name="T13" fmla="*/ 0 60000 65536"/>
                    <a:gd name="T14" fmla="*/ 0 60000 65536"/>
                    <a:gd name="T15" fmla="*/ 0 w 98"/>
                    <a:gd name="T16" fmla="*/ 0 h 48"/>
                    <a:gd name="T17" fmla="*/ 98 w 98"/>
                    <a:gd name="T18" fmla="*/ 48 h 48"/>
                  </a:gdLst>
                  <a:ahLst/>
                  <a:cxnLst>
                    <a:cxn ang="T10">
                      <a:pos x="T0" y="T1"/>
                    </a:cxn>
                    <a:cxn ang="T11">
                      <a:pos x="T2" y="T3"/>
                    </a:cxn>
                    <a:cxn ang="T12">
                      <a:pos x="T4" y="T5"/>
                    </a:cxn>
                    <a:cxn ang="T13">
                      <a:pos x="T6" y="T7"/>
                    </a:cxn>
                    <a:cxn ang="T14">
                      <a:pos x="T8" y="T9"/>
                    </a:cxn>
                  </a:cxnLst>
                  <a:rect l="T15" t="T16" r="T17" b="T18"/>
                  <a:pathLst>
                    <a:path w="98" h="48">
                      <a:moveTo>
                        <a:pt x="0" y="48"/>
                      </a:moveTo>
                      <a:lnTo>
                        <a:pt x="25" y="22"/>
                      </a:lnTo>
                      <a:lnTo>
                        <a:pt x="92" y="0"/>
                      </a:lnTo>
                      <a:lnTo>
                        <a:pt x="98" y="9"/>
                      </a:lnTo>
                      <a:lnTo>
                        <a:pt x="0" y="48"/>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64" name="Freeform 22"/>
                <p:cNvSpPr>
                  <a:spLocks/>
                </p:cNvSpPr>
                <p:nvPr/>
              </p:nvSpPr>
              <p:spPr bwMode="gray">
                <a:xfrm>
                  <a:off x="823106" y="4232748"/>
                  <a:ext cx="28261" cy="19490"/>
                </a:xfrm>
                <a:custGeom>
                  <a:avLst/>
                  <a:gdLst>
                    <a:gd name="T0" fmla="*/ 0 w 59"/>
                    <a:gd name="T1" fmla="*/ 39 h 39"/>
                    <a:gd name="T2" fmla="*/ 13 w 59"/>
                    <a:gd name="T3" fmla="*/ 0 h 39"/>
                    <a:gd name="T4" fmla="*/ 59 w 59"/>
                    <a:gd name="T5" fmla="*/ 7 h 39"/>
                    <a:gd name="T6" fmla="*/ 52 w 59"/>
                    <a:gd name="T7" fmla="*/ 31 h 39"/>
                    <a:gd name="T8" fmla="*/ 0 w 59"/>
                    <a:gd name="T9" fmla="*/ 39 h 39"/>
                    <a:gd name="T10" fmla="*/ 0 60000 65536"/>
                    <a:gd name="T11" fmla="*/ 0 60000 65536"/>
                    <a:gd name="T12" fmla="*/ 0 60000 65536"/>
                    <a:gd name="T13" fmla="*/ 0 60000 65536"/>
                    <a:gd name="T14" fmla="*/ 0 60000 65536"/>
                    <a:gd name="T15" fmla="*/ 0 w 59"/>
                    <a:gd name="T16" fmla="*/ 0 h 39"/>
                    <a:gd name="T17" fmla="*/ 59 w 59"/>
                    <a:gd name="T18" fmla="*/ 39 h 39"/>
                  </a:gdLst>
                  <a:ahLst/>
                  <a:cxnLst>
                    <a:cxn ang="T10">
                      <a:pos x="T0" y="T1"/>
                    </a:cxn>
                    <a:cxn ang="T11">
                      <a:pos x="T2" y="T3"/>
                    </a:cxn>
                    <a:cxn ang="T12">
                      <a:pos x="T4" y="T5"/>
                    </a:cxn>
                    <a:cxn ang="T13">
                      <a:pos x="T6" y="T7"/>
                    </a:cxn>
                    <a:cxn ang="T14">
                      <a:pos x="T8" y="T9"/>
                    </a:cxn>
                  </a:cxnLst>
                  <a:rect l="T15" t="T16" r="T17" b="T18"/>
                  <a:pathLst>
                    <a:path w="59" h="39">
                      <a:moveTo>
                        <a:pt x="0" y="39"/>
                      </a:moveTo>
                      <a:lnTo>
                        <a:pt x="13" y="0"/>
                      </a:lnTo>
                      <a:lnTo>
                        <a:pt x="59" y="7"/>
                      </a:lnTo>
                      <a:lnTo>
                        <a:pt x="52" y="31"/>
                      </a:lnTo>
                      <a:lnTo>
                        <a:pt x="0" y="39"/>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65" name="Freeform 23"/>
                <p:cNvSpPr>
                  <a:spLocks/>
                </p:cNvSpPr>
                <p:nvPr/>
              </p:nvSpPr>
              <p:spPr bwMode="gray">
                <a:xfrm>
                  <a:off x="885474" y="4210335"/>
                  <a:ext cx="51648" cy="21439"/>
                </a:xfrm>
                <a:custGeom>
                  <a:avLst/>
                  <a:gdLst>
                    <a:gd name="T0" fmla="*/ 0 w 107"/>
                    <a:gd name="T1" fmla="*/ 44 h 44"/>
                    <a:gd name="T2" fmla="*/ 25 w 107"/>
                    <a:gd name="T3" fmla="*/ 0 h 44"/>
                    <a:gd name="T4" fmla="*/ 90 w 107"/>
                    <a:gd name="T5" fmla="*/ 0 h 44"/>
                    <a:gd name="T6" fmla="*/ 107 w 107"/>
                    <a:gd name="T7" fmla="*/ 40 h 44"/>
                    <a:gd name="T8" fmla="*/ 36 w 107"/>
                    <a:gd name="T9" fmla="*/ 31 h 44"/>
                    <a:gd name="T10" fmla="*/ 0 w 107"/>
                    <a:gd name="T11" fmla="*/ 44 h 44"/>
                    <a:gd name="T12" fmla="*/ 0 60000 65536"/>
                    <a:gd name="T13" fmla="*/ 0 60000 65536"/>
                    <a:gd name="T14" fmla="*/ 0 60000 65536"/>
                    <a:gd name="T15" fmla="*/ 0 60000 65536"/>
                    <a:gd name="T16" fmla="*/ 0 60000 65536"/>
                    <a:gd name="T17" fmla="*/ 0 60000 65536"/>
                    <a:gd name="T18" fmla="*/ 0 w 107"/>
                    <a:gd name="T19" fmla="*/ 0 h 44"/>
                    <a:gd name="T20" fmla="*/ 107 w 107"/>
                    <a:gd name="T21" fmla="*/ 44 h 44"/>
                  </a:gdLst>
                  <a:ahLst/>
                  <a:cxnLst>
                    <a:cxn ang="T12">
                      <a:pos x="T0" y="T1"/>
                    </a:cxn>
                    <a:cxn ang="T13">
                      <a:pos x="T2" y="T3"/>
                    </a:cxn>
                    <a:cxn ang="T14">
                      <a:pos x="T4" y="T5"/>
                    </a:cxn>
                    <a:cxn ang="T15">
                      <a:pos x="T6" y="T7"/>
                    </a:cxn>
                    <a:cxn ang="T16">
                      <a:pos x="T8" y="T9"/>
                    </a:cxn>
                    <a:cxn ang="T17">
                      <a:pos x="T10" y="T11"/>
                    </a:cxn>
                  </a:cxnLst>
                  <a:rect l="T18" t="T19" r="T20" b="T21"/>
                  <a:pathLst>
                    <a:path w="107" h="44">
                      <a:moveTo>
                        <a:pt x="0" y="44"/>
                      </a:moveTo>
                      <a:lnTo>
                        <a:pt x="25" y="0"/>
                      </a:lnTo>
                      <a:lnTo>
                        <a:pt x="90" y="0"/>
                      </a:lnTo>
                      <a:lnTo>
                        <a:pt x="107" y="40"/>
                      </a:lnTo>
                      <a:lnTo>
                        <a:pt x="36" y="31"/>
                      </a:lnTo>
                      <a:lnTo>
                        <a:pt x="0" y="44"/>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66" name="Freeform 24"/>
                <p:cNvSpPr>
                  <a:spLocks/>
                </p:cNvSpPr>
                <p:nvPr/>
              </p:nvSpPr>
              <p:spPr bwMode="gray">
                <a:xfrm>
                  <a:off x="934197" y="3464848"/>
                  <a:ext cx="932589" cy="787388"/>
                </a:xfrm>
                <a:custGeom>
                  <a:avLst/>
                  <a:gdLst>
                    <a:gd name="T0" fmla="*/ 157 w 1915"/>
                    <a:gd name="T1" fmla="*/ 1476 h 1617"/>
                    <a:gd name="T2" fmla="*/ 364 w 1915"/>
                    <a:gd name="T3" fmla="*/ 1358 h 1617"/>
                    <a:gd name="T4" fmla="*/ 371 w 1915"/>
                    <a:gd name="T5" fmla="*/ 1215 h 1617"/>
                    <a:gd name="T6" fmla="*/ 295 w 1915"/>
                    <a:gd name="T7" fmla="*/ 1205 h 1617"/>
                    <a:gd name="T8" fmla="*/ 150 w 1915"/>
                    <a:gd name="T9" fmla="*/ 1198 h 1617"/>
                    <a:gd name="T10" fmla="*/ 213 w 1915"/>
                    <a:gd name="T11" fmla="*/ 1008 h 1617"/>
                    <a:gd name="T12" fmla="*/ 83 w 1915"/>
                    <a:gd name="T13" fmla="*/ 1006 h 1617"/>
                    <a:gd name="T14" fmla="*/ 95 w 1915"/>
                    <a:gd name="T15" fmla="*/ 941 h 1617"/>
                    <a:gd name="T16" fmla="*/ 43 w 1915"/>
                    <a:gd name="T17" fmla="*/ 870 h 1617"/>
                    <a:gd name="T18" fmla="*/ 229 w 1915"/>
                    <a:gd name="T19" fmla="*/ 755 h 1617"/>
                    <a:gd name="T20" fmla="*/ 335 w 1915"/>
                    <a:gd name="T21" fmla="*/ 645 h 1617"/>
                    <a:gd name="T22" fmla="*/ 182 w 1915"/>
                    <a:gd name="T23" fmla="*/ 604 h 1617"/>
                    <a:gd name="T24" fmla="*/ 271 w 1915"/>
                    <a:gd name="T25" fmla="*/ 408 h 1617"/>
                    <a:gd name="T26" fmla="*/ 400 w 1915"/>
                    <a:gd name="T27" fmla="*/ 462 h 1617"/>
                    <a:gd name="T28" fmla="*/ 424 w 1915"/>
                    <a:gd name="T29" fmla="*/ 468 h 1617"/>
                    <a:gd name="T30" fmla="*/ 322 w 1915"/>
                    <a:gd name="T31" fmla="*/ 365 h 1617"/>
                    <a:gd name="T32" fmla="*/ 289 w 1915"/>
                    <a:gd name="T33" fmla="*/ 157 h 1617"/>
                    <a:gd name="T34" fmla="*/ 544 w 1915"/>
                    <a:gd name="T35" fmla="*/ 51 h 1617"/>
                    <a:gd name="T36" fmla="*/ 675 w 1915"/>
                    <a:gd name="T37" fmla="*/ 0 h 1617"/>
                    <a:gd name="T38" fmla="*/ 759 w 1915"/>
                    <a:gd name="T39" fmla="*/ 79 h 1617"/>
                    <a:gd name="T40" fmla="*/ 945 w 1915"/>
                    <a:gd name="T41" fmla="*/ 137 h 1617"/>
                    <a:gd name="T42" fmla="*/ 1117 w 1915"/>
                    <a:gd name="T43" fmla="*/ 170 h 1617"/>
                    <a:gd name="T44" fmla="*/ 1368 w 1915"/>
                    <a:gd name="T45" fmla="*/ 1164 h 1617"/>
                    <a:gd name="T46" fmla="*/ 1525 w 1915"/>
                    <a:gd name="T47" fmla="*/ 1192 h 1617"/>
                    <a:gd name="T48" fmla="*/ 1605 w 1915"/>
                    <a:gd name="T49" fmla="*/ 1218 h 1617"/>
                    <a:gd name="T50" fmla="*/ 1838 w 1915"/>
                    <a:gd name="T51" fmla="*/ 1465 h 1617"/>
                    <a:gd name="T52" fmla="*/ 1890 w 1915"/>
                    <a:gd name="T53" fmla="*/ 1617 h 1617"/>
                    <a:gd name="T54" fmla="*/ 1859 w 1915"/>
                    <a:gd name="T55" fmla="*/ 1561 h 1617"/>
                    <a:gd name="T56" fmla="*/ 1798 w 1915"/>
                    <a:gd name="T57" fmla="*/ 1542 h 1617"/>
                    <a:gd name="T58" fmla="*/ 1780 w 1915"/>
                    <a:gd name="T59" fmla="*/ 1501 h 1617"/>
                    <a:gd name="T60" fmla="*/ 1758 w 1915"/>
                    <a:gd name="T61" fmla="*/ 1461 h 1617"/>
                    <a:gd name="T62" fmla="*/ 1689 w 1915"/>
                    <a:gd name="T63" fmla="*/ 1412 h 1617"/>
                    <a:gd name="T64" fmla="*/ 1654 w 1915"/>
                    <a:gd name="T65" fmla="*/ 1331 h 1617"/>
                    <a:gd name="T66" fmla="*/ 1627 w 1915"/>
                    <a:gd name="T67" fmla="*/ 1309 h 1617"/>
                    <a:gd name="T68" fmla="*/ 1570 w 1915"/>
                    <a:gd name="T69" fmla="*/ 1218 h 1617"/>
                    <a:gd name="T70" fmla="*/ 1666 w 1915"/>
                    <a:gd name="T71" fmla="*/ 1354 h 1617"/>
                    <a:gd name="T72" fmla="*/ 1668 w 1915"/>
                    <a:gd name="T73" fmla="*/ 1409 h 1617"/>
                    <a:gd name="T74" fmla="*/ 1642 w 1915"/>
                    <a:gd name="T75" fmla="*/ 1437 h 1617"/>
                    <a:gd name="T76" fmla="*/ 1582 w 1915"/>
                    <a:gd name="T77" fmla="*/ 1314 h 1617"/>
                    <a:gd name="T78" fmla="*/ 1532 w 1915"/>
                    <a:gd name="T79" fmla="*/ 1268 h 1617"/>
                    <a:gd name="T80" fmla="*/ 1516 w 1915"/>
                    <a:gd name="T81" fmla="*/ 1319 h 1617"/>
                    <a:gd name="T82" fmla="*/ 1349 w 1915"/>
                    <a:gd name="T83" fmla="*/ 1182 h 1617"/>
                    <a:gd name="T84" fmla="*/ 1282 w 1915"/>
                    <a:gd name="T85" fmla="*/ 1198 h 1617"/>
                    <a:gd name="T86" fmla="*/ 1048 w 1915"/>
                    <a:gd name="T87" fmla="*/ 1150 h 1617"/>
                    <a:gd name="T88" fmla="*/ 997 w 1915"/>
                    <a:gd name="T89" fmla="*/ 1106 h 1617"/>
                    <a:gd name="T90" fmla="*/ 920 w 1915"/>
                    <a:gd name="T91" fmla="*/ 1081 h 1617"/>
                    <a:gd name="T92" fmla="*/ 913 w 1915"/>
                    <a:gd name="T93" fmla="*/ 1097 h 1617"/>
                    <a:gd name="T94" fmla="*/ 972 w 1915"/>
                    <a:gd name="T95" fmla="*/ 1195 h 1617"/>
                    <a:gd name="T96" fmla="*/ 863 w 1915"/>
                    <a:gd name="T97" fmla="*/ 1169 h 1617"/>
                    <a:gd name="T98" fmla="*/ 835 w 1915"/>
                    <a:gd name="T99" fmla="*/ 1202 h 1617"/>
                    <a:gd name="T100" fmla="*/ 742 w 1915"/>
                    <a:gd name="T101" fmla="*/ 1237 h 1617"/>
                    <a:gd name="T102" fmla="*/ 756 w 1915"/>
                    <a:gd name="T103" fmla="*/ 1198 h 1617"/>
                    <a:gd name="T104" fmla="*/ 862 w 1915"/>
                    <a:gd name="T105" fmla="*/ 1021 h 1617"/>
                    <a:gd name="T106" fmla="*/ 686 w 1915"/>
                    <a:gd name="T107" fmla="*/ 1131 h 1617"/>
                    <a:gd name="T108" fmla="*/ 614 w 1915"/>
                    <a:gd name="T109" fmla="*/ 1279 h 1617"/>
                    <a:gd name="T110" fmla="*/ 218 w 1915"/>
                    <a:gd name="T111" fmla="*/ 1505 h 1617"/>
                    <a:gd name="T112" fmla="*/ 50 w 1915"/>
                    <a:gd name="T113" fmla="*/ 1552 h 161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915"/>
                    <a:gd name="T172" fmla="*/ 0 h 1617"/>
                    <a:gd name="T173" fmla="*/ 1915 w 1915"/>
                    <a:gd name="T174" fmla="*/ 1617 h 161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915" h="1617">
                      <a:moveTo>
                        <a:pt x="0" y="1544"/>
                      </a:moveTo>
                      <a:lnTo>
                        <a:pt x="16" y="1521"/>
                      </a:lnTo>
                      <a:lnTo>
                        <a:pt x="30" y="1523"/>
                      </a:lnTo>
                      <a:lnTo>
                        <a:pt x="109" y="1466"/>
                      </a:lnTo>
                      <a:lnTo>
                        <a:pt x="157" y="1476"/>
                      </a:lnTo>
                      <a:lnTo>
                        <a:pt x="170" y="1498"/>
                      </a:lnTo>
                      <a:lnTo>
                        <a:pt x="173" y="1475"/>
                      </a:lnTo>
                      <a:lnTo>
                        <a:pt x="221" y="1442"/>
                      </a:lnTo>
                      <a:lnTo>
                        <a:pt x="296" y="1413"/>
                      </a:lnTo>
                      <a:lnTo>
                        <a:pt x="364" y="1358"/>
                      </a:lnTo>
                      <a:lnTo>
                        <a:pt x="380" y="1364"/>
                      </a:lnTo>
                      <a:lnTo>
                        <a:pt x="392" y="1293"/>
                      </a:lnTo>
                      <a:lnTo>
                        <a:pt x="431" y="1237"/>
                      </a:lnTo>
                      <a:lnTo>
                        <a:pt x="362" y="1243"/>
                      </a:lnTo>
                      <a:lnTo>
                        <a:pt x="371" y="1215"/>
                      </a:lnTo>
                      <a:lnTo>
                        <a:pt x="394" y="1217"/>
                      </a:lnTo>
                      <a:lnTo>
                        <a:pt x="372" y="1203"/>
                      </a:lnTo>
                      <a:lnTo>
                        <a:pt x="338" y="1236"/>
                      </a:lnTo>
                      <a:lnTo>
                        <a:pt x="335" y="1260"/>
                      </a:lnTo>
                      <a:lnTo>
                        <a:pt x="295" y="1205"/>
                      </a:lnTo>
                      <a:lnTo>
                        <a:pt x="282" y="1215"/>
                      </a:lnTo>
                      <a:lnTo>
                        <a:pt x="260" y="1188"/>
                      </a:lnTo>
                      <a:lnTo>
                        <a:pt x="208" y="1208"/>
                      </a:lnTo>
                      <a:lnTo>
                        <a:pt x="195" y="1212"/>
                      </a:lnTo>
                      <a:lnTo>
                        <a:pt x="150" y="1198"/>
                      </a:lnTo>
                      <a:lnTo>
                        <a:pt x="196" y="1160"/>
                      </a:lnTo>
                      <a:lnTo>
                        <a:pt x="183" y="1152"/>
                      </a:lnTo>
                      <a:lnTo>
                        <a:pt x="198" y="1125"/>
                      </a:lnTo>
                      <a:lnTo>
                        <a:pt x="190" y="1046"/>
                      </a:lnTo>
                      <a:lnTo>
                        <a:pt x="213" y="1008"/>
                      </a:lnTo>
                      <a:lnTo>
                        <a:pt x="174" y="1036"/>
                      </a:lnTo>
                      <a:lnTo>
                        <a:pt x="177" y="1060"/>
                      </a:lnTo>
                      <a:lnTo>
                        <a:pt x="143" y="1081"/>
                      </a:lnTo>
                      <a:lnTo>
                        <a:pt x="98" y="1066"/>
                      </a:lnTo>
                      <a:lnTo>
                        <a:pt x="83" y="1006"/>
                      </a:lnTo>
                      <a:lnTo>
                        <a:pt x="53" y="976"/>
                      </a:lnTo>
                      <a:lnTo>
                        <a:pt x="54" y="961"/>
                      </a:lnTo>
                      <a:lnTo>
                        <a:pt x="72" y="961"/>
                      </a:lnTo>
                      <a:lnTo>
                        <a:pt x="81" y="947"/>
                      </a:lnTo>
                      <a:lnTo>
                        <a:pt x="95" y="941"/>
                      </a:lnTo>
                      <a:lnTo>
                        <a:pt x="81" y="938"/>
                      </a:lnTo>
                      <a:lnTo>
                        <a:pt x="93" y="928"/>
                      </a:lnTo>
                      <a:lnTo>
                        <a:pt x="75" y="908"/>
                      </a:lnTo>
                      <a:lnTo>
                        <a:pt x="68" y="918"/>
                      </a:lnTo>
                      <a:lnTo>
                        <a:pt x="43" y="870"/>
                      </a:lnTo>
                      <a:lnTo>
                        <a:pt x="59" y="836"/>
                      </a:lnTo>
                      <a:lnTo>
                        <a:pt x="146" y="777"/>
                      </a:lnTo>
                      <a:lnTo>
                        <a:pt x="169" y="735"/>
                      </a:lnTo>
                      <a:lnTo>
                        <a:pt x="187" y="728"/>
                      </a:lnTo>
                      <a:lnTo>
                        <a:pt x="229" y="755"/>
                      </a:lnTo>
                      <a:lnTo>
                        <a:pt x="261" y="746"/>
                      </a:lnTo>
                      <a:lnTo>
                        <a:pt x="275" y="726"/>
                      </a:lnTo>
                      <a:lnTo>
                        <a:pt x="339" y="735"/>
                      </a:lnTo>
                      <a:lnTo>
                        <a:pt x="353" y="670"/>
                      </a:lnTo>
                      <a:lnTo>
                        <a:pt x="335" y="645"/>
                      </a:lnTo>
                      <a:lnTo>
                        <a:pt x="377" y="622"/>
                      </a:lnTo>
                      <a:lnTo>
                        <a:pt x="338" y="608"/>
                      </a:lnTo>
                      <a:lnTo>
                        <a:pt x="283" y="643"/>
                      </a:lnTo>
                      <a:lnTo>
                        <a:pt x="278" y="609"/>
                      </a:lnTo>
                      <a:lnTo>
                        <a:pt x="182" y="604"/>
                      </a:lnTo>
                      <a:lnTo>
                        <a:pt x="139" y="566"/>
                      </a:lnTo>
                      <a:lnTo>
                        <a:pt x="132" y="501"/>
                      </a:lnTo>
                      <a:lnTo>
                        <a:pt x="164" y="513"/>
                      </a:lnTo>
                      <a:lnTo>
                        <a:pt x="96" y="446"/>
                      </a:lnTo>
                      <a:lnTo>
                        <a:pt x="271" y="408"/>
                      </a:lnTo>
                      <a:lnTo>
                        <a:pt x="297" y="416"/>
                      </a:lnTo>
                      <a:lnTo>
                        <a:pt x="275" y="447"/>
                      </a:lnTo>
                      <a:lnTo>
                        <a:pt x="365" y="489"/>
                      </a:lnTo>
                      <a:lnTo>
                        <a:pt x="406" y="476"/>
                      </a:lnTo>
                      <a:lnTo>
                        <a:pt x="400" y="462"/>
                      </a:lnTo>
                      <a:lnTo>
                        <a:pt x="369" y="454"/>
                      </a:lnTo>
                      <a:lnTo>
                        <a:pt x="351" y="393"/>
                      </a:lnTo>
                      <a:lnTo>
                        <a:pt x="375" y="414"/>
                      </a:lnTo>
                      <a:lnTo>
                        <a:pt x="384" y="447"/>
                      </a:lnTo>
                      <a:lnTo>
                        <a:pt x="424" y="468"/>
                      </a:lnTo>
                      <a:lnTo>
                        <a:pt x="463" y="466"/>
                      </a:lnTo>
                      <a:lnTo>
                        <a:pt x="453" y="445"/>
                      </a:lnTo>
                      <a:lnTo>
                        <a:pt x="387" y="428"/>
                      </a:lnTo>
                      <a:lnTo>
                        <a:pt x="399" y="393"/>
                      </a:lnTo>
                      <a:lnTo>
                        <a:pt x="322" y="365"/>
                      </a:lnTo>
                      <a:lnTo>
                        <a:pt x="320" y="313"/>
                      </a:lnTo>
                      <a:lnTo>
                        <a:pt x="297" y="277"/>
                      </a:lnTo>
                      <a:lnTo>
                        <a:pt x="242" y="211"/>
                      </a:lnTo>
                      <a:lnTo>
                        <a:pt x="262" y="208"/>
                      </a:lnTo>
                      <a:lnTo>
                        <a:pt x="289" y="157"/>
                      </a:lnTo>
                      <a:lnTo>
                        <a:pt x="354" y="181"/>
                      </a:lnTo>
                      <a:lnTo>
                        <a:pt x="403" y="156"/>
                      </a:lnTo>
                      <a:lnTo>
                        <a:pt x="477" y="69"/>
                      </a:lnTo>
                      <a:lnTo>
                        <a:pt x="498" y="82"/>
                      </a:lnTo>
                      <a:lnTo>
                        <a:pt x="544" y="51"/>
                      </a:lnTo>
                      <a:lnTo>
                        <a:pt x="545" y="77"/>
                      </a:lnTo>
                      <a:lnTo>
                        <a:pt x="570" y="71"/>
                      </a:lnTo>
                      <a:lnTo>
                        <a:pt x="557" y="56"/>
                      </a:lnTo>
                      <a:lnTo>
                        <a:pt x="626" y="46"/>
                      </a:lnTo>
                      <a:lnTo>
                        <a:pt x="675" y="0"/>
                      </a:lnTo>
                      <a:lnTo>
                        <a:pt x="707" y="32"/>
                      </a:lnTo>
                      <a:lnTo>
                        <a:pt x="696" y="69"/>
                      </a:lnTo>
                      <a:lnTo>
                        <a:pt x="718" y="71"/>
                      </a:lnTo>
                      <a:lnTo>
                        <a:pt x="727" y="37"/>
                      </a:lnTo>
                      <a:lnTo>
                        <a:pt x="759" y="79"/>
                      </a:lnTo>
                      <a:lnTo>
                        <a:pt x="813" y="79"/>
                      </a:lnTo>
                      <a:lnTo>
                        <a:pt x="821" y="118"/>
                      </a:lnTo>
                      <a:lnTo>
                        <a:pt x="921" y="129"/>
                      </a:lnTo>
                      <a:lnTo>
                        <a:pt x="920" y="149"/>
                      </a:lnTo>
                      <a:lnTo>
                        <a:pt x="945" y="137"/>
                      </a:lnTo>
                      <a:lnTo>
                        <a:pt x="970" y="167"/>
                      </a:lnTo>
                      <a:lnTo>
                        <a:pt x="1022" y="157"/>
                      </a:lnTo>
                      <a:lnTo>
                        <a:pt x="1070" y="181"/>
                      </a:lnTo>
                      <a:lnTo>
                        <a:pt x="1117" y="159"/>
                      </a:lnTo>
                      <a:lnTo>
                        <a:pt x="1117" y="170"/>
                      </a:lnTo>
                      <a:lnTo>
                        <a:pt x="1135" y="166"/>
                      </a:lnTo>
                      <a:lnTo>
                        <a:pt x="1217" y="206"/>
                      </a:lnTo>
                      <a:lnTo>
                        <a:pt x="1278" y="1143"/>
                      </a:lnTo>
                      <a:lnTo>
                        <a:pt x="1370" y="1140"/>
                      </a:lnTo>
                      <a:lnTo>
                        <a:pt x="1368" y="1164"/>
                      </a:lnTo>
                      <a:lnTo>
                        <a:pt x="1399" y="1188"/>
                      </a:lnTo>
                      <a:lnTo>
                        <a:pt x="1455" y="1233"/>
                      </a:lnTo>
                      <a:lnTo>
                        <a:pt x="1465" y="1259"/>
                      </a:lnTo>
                      <a:lnTo>
                        <a:pt x="1512" y="1230"/>
                      </a:lnTo>
                      <a:lnTo>
                        <a:pt x="1525" y="1192"/>
                      </a:lnTo>
                      <a:lnTo>
                        <a:pt x="1551" y="1177"/>
                      </a:lnTo>
                      <a:lnTo>
                        <a:pt x="1557" y="1170"/>
                      </a:lnTo>
                      <a:lnTo>
                        <a:pt x="1588" y="1192"/>
                      </a:lnTo>
                      <a:lnTo>
                        <a:pt x="1585" y="1217"/>
                      </a:lnTo>
                      <a:lnTo>
                        <a:pt x="1605" y="1218"/>
                      </a:lnTo>
                      <a:lnTo>
                        <a:pt x="1617" y="1228"/>
                      </a:lnTo>
                      <a:lnTo>
                        <a:pt x="1627" y="1246"/>
                      </a:lnTo>
                      <a:lnTo>
                        <a:pt x="1657" y="1262"/>
                      </a:lnTo>
                      <a:lnTo>
                        <a:pt x="1796" y="1455"/>
                      </a:lnTo>
                      <a:lnTo>
                        <a:pt x="1838" y="1465"/>
                      </a:lnTo>
                      <a:lnTo>
                        <a:pt x="1908" y="1491"/>
                      </a:lnTo>
                      <a:lnTo>
                        <a:pt x="1915" y="1507"/>
                      </a:lnTo>
                      <a:lnTo>
                        <a:pt x="1900" y="1521"/>
                      </a:lnTo>
                      <a:lnTo>
                        <a:pt x="1903" y="1553"/>
                      </a:lnTo>
                      <a:lnTo>
                        <a:pt x="1890" y="1617"/>
                      </a:lnTo>
                      <a:lnTo>
                        <a:pt x="1882" y="1605"/>
                      </a:lnTo>
                      <a:lnTo>
                        <a:pt x="1869" y="1615"/>
                      </a:lnTo>
                      <a:lnTo>
                        <a:pt x="1854" y="1602"/>
                      </a:lnTo>
                      <a:lnTo>
                        <a:pt x="1876" y="1583"/>
                      </a:lnTo>
                      <a:lnTo>
                        <a:pt x="1859" y="1561"/>
                      </a:lnTo>
                      <a:lnTo>
                        <a:pt x="1859" y="1547"/>
                      </a:lnTo>
                      <a:lnTo>
                        <a:pt x="1838" y="1503"/>
                      </a:lnTo>
                      <a:lnTo>
                        <a:pt x="1825" y="1503"/>
                      </a:lnTo>
                      <a:lnTo>
                        <a:pt x="1802" y="1520"/>
                      </a:lnTo>
                      <a:lnTo>
                        <a:pt x="1798" y="1542"/>
                      </a:lnTo>
                      <a:lnTo>
                        <a:pt x="1777" y="1548"/>
                      </a:lnTo>
                      <a:lnTo>
                        <a:pt x="1774" y="1542"/>
                      </a:lnTo>
                      <a:lnTo>
                        <a:pt x="1790" y="1516"/>
                      </a:lnTo>
                      <a:lnTo>
                        <a:pt x="1794" y="1491"/>
                      </a:lnTo>
                      <a:lnTo>
                        <a:pt x="1780" y="1501"/>
                      </a:lnTo>
                      <a:lnTo>
                        <a:pt x="1776" y="1521"/>
                      </a:lnTo>
                      <a:lnTo>
                        <a:pt x="1727" y="1489"/>
                      </a:lnTo>
                      <a:lnTo>
                        <a:pt x="1729" y="1478"/>
                      </a:lnTo>
                      <a:lnTo>
                        <a:pt x="1754" y="1479"/>
                      </a:lnTo>
                      <a:lnTo>
                        <a:pt x="1758" y="1461"/>
                      </a:lnTo>
                      <a:lnTo>
                        <a:pt x="1774" y="1453"/>
                      </a:lnTo>
                      <a:lnTo>
                        <a:pt x="1772" y="1444"/>
                      </a:lnTo>
                      <a:lnTo>
                        <a:pt x="1747" y="1448"/>
                      </a:lnTo>
                      <a:lnTo>
                        <a:pt x="1739" y="1413"/>
                      </a:lnTo>
                      <a:lnTo>
                        <a:pt x="1689" y="1412"/>
                      </a:lnTo>
                      <a:lnTo>
                        <a:pt x="1676" y="1373"/>
                      </a:lnTo>
                      <a:lnTo>
                        <a:pt x="1689" y="1340"/>
                      </a:lnTo>
                      <a:lnTo>
                        <a:pt x="1672" y="1345"/>
                      </a:lnTo>
                      <a:lnTo>
                        <a:pt x="1664" y="1321"/>
                      </a:lnTo>
                      <a:lnTo>
                        <a:pt x="1654" y="1331"/>
                      </a:lnTo>
                      <a:lnTo>
                        <a:pt x="1646" y="1320"/>
                      </a:lnTo>
                      <a:lnTo>
                        <a:pt x="1657" y="1290"/>
                      </a:lnTo>
                      <a:lnTo>
                        <a:pt x="1647" y="1287"/>
                      </a:lnTo>
                      <a:lnTo>
                        <a:pt x="1643" y="1303"/>
                      </a:lnTo>
                      <a:lnTo>
                        <a:pt x="1627" y="1309"/>
                      </a:lnTo>
                      <a:lnTo>
                        <a:pt x="1607" y="1299"/>
                      </a:lnTo>
                      <a:lnTo>
                        <a:pt x="1604" y="1274"/>
                      </a:lnTo>
                      <a:lnTo>
                        <a:pt x="1579" y="1242"/>
                      </a:lnTo>
                      <a:lnTo>
                        <a:pt x="1581" y="1222"/>
                      </a:lnTo>
                      <a:lnTo>
                        <a:pt x="1570" y="1218"/>
                      </a:lnTo>
                      <a:lnTo>
                        <a:pt x="1568" y="1195"/>
                      </a:lnTo>
                      <a:lnTo>
                        <a:pt x="1564" y="1203"/>
                      </a:lnTo>
                      <a:lnTo>
                        <a:pt x="1575" y="1260"/>
                      </a:lnTo>
                      <a:lnTo>
                        <a:pt x="1596" y="1300"/>
                      </a:lnTo>
                      <a:lnTo>
                        <a:pt x="1666" y="1354"/>
                      </a:lnTo>
                      <a:lnTo>
                        <a:pt x="1667" y="1365"/>
                      </a:lnTo>
                      <a:lnTo>
                        <a:pt x="1649" y="1361"/>
                      </a:lnTo>
                      <a:lnTo>
                        <a:pt x="1648" y="1373"/>
                      </a:lnTo>
                      <a:lnTo>
                        <a:pt x="1657" y="1371"/>
                      </a:lnTo>
                      <a:lnTo>
                        <a:pt x="1668" y="1409"/>
                      </a:lnTo>
                      <a:lnTo>
                        <a:pt x="1712" y="1429"/>
                      </a:lnTo>
                      <a:lnTo>
                        <a:pt x="1734" y="1466"/>
                      </a:lnTo>
                      <a:lnTo>
                        <a:pt x="1682" y="1477"/>
                      </a:lnTo>
                      <a:lnTo>
                        <a:pt x="1657" y="1546"/>
                      </a:lnTo>
                      <a:lnTo>
                        <a:pt x="1642" y="1437"/>
                      </a:lnTo>
                      <a:lnTo>
                        <a:pt x="1633" y="1427"/>
                      </a:lnTo>
                      <a:lnTo>
                        <a:pt x="1631" y="1406"/>
                      </a:lnTo>
                      <a:lnTo>
                        <a:pt x="1640" y="1398"/>
                      </a:lnTo>
                      <a:lnTo>
                        <a:pt x="1597" y="1316"/>
                      </a:lnTo>
                      <a:lnTo>
                        <a:pt x="1582" y="1314"/>
                      </a:lnTo>
                      <a:lnTo>
                        <a:pt x="1572" y="1299"/>
                      </a:lnTo>
                      <a:lnTo>
                        <a:pt x="1558" y="1302"/>
                      </a:lnTo>
                      <a:lnTo>
                        <a:pt x="1549" y="1295"/>
                      </a:lnTo>
                      <a:lnTo>
                        <a:pt x="1539" y="1249"/>
                      </a:lnTo>
                      <a:lnTo>
                        <a:pt x="1532" y="1268"/>
                      </a:lnTo>
                      <a:lnTo>
                        <a:pt x="1497" y="1255"/>
                      </a:lnTo>
                      <a:lnTo>
                        <a:pt x="1490" y="1264"/>
                      </a:lnTo>
                      <a:lnTo>
                        <a:pt x="1534" y="1290"/>
                      </a:lnTo>
                      <a:lnTo>
                        <a:pt x="1513" y="1298"/>
                      </a:lnTo>
                      <a:lnTo>
                        <a:pt x="1516" y="1319"/>
                      </a:lnTo>
                      <a:lnTo>
                        <a:pt x="1479" y="1305"/>
                      </a:lnTo>
                      <a:lnTo>
                        <a:pt x="1433" y="1260"/>
                      </a:lnTo>
                      <a:lnTo>
                        <a:pt x="1364" y="1228"/>
                      </a:lnTo>
                      <a:lnTo>
                        <a:pt x="1316" y="1227"/>
                      </a:lnTo>
                      <a:lnTo>
                        <a:pt x="1349" y="1182"/>
                      </a:lnTo>
                      <a:lnTo>
                        <a:pt x="1366" y="1203"/>
                      </a:lnTo>
                      <a:lnTo>
                        <a:pt x="1368" y="1182"/>
                      </a:lnTo>
                      <a:lnTo>
                        <a:pt x="1340" y="1160"/>
                      </a:lnTo>
                      <a:lnTo>
                        <a:pt x="1322" y="1197"/>
                      </a:lnTo>
                      <a:lnTo>
                        <a:pt x="1282" y="1198"/>
                      </a:lnTo>
                      <a:lnTo>
                        <a:pt x="1107" y="1183"/>
                      </a:lnTo>
                      <a:lnTo>
                        <a:pt x="1113" y="1153"/>
                      </a:lnTo>
                      <a:lnTo>
                        <a:pt x="1096" y="1162"/>
                      </a:lnTo>
                      <a:lnTo>
                        <a:pt x="1074" y="1136"/>
                      </a:lnTo>
                      <a:lnTo>
                        <a:pt x="1048" y="1150"/>
                      </a:lnTo>
                      <a:lnTo>
                        <a:pt x="1037" y="1132"/>
                      </a:lnTo>
                      <a:lnTo>
                        <a:pt x="992" y="1152"/>
                      </a:lnTo>
                      <a:lnTo>
                        <a:pt x="990" y="1138"/>
                      </a:lnTo>
                      <a:lnTo>
                        <a:pt x="1011" y="1106"/>
                      </a:lnTo>
                      <a:lnTo>
                        <a:pt x="997" y="1106"/>
                      </a:lnTo>
                      <a:lnTo>
                        <a:pt x="1013" y="1096"/>
                      </a:lnTo>
                      <a:lnTo>
                        <a:pt x="961" y="1103"/>
                      </a:lnTo>
                      <a:lnTo>
                        <a:pt x="943" y="1084"/>
                      </a:lnTo>
                      <a:lnTo>
                        <a:pt x="925" y="1096"/>
                      </a:lnTo>
                      <a:lnTo>
                        <a:pt x="920" y="1081"/>
                      </a:lnTo>
                      <a:lnTo>
                        <a:pt x="932" y="1066"/>
                      </a:lnTo>
                      <a:lnTo>
                        <a:pt x="904" y="1075"/>
                      </a:lnTo>
                      <a:lnTo>
                        <a:pt x="908" y="1084"/>
                      </a:lnTo>
                      <a:lnTo>
                        <a:pt x="894" y="1099"/>
                      </a:lnTo>
                      <a:lnTo>
                        <a:pt x="913" y="1097"/>
                      </a:lnTo>
                      <a:lnTo>
                        <a:pt x="904" y="1124"/>
                      </a:lnTo>
                      <a:lnTo>
                        <a:pt x="925" y="1134"/>
                      </a:lnTo>
                      <a:lnTo>
                        <a:pt x="948" y="1147"/>
                      </a:lnTo>
                      <a:lnTo>
                        <a:pt x="978" y="1134"/>
                      </a:lnTo>
                      <a:lnTo>
                        <a:pt x="972" y="1195"/>
                      </a:lnTo>
                      <a:lnTo>
                        <a:pt x="922" y="1197"/>
                      </a:lnTo>
                      <a:lnTo>
                        <a:pt x="922" y="1181"/>
                      </a:lnTo>
                      <a:lnTo>
                        <a:pt x="904" y="1169"/>
                      </a:lnTo>
                      <a:lnTo>
                        <a:pt x="866" y="1185"/>
                      </a:lnTo>
                      <a:lnTo>
                        <a:pt x="863" y="1169"/>
                      </a:lnTo>
                      <a:lnTo>
                        <a:pt x="849" y="1183"/>
                      </a:lnTo>
                      <a:lnTo>
                        <a:pt x="847" y="1164"/>
                      </a:lnTo>
                      <a:lnTo>
                        <a:pt x="816" y="1160"/>
                      </a:lnTo>
                      <a:lnTo>
                        <a:pt x="839" y="1195"/>
                      </a:lnTo>
                      <a:lnTo>
                        <a:pt x="835" y="1202"/>
                      </a:lnTo>
                      <a:lnTo>
                        <a:pt x="822" y="1197"/>
                      </a:lnTo>
                      <a:lnTo>
                        <a:pt x="788" y="1217"/>
                      </a:lnTo>
                      <a:lnTo>
                        <a:pt x="781" y="1210"/>
                      </a:lnTo>
                      <a:lnTo>
                        <a:pt x="756" y="1255"/>
                      </a:lnTo>
                      <a:lnTo>
                        <a:pt x="742" y="1237"/>
                      </a:lnTo>
                      <a:lnTo>
                        <a:pt x="731" y="1248"/>
                      </a:lnTo>
                      <a:lnTo>
                        <a:pt x="707" y="1244"/>
                      </a:lnTo>
                      <a:lnTo>
                        <a:pt x="704" y="1221"/>
                      </a:lnTo>
                      <a:lnTo>
                        <a:pt x="736" y="1221"/>
                      </a:lnTo>
                      <a:lnTo>
                        <a:pt x="756" y="1198"/>
                      </a:lnTo>
                      <a:lnTo>
                        <a:pt x="703" y="1197"/>
                      </a:lnTo>
                      <a:lnTo>
                        <a:pt x="748" y="1091"/>
                      </a:lnTo>
                      <a:lnTo>
                        <a:pt x="823" y="1073"/>
                      </a:lnTo>
                      <a:lnTo>
                        <a:pt x="815" y="1049"/>
                      </a:lnTo>
                      <a:lnTo>
                        <a:pt x="862" y="1021"/>
                      </a:lnTo>
                      <a:lnTo>
                        <a:pt x="798" y="1039"/>
                      </a:lnTo>
                      <a:lnTo>
                        <a:pt x="809" y="984"/>
                      </a:lnTo>
                      <a:lnTo>
                        <a:pt x="777" y="1048"/>
                      </a:lnTo>
                      <a:lnTo>
                        <a:pt x="736" y="1067"/>
                      </a:lnTo>
                      <a:lnTo>
                        <a:pt x="686" y="1131"/>
                      </a:lnTo>
                      <a:lnTo>
                        <a:pt x="652" y="1131"/>
                      </a:lnTo>
                      <a:lnTo>
                        <a:pt x="671" y="1164"/>
                      </a:lnTo>
                      <a:lnTo>
                        <a:pt x="583" y="1234"/>
                      </a:lnTo>
                      <a:lnTo>
                        <a:pt x="622" y="1248"/>
                      </a:lnTo>
                      <a:lnTo>
                        <a:pt x="614" y="1279"/>
                      </a:lnTo>
                      <a:lnTo>
                        <a:pt x="419" y="1426"/>
                      </a:lnTo>
                      <a:lnTo>
                        <a:pt x="280" y="1465"/>
                      </a:lnTo>
                      <a:lnTo>
                        <a:pt x="320" y="1481"/>
                      </a:lnTo>
                      <a:lnTo>
                        <a:pt x="236" y="1527"/>
                      </a:lnTo>
                      <a:lnTo>
                        <a:pt x="218" y="1505"/>
                      </a:lnTo>
                      <a:lnTo>
                        <a:pt x="163" y="1527"/>
                      </a:lnTo>
                      <a:lnTo>
                        <a:pt x="118" y="1528"/>
                      </a:lnTo>
                      <a:lnTo>
                        <a:pt x="119" y="1502"/>
                      </a:lnTo>
                      <a:lnTo>
                        <a:pt x="65" y="1555"/>
                      </a:lnTo>
                      <a:lnTo>
                        <a:pt x="50" y="1552"/>
                      </a:lnTo>
                      <a:lnTo>
                        <a:pt x="49" y="1526"/>
                      </a:lnTo>
                      <a:lnTo>
                        <a:pt x="39" y="1552"/>
                      </a:lnTo>
                      <a:lnTo>
                        <a:pt x="0" y="1544"/>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67" name="Freeform 25"/>
                <p:cNvSpPr>
                  <a:spLocks/>
                </p:cNvSpPr>
                <p:nvPr/>
              </p:nvSpPr>
              <p:spPr bwMode="gray">
                <a:xfrm>
                  <a:off x="1182694" y="4104115"/>
                  <a:ext cx="92576" cy="93551"/>
                </a:xfrm>
                <a:custGeom>
                  <a:avLst/>
                  <a:gdLst>
                    <a:gd name="T0" fmla="*/ 0 w 190"/>
                    <a:gd name="T1" fmla="*/ 190 h 190"/>
                    <a:gd name="T2" fmla="*/ 54 w 190"/>
                    <a:gd name="T3" fmla="*/ 139 h 190"/>
                    <a:gd name="T4" fmla="*/ 19 w 190"/>
                    <a:gd name="T5" fmla="*/ 74 h 190"/>
                    <a:gd name="T6" fmla="*/ 69 w 190"/>
                    <a:gd name="T7" fmla="*/ 96 h 190"/>
                    <a:gd name="T8" fmla="*/ 145 w 190"/>
                    <a:gd name="T9" fmla="*/ 0 h 190"/>
                    <a:gd name="T10" fmla="*/ 190 w 190"/>
                    <a:gd name="T11" fmla="*/ 11 h 190"/>
                    <a:gd name="T12" fmla="*/ 150 w 190"/>
                    <a:gd name="T13" fmla="*/ 104 h 190"/>
                    <a:gd name="T14" fmla="*/ 0 w 190"/>
                    <a:gd name="T15" fmla="*/ 190 h 190"/>
                    <a:gd name="T16" fmla="*/ 0 60000 65536"/>
                    <a:gd name="T17" fmla="*/ 0 60000 65536"/>
                    <a:gd name="T18" fmla="*/ 0 60000 65536"/>
                    <a:gd name="T19" fmla="*/ 0 60000 65536"/>
                    <a:gd name="T20" fmla="*/ 0 60000 65536"/>
                    <a:gd name="T21" fmla="*/ 0 60000 65536"/>
                    <a:gd name="T22" fmla="*/ 0 60000 65536"/>
                    <a:gd name="T23" fmla="*/ 0 60000 65536"/>
                    <a:gd name="T24" fmla="*/ 0 w 190"/>
                    <a:gd name="T25" fmla="*/ 0 h 190"/>
                    <a:gd name="T26" fmla="*/ 190 w 190"/>
                    <a:gd name="T27" fmla="*/ 190 h 19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0" h="190">
                      <a:moveTo>
                        <a:pt x="0" y="190"/>
                      </a:moveTo>
                      <a:lnTo>
                        <a:pt x="54" y="139"/>
                      </a:lnTo>
                      <a:lnTo>
                        <a:pt x="19" y="74"/>
                      </a:lnTo>
                      <a:lnTo>
                        <a:pt x="69" y="96"/>
                      </a:lnTo>
                      <a:lnTo>
                        <a:pt x="145" y="0"/>
                      </a:lnTo>
                      <a:lnTo>
                        <a:pt x="190" y="11"/>
                      </a:lnTo>
                      <a:lnTo>
                        <a:pt x="150" y="104"/>
                      </a:lnTo>
                      <a:lnTo>
                        <a:pt x="0" y="190"/>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68" name="Freeform 26"/>
                <p:cNvSpPr>
                  <a:spLocks/>
                </p:cNvSpPr>
                <p:nvPr/>
              </p:nvSpPr>
              <p:spPr bwMode="gray">
                <a:xfrm>
                  <a:off x="1674811" y="4100217"/>
                  <a:ext cx="54571" cy="105245"/>
                </a:xfrm>
                <a:custGeom>
                  <a:avLst/>
                  <a:gdLst>
                    <a:gd name="T0" fmla="*/ 0 w 114"/>
                    <a:gd name="T1" fmla="*/ 58 h 217"/>
                    <a:gd name="T2" fmla="*/ 25 w 114"/>
                    <a:gd name="T3" fmla="*/ 0 h 217"/>
                    <a:gd name="T4" fmla="*/ 82 w 114"/>
                    <a:gd name="T5" fmla="*/ 56 h 217"/>
                    <a:gd name="T6" fmla="*/ 114 w 114"/>
                    <a:gd name="T7" fmla="*/ 217 h 217"/>
                    <a:gd name="T8" fmla="*/ 0 w 114"/>
                    <a:gd name="T9" fmla="*/ 58 h 217"/>
                    <a:gd name="T10" fmla="*/ 0 60000 65536"/>
                    <a:gd name="T11" fmla="*/ 0 60000 65536"/>
                    <a:gd name="T12" fmla="*/ 0 60000 65536"/>
                    <a:gd name="T13" fmla="*/ 0 60000 65536"/>
                    <a:gd name="T14" fmla="*/ 0 60000 65536"/>
                    <a:gd name="T15" fmla="*/ 0 w 114"/>
                    <a:gd name="T16" fmla="*/ 0 h 217"/>
                    <a:gd name="T17" fmla="*/ 114 w 114"/>
                    <a:gd name="T18" fmla="*/ 217 h 217"/>
                  </a:gdLst>
                  <a:ahLst/>
                  <a:cxnLst>
                    <a:cxn ang="T10">
                      <a:pos x="T0" y="T1"/>
                    </a:cxn>
                    <a:cxn ang="T11">
                      <a:pos x="T2" y="T3"/>
                    </a:cxn>
                    <a:cxn ang="T12">
                      <a:pos x="T4" y="T5"/>
                    </a:cxn>
                    <a:cxn ang="T13">
                      <a:pos x="T6" y="T7"/>
                    </a:cxn>
                    <a:cxn ang="T14">
                      <a:pos x="T8" y="T9"/>
                    </a:cxn>
                  </a:cxnLst>
                  <a:rect l="T15" t="T16" r="T17" b="T18"/>
                  <a:pathLst>
                    <a:path w="114" h="217">
                      <a:moveTo>
                        <a:pt x="0" y="58"/>
                      </a:moveTo>
                      <a:lnTo>
                        <a:pt x="25" y="0"/>
                      </a:lnTo>
                      <a:lnTo>
                        <a:pt x="82" y="56"/>
                      </a:lnTo>
                      <a:lnTo>
                        <a:pt x="114" y="217"/>
                      </a:lnTo>
                      <a:lnTo>
                        <a:pt x="0" y="58"/>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69" name="Freeform 27"/>
                <p:cNvSpPr>
                  <a:spLocks/>
                </p:cNvSpPr>
                <p:nvPr/>
              </p:nvSpPr>
              <p:spPr bwMode="gray">
                <a:xfrm>
                  <a:off x="1757643" y="4205462"/>
                  <a:ext cx="52622" cy="57495"/>
                </a:xfrm>
                <a:custGeom>
                  <a:avLst/>
                  <a:gdLst>
                    <a:gd name="T0" fmla="*/ 0 w 108"/>
                    <a:gd name="T1" fmla="*/ 0 h 117"/>
                    <a:gd name="T2" fmla="*/ 13 w 108"/>
                    <a:gd name="T3" fmla="*/ 79 h 117"/>
                    <a:gd name="T4" fmla="*/ 108 w 108"/>
                    <a:gd name="T5" fmla="*/ 117 h 117"/>
                    <a:gd name="T6" fmla="*/ 55 w 108"/>
                    <a:gd name="T7" fmla="*/ 1 h 117"/>
                    <a:gd name="T8" fmla="*/ 0 w 108"/>
                    <a:gd name="T9" fmla="*/ 0 h 117"/>
                    <a:gd name="T10" fmla="*/ 0 60000 65536"/>
                    <a:gd name="T11" fmla="*/ 0 60000 65536"/>
                    <a:gd name="T12" fmla="*/ 0 60000 65536"/>
                    <a:gd name="T13" fmla="*/ 0 60000 65536"/>
                    <a:gd name="T14" fmla="*/ 0 60000 65536"/>
                    <a:gd name="T15" fmla="*/ 0 w 108"/>
                    <a:gd name="T16" fmla="*/ 0 h 117"/>
                    <a:gd name="T17" fmla="*/ 108 w 108"/>
                    <a:gd name="T18" fmla="*/ 117 h 117"/>
                  </a:gdLst>
                  <a:ahLst/>
                  <a:cxnLst>
                    <a:cxn ang="T10">
                      <a:pos x="T0" y="T1"/>
                    </a:cxn>
                    <a:cxn ang="T11">
                      <a:pos x="T2" y="T3"/>
                    </a:cxn>
                    <a:cxn ang="T12">
                      <a:pos x="T4" y="T5"/>
                    </a:cxn>
                    <a:cxn ang="T13">
                      <a:pos x="T6" y="T7"/>
                    </a:cxn>
                    <a:cxn ang="T14">
                      <a:pos x="T8" y="T9"/>
                    </a:cxn>
                  </a:cxnLst>
                  <a:rect l="T15" t="T16" r="T17" b="T18"/>
                  <a:pathLst>
                    <a:path w="108" h="117">
                      <a:moveTo>
                        <a:pt x="0" y="0"/>
                      </a:moveTo>
                      <a:lnTo>
                        <a:pt x="13" y="79"/>
                      </a:lnTo>
                      <a:lnTo>
                        <a:pt x="108" y="117"/>
                      </a:lnTo>
                      <a:lnTo>
                        <a:pt x="55" y="1"/>
                      </a:lnTo>
                      <a:lnTo>
                        <a:pt x="0" y="0"/>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70" name="Freeform 28"/>
                <p:cNvSpPr>
                  <a:spLocks/>
                </p:cNvSpPr>
                <p:nvPr/>
              </p:nvSpPr>
              <p:spPr bwMode="gray">
                <a:xfrm>
                  <a:off x="1817087" y="4205462"/>
                  <a:ext cx="16567" cy="31184"/>
                </a:xfrm>
                <a:custGeom>
                  <a:avLst/>
                  <a:gdLst>
                    <a:gd name="T0" fmla="*/ 0 w 34"/>
                    <a:gd name="T1" fmla="*/ 62 h 62"/>
                    <a:gd name="T2" fmla="*/ 7 w 34"/>
                    <a:gd name="T3" fmla="*/ 0 h 62"/>
                    <a:gd name="T4" fmla="*/ 34 w 34"/>
                    <a:gd name="T5" fmla="*/ 53 h 62"/>
                    <a:gd name="T6" fmla="*/ 0 w 34"/>
                    <a:gd name="T7" fmla="*/ 62 h 62"/>
                    <a:gd name="T8" fmla="*/ 0 60000 65536"/>
                    <a:gd name="T9" fmla="*/ 0 60000 65536"/>
                    <a:gd name="T10" fmla="*/ 0 60000 65536"/>
                    <a:gd name="T11" fmla="*/ 0 60000 65536"/>
                    <a:gd name="T12" fmla="*/ 0 w 34"/>
                    <a:gd name="T13" fmla="*/ 0 h 62"/>
                    <a:gd name="T14" fmla="*/ 34 w 34"/>
                    <a:gd name="T15" fmla="*/ 62 h 62"/>
                  </a:gdLst>
                  <a:ahLst/>
                  <a:cxnLst>
                    <a:cxn ang="T8">
                      <a:pos x="T0" y="T1"/>
                    </a:cxn>
                    <a:cxn ang="T9">
                      <a:pos x="T2" y="T3"/>
                    </a:cxn>
                    <a:cxn ang="T10">
                      <a:pos x="T4" y="T5"/>
                    </a:cxn>
                    <a:cxn ang="T11">
                      <a:pos x="T6" y="T7"/>
                    </a:cxn>
                  </a:cxnLst>
                  <a:rect l="T12" t="T13" r="T14" b="T15"/>
                  <a:pathLst>
                    <a:path w="34" h="62">
                      <a:moveTo>
                        <a:pt x="0" y="62"/>
                      </a:moveTo>
                      <a:lnTo>
                        <a:pt x="7" y="0"/>
                      </a:lnTo>
                      <a:lnTo>
                        <a:pt x="34" y="53"/>
                      </a:lnTo>
                      <a:lnTo>
                        <a:pt x="0" y="62"/>
                      </a:lnTo>
                      <a:close/>
                    </a:path>
                  </a:pathLst>
                </a:custGeom>
                <a:grpFill/>
                <a:ln w="9525">
                  <a:solidFill>
                    <a:schemeClr val="tx1"/>
                  </a:solidFill>
                  <a:round/>
                  <a:headEnd/>
                  <a:tailEnd/>
                </a:ln>
              </p:spPr>
              <p:txBody>
                <a:bodyPr/>
                <a:lstStyle/>
                <a:p>
                  <a:pPr>
                    <a:defRPr/>
                  </a:pPr>
                  <a:endParaRPr lang="en-US" sz="1100" dirty="0">
                    <a:latin typeface="+mj-lt"/>
                  </a:endParaRPr>
                </a:p>
              </p:txBody>
            </p:sp>
          </p:grpSp>
          <p:sp>
            <p:nvSpPr>
              <p:cNvPr id="78" name="Freeform 29"/>
              <p:cNvSpPr>
                <a:spLocks/>
              </p:cNvSpPr>
              <p:nvPr/>
            </p:nvSpPr>
            <p:spPr bwMode="gray">
              <a:xfrm>
                <a:off x="1227520" y="2749573"/>
                <a:ext cx="660705" cy="765949"/>
              </a:xfrm>
              <a:custGeom>
                <a:avLst/>
                <a:gdLst>
                  <a:gd name="T0" fmla="*/ 0 w 1357"/>
                  <a:gd name="T1" fmla="*/ 1074 h 1570"/>
                  <a:gd name="T2" fmla="*/ 88 w 1357"/>
                  <a:gd name="T3" fmla="*/ 999 h 1570"/>
                  <a:gd name="T4" fmla="*/ 53 w 1357"/>
                  <a:gd name="T5" fmla="*/ 939 h 1570"/>
                  <a:gd name="T6" fmla="*/ 71 w 1357"/>
                  <a:gd name="T7" fmla="*/ 853 h 1570"/>
                  <a:gd name="T8" fmla="*/ 160 w 1357"/>
                  <a:gd name="T9" fmla="*/ 705 h 1570"/>
                  <a:gd name="T10" fmla="*/ 227 w 1357"/>
                  <a:gd name="T11" fmla="*/ 663 h 1570"/>
                  <a:gd name="T12" fmla="*/ 188 w 1357"/>
                  <a:gd name="T13" fmla="*/ 611 h 1570"/>
                  <a:gd name="T14" fmla="*/ 162 w 1357"/>
                  <a:gd name="T15" fmla="*/ 464 h 1570"/>
                  <a:gd name="T16" fmla="*/ 192 w 1357"/>
                  <a:gd name="T17" fmla="*/ 203 h 1570"/>
                  <a:gd name="T18" fmla="*/ 237 w 1357"/>
                  <a:gd name="T19" fmla="*/ 188 h 1570"/>
                  <a:gd name="T20" fmla="*/ 312 w 1357"/>
                  <a:gd name="T21" fmla="*/ 233 h 1570"/>
                  <a:gd name="T22" fmla="*/ 378 w 1357"/>
                  <a:gd name="T23" fmla="*/ 0 h 1570"/>
                  <a:gd name="T24" fmla="*/ 1357 w 1357"/>
                  <a:gd name="T25" fmla="*/ 168 h 1570"/>
                  <a:gd name="T26" fmla="*/ 1151 w 1357"/>
                  <a:gd name="T27" fmla="*/ 1570 h 1570"/>
                  <a:gd name="T28" fmla="*/ 852 w 1357"/>
                  <a:gd name="T29" fmla="*/ 1525 h 1570"/>
                  <a:gd name="T30" fmla="*/ 664 w 1357"/>
                  <a:gd name="T31" fmla="*/ 1471 h 1570"/>
                  <a:gd name="T32" fmla="*/ 281 w 1357"/>
                  <a:gd name="T33" fmla="*/ 1246 h 1570"/>
                  <a:gd name="T34" fmla="*/ 0 w 1357"/>
                  <a:gd name="T35" fmla="*/ 1074 h 157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57"/>
                  <a:gd name="T55" fmla="*/ 0 h 1570"/>
                  <a:gd name="T56" fmla="*/ 1357 w 1357"/>
                  <a:gd name="T57" fmla="*/ 1570 h 157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57" h="1570">
                    <a:moveTo>
                      <a:pt x="0" y="1074"/>
                    </a:moveTo>
                    <a:lnTo>
                      <a:pt x="88" y="999"/>
                    </a:lnTo>
                    <a:lnTo>
                      <a:pt x="53" y="939"/>
                    </a:lnTo>
                    <a:lnTo>
                      <a:pt x="71" y="853"/>
                    </a:lnTo>
                    <a:lnTo>
                      <a:pt x="160" y="705"/>
                    </a:lnTo>
                    <a:lnTo>
                      <a:pt x="227" y="663"/>
                    </a:lnTo>
                    <a:lnTo>
                      <a:pt x="188" y="611"/>
                    </a:lnTo>
                    <a:lnTo>
                      <a:pt x="162" y="464"/>
                    </a:lnTo>
                    <a:lnTo>
                      <a:pt x="192" y="203"/>
                    </a:lnTo>
                    <a:lnTo>
                      <a:pt x="237" y="188"/>
                    </a:lnTo>
                    <a:lnTo>
                      <a:pt x="312" y="233"/>
                    </a:lnTo>
                    <a:lnTo>
                      <a:pt x="378" y="0"/>
                    </a:lnTo>
                    <a:lnTo>
                      <a:pt x="1357" y="168"/>
                    </a:lnTo>
                    <a:lnTo>
                      <a:pt x="1151" y="1570"/>
                    </a:lnTo>
                    <a:lnTo>
                      <a:pt x="852" y="1525"/>
                    </a:lnTo>
                    <a:lnTo>
                      <a:pt x="664" y="1471"/>
                    </a:lnTo>
                    <a:lnTo>
                      <a:pt x="281" y="1246"/>
                    </a:lnTo>
                    <a:lnTo>
                      <a:pt x="0" y="1074"/>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79" name="Freeform 30"/>
              <p:cNvSpPr>
                <a:spLocks/>
              </p:cNvSpPr>
              <p:nvPr/>
            </p:nvSpPr>
            <p:spPr bwMode="gray">
              <a:xfrm>
                <a:off x="3277848" y="2969808"/>
                <a:ext cx="487245" cy="438521"/>
              </a:xfrm>
              <a:custGeom>
                <a:avLst/>
                <a:gdLst>
                  <a:gd name="T0" fmla="*/ 0 w 1001"/>
                  <a:gd name="T1" fmla="*/ 29 h 900"/>
                  <a:gd name="T2" fmla="*/ 40 w 1001"/>
                  <a:gd name="T3" fmla="*/ 309 h 900"/>
                  <a:gd name="T4" fmla="*/ 33 w 1001"/>
                  <a:gd name="T5" fmla="*/ 743 h 900"/>
                  <a:gd name="T6" fmla="*/ 53 w 1001"/>
                  <a:gd name="T7" fmla="*/ 768 h 900"/>
                  <a:gd name="T8" fmla="*/ 124 w 1001"/>
                  <a:gd name="T9" fmla="*/ 766 h 900"/>
                  <a:gd name="T10" fmla="*/ 127 w 1001"/>
                  <a:gd name="T11" fmla="*/ 900 h 900"/>
                  <a:gd name="T12" fmla="*/ 723 w 1001"/>
                  <a:gd name="T13" fmla="*/ 892 h 900"/>
                  <a:gd name="T14" fmla="*/ 710 w 1001"/>
                  <a:gd name="T15" fmla="*/ 755 h 900"/>
                  <a:gd name="T16" fmla="*/ 762 w 1001"/>
                  <a:gd name="T17" fmla="*/ 606 h 900"/>
                  <a:gd name="T18" fmla="*/ 836 w 1001"/>
                  <a:gd name="T19" fmla="*/ 502 h 900"/>
                  <a:gd name="T20" fmla="*/ 833 w 1001"/>
                  <a:gd name="T21" fmla="*/ 473 h 900"/>
                  <a:gd name="T22" fmla="*/ 887 w 1001"/>
                  <a:gd name="T23" fmla="*/ 381 h 900"/>
                  <a:gd name="T24" fmla="*/ 917 w 1001"/>
                  <a:gd name="T25" fmla="*/ 279 h 900"/>
                  <a:gd name="T26" fmla="*/ 905 w 1001"/>
                  <a:gd name="T27" fmla="*/ 271 h 900"/>
                  <a:gd name="T28" fmla="*/ 956 w 1001"/>
                  <a:gd name="T29" fmla="*/ 232 h 900"/>
                  <a:gd name="T30" fmla="*/ 1001 w 1001"/>
                  <a:gd name="T31" fmla="*/ 141 h 900"/>
                  <a:gd name="T32" fmla="*/ 985 w 1001"/>
                  <a:gd name="T33" fmla="*/ 121 h 900"/>
                  <a:gd name="T34" fmla="*/ 852 w 1001"/>
                  <a:gd name="T35" fmla="*/ 128 h 900"/>
                  <a:gd name="T36" fmla="*/ 888 w 1001"/>
                  <a:gd name="T37" fmla="*/ 78 h 900"/>
                  <a:gd name="T38" fmla="*/ 878 w 1001"/>
                  <a:gd name="T39" fmla="*/ 0 h 900"/>
                  <a:gd name="T40" fmla="*/ 0 w 1001"/>
                  <a:gd name="T41" fmla="*/ 29 h 90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001"/>
                  <a:gd name="T64" fmla="*/ 0 h 900"/>
                  <a:gd name="T65" fmla="*/ 1001 w 1001"/>
                  <a:gd name="T66" fmla="*/ 900 h 90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001" h="900">
                    <a:moveTo>
                      <a:pt x="0" y="29"/>
                    </a:moveTo>
                    <a:lnTo>
                      <a:pt x="40" y="309"/>
                    </a:lnTo>
                    <a:lnTo>
                      <a:pt x="33" y="743"/>
                    </a:lnTo>
                    <a:lnTo>
                      <a:pt x="53" y="768"/>
                    </a:lnTo>
                    <a:lnTo>
                      <a:pt x="124" y="766"/>
                    </a:lnTo>
                    <a:lnTo>
                      <a:pt x="127" y="900"/>
                    </a:lnTo>
                    <a:lnTo>
                      <a:pt x="723" y="892"/>
                    </a:lnTo>
                    <a:lnTo>
                      <a:pt x="710" y="755"/>
                    </a:lnTo>
                    <a:lnTo>
                      <a:pt x="762" y="606"/>
                    </a:lnTo>
                    <a:lnTo>
                      <a:pt x="836" y="502"/>
                    </a:lnTo>
                    <a:lnTo>
                      <a:pt x="833" y="473"/>
                    </a:lnTo>
                    <a:lnTo>
                      <a:pt x="887" y="381"/>
                    </a:lnTo>
                    <a:lnTo>
                      <a:pt x="917" y="279"/>
                    </a:lnTo>
                    <a:lnTo>
                      <a:pt x="905" y="271"/>
                    </a:lnTo>
                    <a:lnTo>
                      <a:pt x="956" y="232"/>
                    </a:lnTo>
                    <a:lnTo>
                      <a:pt x="1001" y="141"/>
                    </a:lnTo>
                    <a:lnTo>
                      <a:pt x="985" y="121"/>
                    </a:lnTo>
                    <a:lnTo>
                      <a:pt x="852" y="128"/>
                    </a:lnTo>
                    <a:lnTo>
                      <a:pt x="888" y="78"/>
                    </a:lnTo>
                    <a:lnTo>
                      <a:pt x="878" y="0"/>
                    </a:lnTo>
                    <a:lnTo>
                      <a:pt x="0" y="29"/>
                    </a:lnTo>
                    <a:close/>
                  </a:path>
                </a:pathLst>
              </a:custGeom>
              <a:pattFill prst="wdUpDiag">
                <a:fgClr>
                  <a:schemeClr val="accent1">
                    <a:lumMod val="40000"/>
                    <a:lumOff val="60000"/>
                  </a:schemeClr>
                </a:fgClr>
                <a:bgClr>
                  <a:schemeClr val="bg1"/>
                </a:bgClr>
              </a:pattFill>
              <a:ln w="9525">
                <a:solidFill>
                  <a:schemeClr val="tx1"/>
                </a:solidFill>
                <a:round/>
                <a:headEnd/>
                <a:tailEnd/>
              </a:ln>
            </p:spPr>
            <p:txBody>
              <a:bodyPr/>
              <a:lstStyle/>
              <a:p>
                <a:pPr>
                  <a:defRPr/>
                </a:pPr>
                <a:endParaRPr lang="en-US" sz="1100" dirty="0">
                  <a:latin typeface="+mj-lt"/>
                </a:endParaRPr>
              </a:p>
            </p:txBody>
          </p:sp>
          <p:sp>
            <p:nvSpPr>
              <p:cNvPr id="80" name="Freeform 31"/>
              <p:cNvSpPr>
                <a:spLocks/>
              </p:cNvSpPr>
              <p:nvPr/>
            </p:nvSpPr>
            <p:spPr bwMode="gray">
              <a:xfrm>
                <a:off x="570714" y="1922231"/>
                <a:ext cx="767899" cy="1314587"/>
              </a:xfrm>
              <a:custGeom>
                <a:avLst/>
                <a:gdLst>
                  <a:gd name="T0" fmla="*/ 37 w 1575"/>
                  <a:gd name="T1" fmla="*/ 490 h 2698"/>
                  <a:gd name="T2" fmla="*/ 57 w 1575"/>
                  <a:gd name="T3" fmla="*/ 548 h 2698"/>
                  <a:gd name="T4" fmla="*/ 11 w 1575"/>
                  <a:gd name="T5" fmla="*/ 758 h 2698"/>
                  <a:gd name="T6" fmla="*/ 39 w 1575"/>
                  <a:gd name="T7" fmla="*/ 821 h 2698"/>
                  <a:gd name="T8" fmla="*/ 164 w 1575"/>
                  <a:gd name="T9" fmla="*/ 1099 h 2698"/>
                  <a:gd name="T10" fmla="*/ 177 w 1575"/>
                  <a:gd name="T11" fmla="*/ 1092 h 2698"/>
                  <a:gd name="T12" fmla="*/ 183 w 1575"/>
                  <a:gd name="T13" fmla="*/ 1030 h 2698"/>
                  <a:gd name="T14" fmla="*/ 204 w 1575"/>
                  <a:gd name="T15" fmla="*/ 1022 h 2698"/>
                  <a:gd name="T16" fmla="*/ 225 w 1575"/>
                  <a:gd name="T17" fmla="*/ 1037 h 2698"/>
                  <a:gd name="T18" fmla="*/ 188 w 1575"/>
                  <a:gd name="T19" fmla="*/ 1074 h 2698"/>
                  <a:gd name="T20" fmla="*/ 203 w 1575"/>
                  <a:gd name="T21" fmla="*/ 1094 h 2698"/>
                  <a:gd name="T22" fmla="*/ 235 w 1575"/>
                  <a:gd name="T23" fmla="*/ 1214 h 2698"/>
                  <a:gd name="T24" fmla="*/ 215 w 1575"/>
                  <a:gd name="T25" fmla="*/ 1207 h 2698"/>
                  <a:gd name="T26" fmla="*/ 171 w 1575"/>
                  <a:gd name="T27" fmla="*/ 1160 h 2698"/>
                  <a:gd name="T28" fmla="*/ 183 w 1575"/>
                  <a:gd name="T29" fmla="*/ 1114 h 2698"/>
                  <a:gd name="T30" fmla="*/ 162 w 1575"/>
                  <a:gd name="T31" fmla="*/ 1116 h 2698"/>
                  <a:gd name="T32" fmla="*/ 138 w 1575"/>
                  <a:gd name="T33" fmla="*/ 1167 h 2698"/>
                  <a:gd name="T34" fmla="*/ 145 w 1575"/>
                  <a:gd name="T35" fmla="*/ 1276 h 2698"/>
                  <a:gd name="T36" fmla="*/ 173 w 1575"/>
                  <a:gd name="T37" fmla="*/ 1326 h 2698"/>
                  <a:gd name="T38" fmla="*/ 229 w 1575"/>
                  <a:gd name="T39" fmla="*/ 1369 h 2698"/>
                  <a:gd name="T40" fmla="*/ 209 w 1575"/>
                  <a:gd name="T41" fmla="*/ 1421 h 2698"/>
                  <a:gd name="T42" fmla="*/ 177 w 1575"/>
                  <a:gd name="T43" fmla="*/ 1431 h 2698"/>
                  <a:gd name="T44" fmla="*/ 173 w 1575"/>
                  <a:gd name="T45" fmla="*/ 1500 h 2698"/>
                  <a:gd name="T46" fmla="*/ 249 w 1575"/>
                  <a:gd name="T47" fmla="*/ 1661 h 2698"/>
                  <a:gd name="T48" fmla="*/ 311 w 1575"/>
                  <a:gd name="T49" fmla="*/ 1762 h 2698"/>
                  <a:gd name="T50" fmla="*/ 301 w 1575"/>
                  <a:gd name="T51" fmla="*/ 1821 h 2698"/>
                  <a:gd name="T52" fmla="*/ 338 w 1575"/>
                  <a:gd name="T53" fmla="*/ 1857 h 2698"/>
                  <a:gd name="T54" fmla="*/ 323 w 1575"/>
                  <a:gd name="T55" fmla="*/ 1896 h 2698"/>
                  <a:gd name="T56" fmla="*/ 300 w 1575"/>
                  <a:gd name="T57" fmla="*/ 1990 h 2698"/>
                  <a:gd name="T58" fmla="*/ 327 w 1575"/>
                  <a:gd name="T59" fmla="*/ 2025 h 2698"/>
                  <a:gd name="T60" fmla="*/ 520 w 1575"/>
                  <a:gd name="T61" fmla="*/ 2094 h 2698"/>
                  <a:gd name="T62" fmla="*/ 598 w 1575"/>
                  <a:gd name="T63" fmla="*/ 2199 h 2698"/>
                  <a:gd name="T64" fmla="*/ 688 w 1575"/>
                  <a:gd name="T65" fmla="*/ 2234 h 2698"/>
                  <a:gd name="T66" fmla="*/ 690 w 1575"/>
                  <a:gd name="T67" fmla="*/ 2298 h 2698"/>
                  <a:gd name="T68" fmla="*/ 750 w 1575"/>
                  <a:gd name="T69" fmla="*/ 2314 h 2698"/>
                  <a:gd name="T70" fmla="*/ 832 w 1575"/>
                  <a:gd name="T71" fmla="*/ 2423 h 2698"/>
                  <a:gd name="T72" fmla="*/ 876 w 1575"/>
                  <a:gd name="T73" fmla="*/ 2518 h 2698"/>
                  <a:gd name="T74" fmla="*/ 878 w 1575"/>
                  <a:gd name="T75" fmla="*/ 2662 h 2698"/>
                  <a:gd name="T76" fmla="*/ 1436 w 1575"/>
                  <a:gd name="T77" fmla="*/ 2698 h 2698"/>
                  <a:gd name="T78" fmla="*/ 1401 w 1575"/>
                  <a:gd name="T79" fmla="*/ 2638 h 2698"/>
                  <a:gd name="T80" fmla="*/ 1419 w 1575"/>
                  <a:gd name="T81" fmla="*/ 2552 h 2698"/>
                  <a:gd name="T82" fmla="*/ 1508 w 1575"/>
                  <a:gd name="T83" fmla="*/ 2404 h 2698"/>
                  <a:gd name="T84" fmla="*/ 1575 w 1575"/>
                  <a:gd name="T85" fmla="*/ 2362 h 2698"/>
                  <a:gd name="T86" fmla="*/ 1536 w 1575"/>
                  <a:gd name="T87" fmla="*/ 2310 h 2698"/>
                  <a:gd name="T88" fmla="*/ 1510 w 1575"/>
                  <a:gd name="T89" fmla="*/ 2163 h 2698"/>
                  <a:gd name="T90" fmla="*/ 766 w 1575"/>
                  <a:gd name="T91" fmla="*/ 1041 h 2698"/>
                  <a:gd name="T92" fmla="*/ 708 w 1575"/>
                  <a:gd name="T93" fmla="*/ 927 h 2698"/>
                  <a:gd name="T94" fmla="*/ 896 w 1575"/>
                  <a:gd name="T95" fmla="*/ 210 h 2698"/>
                  <a:gd name="T96" fmla="*/ 152 w 1575"/>
                  <a:gd name="T97" fmla="*/ 0 h 2698"/>
                  <a:gd name="T98" fmla="*/ 130 w 1575"/>
                  <a:gd name="T99" fmla="*/ 44 h 2698"/>
                  <a:gd name="T100" fmla="*/ 137 w 1575"/>
                  <a:gd name="T101" fmla="*/ 137 h 2698"/>
                  <a:gd name="T102" fmla="*/ 0 w 1575"/>
                  <a:gd name="T103" fmla="*/ 360 h 2698"/>
                  <a:gd name="T104" fmla="*/ 37 w 1575"/>
                  <a:gd name="T105" fmla="*/ 490 h 269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575"/>
                  <a:gd name="T160" fmla="*/ 0 h 2698"/>
                  <a:gd name="T161" fmla="*/ 1575 w 1575"/>
                  <a:gd name="T162" fmla="*/ 2698 h 2698"/>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575" h="2698">
                    <a:moveTo>
                      <a:pt x="37" y="490"/>
                    </a:moveTo>
                    <a:lnTo>
                      <a:pt x="57" y="548"/>
                    </a:lnTo>
                    <a:lnTo>
                      <a:pt x="11" y="758"/>
                    </a:lnTo>
                    <a:lnTo>
                      <a:pt x="39" y="821"/>
                    </a:lnTo>
                    <a:lnTo>
                      <a:pt x="164" y="1099"/>
                    </a:lnTo>
                    <a:lnTo>
                      <a:pt x="177" y="1092"/>
                    </a:lnTo>
                    <a:lnTo>
                      <a:pt x="183" y="1030"/>
                    </a:lnTo>
                    <a:lnTo>
                      <a:pt x="204" y="1022"/>
                    </a:lnTo>
                    <a:lnTo>
                      <a:pt x="225" y="1037"/>
                    </a:lnTo>
                    <a:lnTo>
                      <a:pt x="188" y="1074"/>
                    </a:lnTo>
                    <a:lnTo>
                      <a:pt x="203" y="1094"/>
                    </a:lnTo>
                    <a:lnTo>
                      <a:pt x="235" y="1214"/>
                    </a:lnTo>
                    <a:lnTo>
                      <a:pt x="215" y="1207"/>
                    </a:lnTo>
                    <a:lnTo>
                      <a:pt x="171" y="1160"/>
                    </a:lnTo>
                    <a:lnTo>
                      <a:pt x="183" y="1114"/>
                    </a:lnTo>
                    <a:lnTo>
                      <a:pt x="162" y="1116"/>
                    </a:lnTo>
                    <a:lnTo>
                      <a:pt x="138" y="1167"/>
                    </a:lnTo>
                    <a:lnTo>
                      <a:pt x="145" y="1276"/>
                    </a:lnTo>
                    <a:lnTo>
                      <a:pt x="173" y="1326"/>
                    </a:lnTo>
                    <a:lnTo>
                      <a:pt x="229" y="1369"/>
                    </a:lnTo>
                    <a:lnTo>
                      <a:pt x="209" y="1421"/>
                    </a:lnTo>
                    <a:lnTo>
                      <a:pt x="177" y="1431"/>
                    </a:lnTo>
                    <a:lnTo>
                      <a:pt x="173" y="1500"/>
                    </a:lnTo>
                    <a:lnTo>
                      <a:pt x="249" y="1661"/>
                    </a:lnTo>
                    <a:lnTo>
                      <a:pt x="311" y="1762"/>
                    </a:lnTo>
                    <a:lnTo>
                      <a:pt x="301" y="1821"/>
                    </a:lnTo>
                    <a:lnTo>
                      <a:pt x="338" y="1857"/>
                    </a:lnTo>
                    <a:lnTo>
                      <a:pt x="323" y="1896"/>
                    </a:lnTo>
                    <a:lnTo>
                      <a:pt x="300" y="1990"/>
                    </a:lnTo>
                    <a:lnTo>
                      <a:pt x="327" y="2025"/>
                    </a:lnTo>
                    <a:lnTo>
                      <a:pt x="520" y="2094"/>
                    </a:lnTo>
                    <a:lnTo>
                      <a:pt x="598" y="2199"/>
                    </a:lnTo>
                    <a:lnTo>
                      <a:pt x="688" y="2234"/>
                    </a:lnTo>
                    <a:lnTo>
                      <a:pt x="690" y="2298"/>
                    </a:lnTo>
                    <a:lnTo>
                      <a:pt x="750" y="2314"/>
                    </a:lnTo>
                    <a:lnTo>
                      <a:pt x="832" y="2423"/>
                    </a:lnTo>
                    <a:lnTo>
                      <a:pt x="876" y="2518"/>
                    </a:lnTo>
                    <a:lnTo>
                      <a:pt x="878" y="2662"/>
                    </a:lnTo>
                    <a:lnTo>
                      <a:pt x="1436" y="2698"/>
                    </a:lnTo>
                    <a:lnTo>
                      <a:pt x="1401" y="2638"/>
                    </a:lnTo>
                    <a:lnTo>
                      <a:pt x="1419" y="2552"/>
                    </a:lnTo>
                    <a:lnTo>
                      <a:pt x="1508" y="2404"/>
                    </a:lnTo>
                    <a:lnTo>
                      <a:pt x="1575" y="2362"/>
                    </a:lnTo>
                    <a:lnTo>
                      <a:pt x="1536" y="2310"/>
                    </a:lnTo>
                    <a:lnTo>
                      <a:pt x="1510" y="2163"/>
                    </a:lnTo>
                    <a:lnTo>
                      <a:pt x="766" y="1041"/>
                    </a:lnTo>
                    <a:lnTo>
                      <a:pt x="708" y="927"/>
                    </a:lnTo>
                    <a:lnTo>
                      <a:pt x="896" y="210"/>
                    </a:lnTo>
                    <a:lnTo>
                      <a:pt x="152" y="0"/>
                    </a:lnTo>
                    <a:lnTo>
                      <a:pt x="130" y="44"/>
                    </a:lnTo>
                    <a:lnTo>
                      <a:pt x="137" y="137"/>
                    </a:lnTo>
                    <a:lnTo>
                      <a:pt x="0" y="360"/>
                    </a:lnTo>
                    <a:lnTo>
                      <a:pt x="37" y="490"/>
                    </a:lnTo>
                    <a:close/>
                  </a:path>
                </a:pathLst>
              </a:custGeom>
              <a:solidFill>
                <a:schemeClr val="accent1">
                  <a:lumMod val="40000"/>
                  <a:lumOff val="60000"/>
                </a:schemeClr>
              </a:solidFill>
              <a:ln w="9525">
                <a:solidFill>
                  <a:schemeClr val="tx1"/>
                </a:solidFill>
                <a:round/>
                <a:headEnd/>
                <a:tailEnd/>
              </a:ln>
            </p:spPr>
            <p:txBody>
              <a:bodyPr/>
              <a:lstStyle/>
              <a:p>
                <a:pPr>
                  <a:defRPr/>
                </a:pPr>
                <a:endParaRPr lang="en-US" sz="1100" dirty="0">
                  <a:latin typeface="+mj-lt"/>
                </a:endParaRPr>
              </a:p>
            </p:txBody>
          </p:sp>
          <p:sp>
            <p:nvSpPr>
              <p:cNvPr id="81" name="Freeform 32"/>
              <p:cNvSpPr>
                <a:spLocks/>
              </p:cNvSpPr>
              <p:nvPr/>
            </p:nvSpPr>
            <p:spPr bwMode="gray">
              <a:xfrm>
                <a:off x="1888225" y="2345160"/>
                <a:ext cx="704556" cy="556434"/>
              </a:xfrm>
              <a:custGeom>
                <a:avLst/>
                <a:gdLst>
                  <a:gd name="T0" fmla="*/ 0 w 1445"/>
                  <a:gd name="T1" fmla="*/ 1000 h 1144"/>
                  <a:gd name="T2" fmla="*/ 140 w 1445"/>
                  <a:gd name="T3" fmla="*/ 0 h 1144"/>
                  <a:gd name="T4" fmla="*/ 1070 w 1445"/>
                  <a:gd name="T5" fmla="*/ 106 h 1144"/>
                  <a:gd name="T6" fmla="*/ 1445 w 1445"/>
                  <a:gd name="T7" fmla="*/ 137 h 1144"/>
                  <a:gd name="T8" fmla="*/ 1429 w 1445"/>
                  <a:gd name="T9" fmla="*/ 386 h 1144"/>
                  <a:gd name="T10" fmla="*/ 1379 w 1445"/>
                  <a:gd name="T11" fmla="*/ 1144 h 1144"/>
                  <a:gd name="T12" fmla="*/ 1190 w 1445"/>
                  <a:gd name="T13" fmla="*/ 1130 h 1144"/>
                  <a:gd name="T14" fmla="*/ 596 w 1445"/>
                  <a:gd name="T15" fmla="*/ 1078 h 1144"/>
                  <a:gd name="T16" fmla="*/ 0 w 1445"/>
                  <a:gd name="T17" fmla="*/ 1000 h 114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45"/>
                  <a:gd name="T28" fmla="*/ 0 h 1144"/>
                  <a:gd name="T29" fmla="*/ 1445 w 1445"/>
                  <a:gd name="T30" fmla="*/ 1144 h 114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45" h="1144">
                    <a:moveTo>
                      <a:pt x="0" y="1000"/>
                    </a:moveTo>
                    <a:lnTo>
                      <a:pt x="140" y="0"/>
                    </a:lnTo>
                    <a:lnTo>
                      <a:pt x="1070" y="106"/>
                    </a:lnTo>
                    <a:lnTo>
                      <a:pt x="1445" y="137"/>
                    </a:lnTo>
                    <a:lnTo>
                      <a:pt x="1429" y="386"/>
                    </a:lnTo>
                    <a:lnTo>
                      <a:pt x="1379" y="1144"/>
                    </a:lnTo>
                    <a:lnTo>
                      <a:pt x="1190" y="1130"/>
                    </a:lnTo>
                    <a:lnTo>
                      <a:pt x="596" y="1078"/>
                    </a:lnTo>
                    <a:lnTo>
                      <a:pt x="0" y="1000"/>
                    </a:lnTo>
                    <a:close/>
                  </a:path>
                </a:pathLst>
              </a:custGeom>
              <a:solidFill>
                <a:schemeClr val="accent1">
                  <a:lumMod val="40000"/>
                  <a:lumOff val="60000"/>
                </a:schemeClr>
              </a:solidFill>
              <a:ln w="9525">
                <a:solidFill>
                  <a:schemeClr val="tx1"/>
                </a:solidFill>
                <a:round/>
                <a:headEnd/>
                <a:tailEnd/>
              </a:ln>
            </p:spPr>
            <p:txBody>
              <a:bodyPr/>
              <a:lstStyle/>
              <a:p>
                <a:pPr>
                  <a:defRPr/>
                </a:pPr>
                <a:endParaRPr lang="en-US" sz="1100" dirty="0">
                  <a:latin typeface="+mj-lt"/>
                </a:endParaRPr>
              </a:p>
            </p:txBody>
          </p:sp>
          <p:sp>
            <p:nvSpPr>
              <p:cNvPr id="82" name="Freeform 33"/>
              <p:cNvSpPr>
                <a:spLocks/>
              </p:cNvSpPr>
              <p:nvPr/>
            </p:nvSpPr>
            <p:spPr bwMode="gray">
              <a:xfrm>
                <a:off x="5157640" y="2044042"/>
                <a:ext cx="166638" cy="156893"/>
              </a:xfrm>
              <a:custGeom>
                <a:avLst/>
                <a:gdLst>
                  <a:gd name="T0" fmla="*/ 0 w 341"/>
                  <a:gd name="T1" fmla="*/ 65 h 324"/>
                  <a:gd name="T2" fmla="*/ 28 w 341"/>
                  <a:gd name="T3" fmla="*/ 235 h 324"/>
                  <a:gd name="T4" fmla="*/ 27 w 341"/>
                  <a:gd name="T5" fmla="*/ 324 h 324"/>
                  <a:gd name="T6" fmla="*/ 55 w 341"/>
                  <a:gd name="T7" fmla="*/ 316 h 324"/>
                  <a:gd name="T8" fmla="*/ 69 w 341"/>
                  <a:gd name="T9" fmla="*/ 291 h 324"/>
                  <a:gd name="T10" fmla="*/ 119 w 341"/>
                  <a:gd name="T11" fmla="*/ 271 h 324"/>
                  <a:gd name="T12" fmla="*/ 143 w 341"/>
                  <a:gd name="T13" fmla="*/ 226 h 324"/>
                  <a:gd name="T14" fmla="*/ 156 w 341"/>
                  <a:gd name="T15" fmla="*/ 235 h 324"/>
                  <a:gd name="T16" fmla="*/ 193 w 341"/>
                  <a:gd name="T17" fmla="*/ 220 h 324"/>
                  <a:gd name="T18" fmla="*/ 244 w 341"/>
                  <a:gd name="T19" fmla="*/ 209 h 324"/>
                  <a:gd name="T20" fmla="*/ 248 w 341"/>
                  <a:gd name="T21" fmla="*/ 193 h 324"/>
                  <a:gd name="T22" fmla="*/ 262 w 341"/>
                  <a:gd name="T23" fmla="*/ 201 h 324"/>
                  <a:gd name="T24" fmla="*/ 279 w 341"/>
                  <a:gd name="T25" fmla="*/ 187 h 324"/>
                  <a:gd name="T26" fmla="*/ 306 w 341"/>
                  <a:gd name="T27" fmla="*/ 182 h 324"/>
                  <a:gd name="T28" fmla="*/ 341 w 341"/>
                  <a:gd name="T29" fmla="*/ 164 h 324"/>
                  <a:gd name="T30" fmla="*/ 308 w 341"/>
                  <a:gd name="T31" fmla="*/ 0 h 324"/>
                  <a:gd name="T32" fmla="*/ 0 w 341"/>
                  <a:gd name="T33" fmla="*/ 65 h 3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1"/>
                  <a:gd name="T52" fmla="*/ 0 h 324"/>
                  <a:gd name="T53" fmla="*/ 341 w 341"/>
                  <a:gd name="T54" fmla="*/ 324 h 3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1" h="324">
                    <a:moveTo>
                      <a:pt x="0" y="65"/>
                    </a:moveTo>
                    <a:lnTo>
                      <a:pt x="28" y="235"/>
                    </a:lnTo>
                    <a:lnTo>
                      <a:pt x="27" y="324"/>
                    </a:lnTo>
                    <a:lnTo>
                      <a:pt x="55" y="316"/>
                    </a:lnTo>
                    <a:lnTo>
                      <a:pt x="69" y="291"/>
                    </a:lnTo>
                    <a:lnTo>
                      <a:pt x="119" y="271"/>
                    </a:lnTo>
                    <a:lnTo>
                      <a:pt x="143" y="226"/>
                    </a:lnTo>
                    <a:lnTo>
                      <a:pt x="156" y="235"/>
                    </a:lnTo>
                    <a:lnTo>
                      <a:pt x="193" y="220"/>
                    </a:lnTo>
                    <a:lnTo>
                      <a:pt x="244" y="209"/>
                    </a:lnTo>
                    <a:lnTo>
                      <a:pt x="248" y="193"/>
                    </a:lnTo>
                    <a:lnTo>
                      <a:pt x="262" y="201"/>
                    </a:lnTo>
                    <a:lnTo>
                      <a:pt x="279" y="187"/>
                    </a:lnTo>
                    <a:lnTo>
                      <a:pt x="306" y="182"/>
                    </a:lnTo>
                    <a:lnTo>
                      <a:pt x="341" y="164"/>
                    </a:lnTo>
                    <a:lnTo>
                      <a:pt x="308" y="0"/>
                    </a:lnTo>
                    <a:lnTo>
                      <a:pt x="0" y="65"/>
                    </a:lnTo>
                    <a:close/>
                  </a:path>
                </a:pathLst>
              </a:custGeom>
              <a:solidFill>
                <a:schemeClr val="accent1">
                  <a:lumMod val="40000"/>
                  <a:lumOff val="60000"/>
                </a:schemeClr>
              </a:solidFill>
              <a:ln w="9525">
                <a:solidFill>
                  <a:schemeClr val="tx1"/>
                </a:solidFill>
                <a:round/>
                <a:headEnd/>
                <a:tailEnd/>
              </a:ln>
            </p:spPr>
            <p:txBody>
              <a:bodyPr/>
              <a:lstStyle/>
              <a:p>
                <a:pPr>
                  <a:defRPr/>
                </a:pPr>
                <a:endParaRPr lang="en-US" sz="1100" dirty="0">
                  <a:latin typeface="+mj-lt"/>
                </a:endParaRPr>
              </a:p>
            </p:txBody>
          </p:sp>
          <p:sp>
            <p:nvSpPr>
              <p:cNvPr id="83" name="Freeform 34"/>
              <p:cNvSpPr>
                <a:spLocks/>
              </p:cNvSpPr>
              <p:nvPr/>
            </p:nvSpPr>
            <p:spPr bwMode="gray">
              <a:xfrm>
                <a:off x="5013416" y="2383165"/>
                <a:ext cx="101347" cy="166638"/>
              </a:xfrm>
              <a:custGeom>
                <a:avLst/>
                <a:gdLst>
                  <a:gd name="T0" fmla="*/ 0 w 208"/>
                  <a:gd name="T1" fmla="*/ 34 h 343"/>
                  <a:gd name="T2" fmla="*/ 29 w 208"/>
                  <a:gd name="T3" fmla="*/ 0 h 343"/>
                  <a:gd name="T4" fmla="*/ 69 w 208"/>
                  <a:gd name="T5" fmla="*/ 0 h 343"/>
                  <a:gd name="T6" fmla="*/ 55 w 208"/>
                  <a:gd name="T7" fmla="*/ 36 h 343"/>
                  <a:gd name="T8" fmla="*/ 43 w 208"/>
                  <a:gd name="T9" fmla="*/ 49 h 343"/>
                  <a:gd name="T10" fmla="*/ 51 w 208"/>
                  <a:gd name="T11" fmla="*/ 86 h 343"/>
                  <a:gd name="T12" fmla="*/ 72 w 208"/>
                  <a:gd name="T13" fmla="*/ 111 h 343"/>
                  <a:gd name="T14" fmla="*/ 102 w 208"/>
                  <a:gd name="T15" fmla="*/ 141 h 343"/>
                  <a:gd name="T16" fmla="*/ 111 w 208"/>
                  <a:gd name="T17" fmla="*/ 181 h 343"/>
                  <a:gd name="T18" fmla="*/ 133 w 208"/>
                  <a:gd name="T19" fmla="*/ 208 h 343"/>
                  <a:gd name="T20" fmla="*/ 152 w 208"/>
                  <a:gd name="T21" fmla="*/ 228 h 343"/>
                  <a:gd name="T22" fmla="*/ 183 w 208"/>
                  <a:gd name="T23" fmla="*/ 240 h 343"/>
                  <a:gd name="T24" fmla="*/ 199 w 208"/>
                  <a:gd name="T25" fmla="*/ 271 h 343"/>
                  <a:gd name="T26" fmla="*/ 173 w 208"/>
                  <a:gd name="T27" fmla="*/ 297 h 343"/>
                  <a:gd name="T28" fmla="*/ 200 w 208"/>
                  <a:gd name="T29" fmla="*/ 291 h 343"/>
                  <a:gd name="T30" fmla="*/ 208 w 208"/>
                  <a:gd name="T31" fmla="*/ 318 h 343"/>
                  <a:gd name="T32" fmla="*/ 153 w 208"/>
                  <a:gd name="T33" fmla="*/ 330 h 343"/>
                  <a:gd name="T34" fmla="*/ 83 w 208"/>
                  <a:gd name="T35" fmla="*/ 343 h 343"/>
                  <a:gd name="T36" fmla="*/ 78 w 208"/>
                  <a:gd name="T37" fmla="*/ 319 h 343"/>
                  <a:gd name="T38" fmla="*/ 0 w 208"/>
                  <a:gd name="T39" fmla="*/ 34 h 3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8"/>
                  <a:gd name="T61" fmla="*/ 0 h 343"/>
                  <a:gd name="T62" fmla="*/ 208 w 208"/>
                  <a:gd name="T63" fmla="*/ 343 h 3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8" h="343">
                    <a:moveTo>
                      <a:pt x="0" y="34"/>
                    </a:moveTo>
                    <a:lnTo>
                      <a:pt x="29" y="0"/>
                    </a:lnTo>
                    <a:lnTo>
                      <a:pt x="69" y="0"/>
                    </a:lnTo>
                    <a:lnTo>
                      <a:pt x="55" y="36"/>
                    </a:lnTo>
                    <a:lnTo>
                      <a:pt x="43" y="49"/>
                    </a:lnTo>
                    <a:lnTo>
                      <a:pt x="51" y="86"/>
                    </a:lnTo>
                    <a:lnTo>
                      <a:pt x="72" y="111"/>
                    </a:lnTo>
                    <a:lnTo>
                      <a:pt x="102" y="141"/>
                    </a:lnTo>
                    <a:lnTo>
                      <a:pt x="111" y="181"/>
                    </a:lnTo>
                    <a:lnTo>
                      <a:pt x="133" y="208"/>
                    </a:lnTo>
                    <a:lnTo>
                      <a:pt x="152" y="228"/>
                    </a:lnTo>
                    <a:lnTo>
                      <a:pt x="183" y="240"/>
                    </a:lnTo>
                    <a:lnTo>
                      <a:pt x="199" y="271"/>
                    </a:lnTo>
                    <a:lnTo>
                      <a:pt x="173" y="297"/>
                    </a:lnTo>
                    <a:lnTo>
                      <a:pt x="200" y="291"/>
                    </a:lnTo>
                    <a:lnTo>
                      <a:pt x="208" y="318"/>
                    </a:lnTo>
                    <a:lnTo>
                      <a:pt x="153" y="330"/>
                    </a:lnTo>
                    <a:lnTo>
                      <a:pt x="83" y="343"/>
                    </a:lnTo>
                    <a:lnTo>
                      <a:pt x="78" y="319"/>
                    </a:lnTo>
                    <a:lnTo>
                      <a:pt x="0" y="34"/>
                    </a:lnTo>
                    <a:close/>
                  </a:path>
                </a:pathLst>
              </a:custGeom>
              <a:grpFill/>
              <a:ln w="9525">
                <a:solidFill>
                  <a:schemeClr val="tx1"/>
                </a:solidFill>
                <a:round/>
                <a:headEnd/>
                <a:tailEnd/>
              </a:ln>
            </p:spPr>
            <p:txBody>
              <a:bodyPr/>
              <a:lstStyle/>
              <a:p>
                <a:pPr>
                  <a:defRPr/>
                </a:pPr>
                <a:endParaRPr lang="en-US" sz="1100" dirty="0">
                  <a:solidFill>
                    <a:srgbClr val="CCACCA"/>
                  </a:solidFill>
                  <a:latin typeface="+mj-lt"/>
                </a:endParaRPr>
              </a:p>
            </p:txBody>
          </p:sp>
          <p:sp>
            <p:nvSpPr>
              <p:cNvPr id="84" name="Freeform 35"/>
              <p:cNvSpPr>
                <a:spLocks/>
              </p:cNvSpPr>
              <p:nvPr/>
            </p:nvSpPr>
            <p:spPr bwMode="gray">
              <a:xfrm>
                <a:off x="4910120" y="2512773"/>
                <a:ext cx="15592" cy="20464"/>
              </a:xfrm>
              <a:custGeom>
                <a:avLst/>
                <a:gdLst>
                  <a:gd name="T0" fmla="*/ 0 w 32"/>
                  <a:gd name="T1" fmla="*/ 12 h 43"/>
                  <a:gd name="T2" fmla="*/ 21 w 32"/>
                  <a:gd name="T3" fmla="*/ 0 h 43"/>
                  <a:gd name="T4" fmla="*/ 32 w 32"/>
                  <a:gd name="T5" fmla="*/ 24 h 43"/>
                  <a:gd name="T6" fmla="*/ 21 w 32"/>
                  <a:gd name="T7" fmla="*/ 43 h 43"/>
                  <a:gd name="T8" fmla="*/ 0 w 32"/>
                  <a:gd name="T9" fmla="*/ 12 h 43"/>
                  <a:gd name="T10" fmla="*/ 0 60000 65536"/>
                  <a:gd name="T11" fmla="*/ 0 60000 65536"/>
                  <a:gd name="T12" fmla="*/ 0 60000 65536"/>
                  <a:gd name="T13" fmla="*/ 0 60000 65536"/>
                  <a:gd name="T14" fmla="*/ 0 60000 65536"/>
                  <a:gd name="T15" fmla="*/ 0 w 32"/>
                  <a:gd name="T16" fmla="*/ 0 h 43"/>
                  <a:gd name="T17" fmla="*/ 32 w 32"/>
                  <a:gd name="T18" fmla="*/ 43 h 43"/>
                </a:gdLst>
                <a:ahLst/>
                <a:cxnLst>
                  <a:cxn ang="T10">
                    <a:pos x="T0" y="T1"/>
                  </a:cxn>
                  <a:cxn ang="T11">
                    <a:pos x="T2" y="T3"/>
                  </a:cxn>
                  <a:cxn ang="T12">
                    <a:pos x="T4" y="T5"/>
                  </a:cxn>
                  <a:cxn ang="T13">
                    <a:pos x="T6" y="T7"/>
                  </a:cxn>
                  <a:cxn ang="T14">
                    <a:pos x="T8" y="T9"/>
                  </a:cxn>
                </a:cxnLst>
                <a:rect l="T15" t="T16" r="T17" b="T18"/>
                <a:pathLst>
                  <a:path w="32" h="43">
                    <a:moveTo>
                      <a:pt x="0" y="12"/>
                    </a:moveTo>
                    <a:lnTo>
                      <a:pt x="21" y="0"/>
                    </a:lnTo>
                    <a:lnTo>
                      <a:pt x="32" y="24"/>
                    </a:lnTo>
                    <a:lnTo>
                      <a:pt x="21" y="43"/>
                    </a:lnTo>
                    <a:lnTo>
                      <a:pt x="0" y="12"/>
                    </a:lnTo>
                    <a:close/>
                  </a:path>
                </a:pathLst>
              </a:custGeom>
              <a:grpFill/>
              <a:ln w="9525">
                <a:solidFill>
                  <a:schemeClr val="tx1"/>
                </a:solidFill>
                <a:round/>
                <a:headEnd/>
                <a:tailEnd/>
              </a:ln>
            </p:spPr>
            <p:txBody>
              <a:bodyPr/>
              <a:lstStyle/>
              <a:p>
                <a:pPr>
                  <a:defRPr/>
                </a:pPr>
                <a:endParaRPr lang="en-US" sz="1100" dirty="0">
                  <a:latin typeface="+mj-lt"/>
                </a:endParaRPr>
              </a:p>
            </p:txBody>
          </p:sp>
          <p:grpSp>
            <p:nvGrpSpPr>
              <p:cNvPr id="85" name="Group 111"/>
              <p:cNvGrpSpPr/>
              <p:nvPr/>
            </p:nvGrpSpPr>
            <p:grpSpPr bwMode="gray">
              <a:xfrm>
                <a:off x="4014563" y="3578865"/>
                <a:ext cx="877041" cy="745485"/>
                <a:chOff x="4014563" y="3578865"/>
                <a:chExt cx="877041" cy="745485"/>
              </a:xfrm>
              <a:grpFill/>
            </p:grpSpPr>
            <p:sp>
              <p:nvSpPr>
                <p:cNvPr id="159" name="Freeform 36"/>
                <p:cNvSpPr>
                  <a:spLocks/>
                </p:cNvSpPr>
                <p:nvPr/>
              </p:nvSpPr>
              <p:spPr bwMode="gray">
                <a:xfrm>
                  <a:off x="4014563" y="3578865"/>
                  <a:ext cx="877041" cy="665577"/>
                </a:xfrm>
                <a:custGeom>
                  <a:avLst/>
                  <a:gdLst>
                    <a:gd name="T0" fmla="*/ 0 w 1801"/>
                    <a:gd name="T1" fmla="*/ 130 h 1367"/>
                    <a:gd name="T2" fmla="*/ 43 w 1801"/>
                    <a:gd name="T3" fmla="*/ 209 h 1367"/>
                    <a:gd name="T4" fmla="*/ 38 w 1801"/>
                    <a:gd name="T5" fmla="*/ 263 h 1367"/>
                    <a:gd name="T6" fmla="*/ 102 w 1801"/>
                    <a:gd name="T7" fmla="*/ 222 h 1367"/>
                    <a:gd name="T8" fmla="*/ 117 w 1801"/>
                    <a:gd name="T9" fmla="*/ 212 h 1367"/>
                    <a:gd name="T10" fmla="*/ 149 w 1801"/>
                    <a:gd name="T11" fmla="*/ 208 h 1367"/>
                    <a:gd name="T12" fmla="*/ 225 w 1801"/>
                    <a:gd name="T13" fmla="*/ 214 h 1367"/>
                    <a:gd name="T14" fmla="*/ 264 w 1801"/>
                    <a:gd name="T15" fmla="*/ 199 h 1367"/>
                    <a:gd name="T16" fmla="*/ 330 w 1801"/>
                    <a:gd name="T17" fmla="*/ 202 h 1367"/>
                    <a:gd name="T18" fmla="*/ 274 w 1801"/>
                    <a:gd name="T19" fmla="*/ 220 h 1367"/>
                    <a:gd name="T20" fmla="*/ 420 w 1801"/>
                    <a:gd name="T21" fmla="*/ 269 h 1367"/>
                    <a:gd name="T22" fmla="*/ 430 w 1801"/>
                    <a:gd name="T23" fmla="*/ 260 h 1367"/>
                    <a:gd name="T24" fmla="*/ 435 w 1801"/>
                    <a:gd name="T25" fmla="*/ 274 h 1367"/>
                    <a:gd name="T26" fmla="*/ 520 w 1801"/>
                    <a:gd name="T27" fmla="*/ 334 h 1367"/>
                    <a:gd name="T28" fmla="*/ 494 w 1801"/>
                    <a:gd name="T29" fmla="*/ 327 h 1367"/>
                    <a:gd name="T30" fmla="*/ 557 w 1801"/>
                    <a:gd name="T31" fmla="*/ 357 h 1367"/>
                    <a:gd name="T32" fmla="*/ 609 w 1801"/>
                    <a:gd name="T33" fmla="*/ 332 h 1367"/>
                    <a:gd name="T34" fmla="*/ 682 w 1801"/>
                    <a:gd name="T35" fmla="*/ 298 h 1367"/>
                    <a:gd name="T36" fmla="*/ 709 w 1801"/>
                    <a:gd name="T37" fmla="*/ 279 h 1367"/>
                    <a:gd name="T38" fmla="*/ 801 w 1801"/>
                    <a:gd name="T39" fmla="*/ 238 h 1367"/>
                    <a:gd name="T40" fmla="*/ 906 w 1801"/>
                    <a:gd name="T41" fmla="*/ 319 h 1367"/>
                    <a:gd name="T42" fmla="*/ 948 w 1801"/>
                    <a:gd name="T43" fmla="*/ 365 h 1367"/>
                    <a:gd name="T44" fmla="*/ 1006 w 1801"/>
                    <a:gd name="T45" fmla="*/ 412 h 1367"/>
                    <a:gd name="T46" fmla="*/ 1085 w 1801"/>
                    <a:gd name="T47" fmla="*/ 436 h 1367"/>
                    <a:gd name="T48" fmla="*/ 1138 w 1801"/>
                    <a:gd name="T49" fmla="*/ 547 h 1367"/>
                    <a:gd name="T50" fmla="*/ 1125 w 1801"/>
                    <a:gd name="T51" fmla="*/ 764 h 1367"/>
                    <a:gd name="T52" fmla="*/ 1169 w 1801"/>
                    <a:gd name="T53" fmla="*/ 750 h 1367"/>
                    <a:gd name="T54" fmla="*/ 1147 w 1801"/>
                    <a:gd name="T55" fmla="*/ 710 h 1367"/>
                    <a:gd name="T56" fmla="*/ 1184 w 1801"/>
                    <a:gd name="T57" fmla="*/ 727 h 1367"/>
                    <a:gd name="T58" fmla="*/ 1208 w 1801"/>
                    <a:gd name="T59" fmla="*/ 723 h 1367"/>
                    <a:gd name="T60" fmla="*/ 1172 w 1801"/>
                    <a:gd name="T61" fmla="*/ 835 h 1367"/>
                    <a:gd name="T62" fmla="*/ 1199 w 1801"/>
                    <a:gd name="T63" fmla="*/ 868 h 1367"/>
                    <a:gd name="T64" fmla="*/ 1262 w 1801"/>
                    <a:gd name="T65" fmla="*/ 970 h 1367"/>
                    <a:gd name="T66" fmla="*/ 1308 w 1801"/>
                    <a:gd name="T67" fmla="*/ 995 h 1367"/>
                    <a:gd name="T68" fmla="*/ 1302 w 1801"/>
                    <a:gd name="T69" fmla="*/ 962 h 1367"/>
                    <a:gd name="T70" fmla="*/ 1315 w 1801"/>
                    <a:gd name="T71" fmla="*/ 970 h 1367"/>
                    <a:gd name="T72" fmla="*/ 1340 w 1801"/>
                    <a:gd name="T73" fmla="*/ 1055 h 1367"/>
                    <a:gd name="T74" fmla="*/ 1394 w 1801"/>
                    <a:gd name="T75" fmla="*/ 1105 h 1367"/>
                    <a:gd name="T76" fmla="*/ 1478 w 1801"/>
                    <a:gd name="T77" fmla="*/ 1197 h 1367"/>
                    <a:gd name="T78" fmla="*/ 1585 w 1801"/>
                    <a:gd name="T79" fmla="*/ 1309 h 1367"/>
                    <a:gd name="T80" fmla="*/ 1641 w 1801"/>
                    <a:gd name="T81" fmla="*/ 1335 h 1367"/>
                    <a:gd name="T82" fmla="*/ 1585 w 1801"/>
                    <a:gd name="T83" fmla="*/ 1329 h 1367"/>
                    <a:gd name="T84" fmla="*/ 1651 w 1801"/>
                    <a:gd name="T85" fmla="*/ 1353 h 1367"/>
                    <a:gd name="T86" fmla="*/ 1717 w 1801"/>
                    <a:gd name="T87" fmla="*/ 1329 h 1367"/>
                    <a:gd name="T88" fmla="*/ 1772 w 1801"/>
                    <a:gd name="T89" fmla="*/ 1287 h 1367"/>
                    <a:gd name="T90" fmla="*/ 1783 w 1801"/>
                    <a:gd name="T91" fmla="*/ 1169 h 1367"/>
                    <a:gd name="T92" fmla="*/ 1784 w 1801"/>
                    <a:gd name="T93" fmla="*/ 957 h 1367"/>
                    <a:gd name="T94" fmla="*/ 1570 w 1801"/>
                    <a:gd name="T95" fmla="*/ 574 h 1367"/>
                    <a:gd name="T96" fmla="*/ 1544 w 1801"/>
                    <a:gd name="T97" fmla="*/ 471 h 1367"/>
                    <a:gd name="T98" fmla="*/ 1329 w 1801"/>
                    <a:gd name="T99" fmla="*/ 58 h 1367"/>
                    <a:gd name="T100" fmla="*/ 1301 w 1801"/>
                    <a:gd name="T101" fmla="*/ 15 h 1367"/>
                    <a:gd name="T102" fmla="*/ 1195 w 1801"/>
                    <a:gd name="T103" fmla="*/ 27 h 1367"/>
                    <a:gd name="T104" fmla="*/ 1172 w 1801"/>
                    <a:gd name="T105" fmla="*/ 116 h 1367"/>
                    <a:gd name="T106" fmla="*/ 596 w 1801"/>
                    <a:gd name="T107" fmla="*/ 108 h 1367"/>
                    <a:gd name="T108" fmla="*/ 4 w 1801"/>
                    <a:gd name="T109" fmla="*/ 91 h 136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801"/>
                    <a:gd name="T166" fmla="*/ 0 h 1367"/>
                    <a:gd name="T167" fmla="*/ 1801 w 1801"/>
                    <a:gd name="T168" fmla="*/ 1367 h 136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801" h="1367">
                      <a:moveTo>
                        <a:pt x="4" y="91"/>
                      </a:moveTo>
                      <a:lnTo>
                        <a:pt x="0" y="130"/>
                      </a:lnTo>
                      <a:lnTo>
                        <a:pt x="52" y="180"/>
                      </a:lnTo>
                      <a:lnTo>
                        <a:pt x="43" y="209"/>
                      </a:lnTo>
                      <a:lnTo>
                        <a:pt x="60" y="228"/>
                      </a:lnTo>
                      <a:lnTo>
                        <a:pt x="38" y="263"/>
                      </a:lnTo>
                      <a:lnTo>
                        <a:pt x="77" y="246"/>
                      </a:lnTo>
                      <a:lnTo>
                        <a:pt x="102" y="222"/>
                      </a:lnTo>
                      <a:lnTo>
                        <a:pt x="99" y="194"/>
                      </a:lnTo>
                      <a:lnTo>
                        <a:pt x="117" y="212"/>
                      </a:lnTo>
                      <a:lnTo>
                        <a:pt x="134" y="187"/>
                      </a:lnTo>
                      <a:lnTo>
                        <a:pt x="149" y="208"/>
                      </a:lnTo>
                      <a:lnTo>
                        <a:pt x="108" y="240"/>
                      </a:lnTo>
                      <a:lnTo>
                        <a:pt x="225" y="214"/>
                      </a:lnTo>
                      <a:lnTo>
                        <a:pt x="248" y="189"/>
                      </a:lnTo>
                      <a:lnTo>
                        <a:pt x="264" y="199"/>
                      </a:lnTo>
                      <a:lnTo>
                        <a:pt x="307" y="188"/>
                      </a:lnTo>
                      <a:lnTo>
                        <a:pt x="330" y="202"/>
                      </a:lnTo>
                      <a:lnTo>
                        <a:pt x="249" y="212"/>
                      </a:lnTo>
                      <a:lnTo>
                        <a:pt x="274" y="220"/>
                      </a:lnTo>
                      <a:lnTo>
                        <a:pt x="364" y="239"/>
                      </a:lnTo>
                      <a:lnTo>
                        <a:pt x="420" y="269"/>
                      </a:lnTo>
                      <a:lnTo>
                        <a:pt x="404" y="227"/>
                      </a:lnTo>
                      <a:lnTo>
                        <a:pt x="430" y="260"/>
                      </a:lnTo>
                      <a:lnTo>
                        <a:pt x="468" y="265"/>
                      </a:lnTo>
                      <a:lnTo>
                        <a:pt x="435" y="274"/>
                      </a:lnTo>
                      <a:lnTo>
                        <a:pt x="498" y="307"/>
                      </a:lnTo>
                      <a:lnTo>
                        <a:pt x="520" y="334"/>
                      </a:lnTo>
                      <a:lnTo>
                        <a:pt x="519" y="365"/>
                      </a:lnTo>
                      <a:lnTo>
                        <a:pt x="494" y="327"/>
                      </a:lnTo>
                      <a:lnTo>
                        <a:pt x="508" y="375"/>
                      </a:lnTo>
                      <a:lnTo>
                        <a:pt x="557" y="357"/>
                      </a:lnTo>
                      <a:lnTo>
                        <a:pt x="588" y="354"/>
                      </a:lnTo>
                      <a:lnTo>
                        <a:pt x="609" y="332"/>
                      </a:lnTo>
                      <a:lnTo>
                        <a:pt x="617" y="346"/>
                      </a:lnTo>
                      <a:lnTo>
                        <a:pt x="682" y="298"/>
                      </a:lnTo>
                      <a:lnTo>
                        <a:pt x="724" y="295"/>
                      </a:lnTo>
                      <a:lnTo>
                        <a:pt x="709" y="279"/>
                      </a:lnTo>
                      <a:lnTo>
                        <a:pt x="739" y="241"/>
                      </a:lnTo>
                      <a:lnTo>
                        <a:pt x="801" y="238"/>
                      </a:lnTo>
                      <a:lnTo>
                        <a:pt x="869" y="271"/>
                      </a:lnTo>
                      <a:lnTo>
                        <a:pt x="906" y="319"/>
                      </a:lnTo>
                      <a:lnTo>
                        <a:pt x="939" y="328"/>
                      </a:lnTo>
                      <a:lnTo>
                        <a:pt x="948" y="365"/>
                      </a:lnTo>
                      <a:lnTo>
                        <a:pt x="989" y="385"/>
                      </a:lnTo>
                      <a:lnTo>
                        <a:pt x="1006" y="412"/>
                      </a:lnTo>
                      <a:lnTo>
                        <a:pt x="1028" y="434"/>
                      </a:lnTo>
                      <a:lnTo>
                        <a:pt x="1085" y="436"/>
                      </a:lnTo>
                      <a:lnTo>
                        <a:pt x="1107" y="474"/>
                      </a:lnTo>
                      <a:lnTo>
                        <a:pt x="1138" y="547"/>
                      </a:lnTo>
                      <a:lnTo>
                        <a:pt x="1121" y="682"/>
                      </a:lnTo>
                      <a:lnTo>
                        <a:pt x="1125" y="764"/>
                      </a:lnTo>
                      <a:lnTo>
                        <a:pt x="1162" y="789"/>
                      </a:lnTo>
                      <a:lnTo>
                        <a:pt x="1169" y="750"/>
                      </a:lnTo>
                      <a:lnTo>
                        <a:pt x="1144" y="737"/>
                      </a:lnTo>
                      <a:lnTo>
                        <a:pt x="1147" y="710"/>
                      </a:lnTo>
                      <a:lnTo>
                        <a:pt x="1158" y="717"/>
                      </a:lnTo>
                      <a:lnTo>
                        <a:pt x="1184" y="727"/>
                      </a:lnTo>
                      <a:lnTo>
                        <a:pt x="1191" y="753"/>
                      </a:lnTo>
                      <a:lnTo>
                        <a:pt x="1208" y="723"/>
                      </a:lnTo>
                      <a:lnTo>
                        <a:pt x="1222" y="749"/>
                      </a:lnTo>
                      <a:lnTo>
                        <a:pt x="1172" y="835"/>
                      </a:lnTo>
                      <a:lnTo>
                        <a:pt x="1170" y="851"/>
                      </a:lnTo>
                      <a:lnTo>
                        <a:pt x="1199" y="868"/>
                      </a:lnTo>
                      <a:lnTo>
                        <a:pt x="1227" y="936"/>
                      </a:lnTo>
                      <a:lnTo>
                        <a:pt x="1262" y="970"/>
                      </a:lnTo>
                      <a:lnTo>
                        <a:pt x="1280" y="995"/>
                      </a:lnTo>
                      <a:lnTo>
                        <a:pt x="1308" y="995"/>
                      </a:lnTo>
                      <a:lnTo>
                        <a:pt x="1279" y="955"/>
                      </a:lnTo>
                      <a:lnTo>
                        <a:pt x="1302" y="962"/>
                      </a:lnTo>
                      <a:lnTo>
                        <a:pt x="1329" y="953"/>
                      </a:lnTo>
                      <a:lnTo>
                        <a:pt x="1315" y="970"/>
                      </a:lnTo>
                      <a:lnTo>
                        <a:pt x="1327" y="1007"/>
                      </a:lnTo>
                      <a:lnTo>
                        <a:pt x="1340" y="1055"/>
                      </a:lnTo>
                      <a:lnTo>
                        <a:pt x="1384" y="1075"/>
                      </a:lnTo>
                      <a:lnTo>
                        <a:pt x="1394" y="1105"/>
                      </a:lnTo>
                      <a:lnTo>
                        <a:pt x="1431" y="1197"/>
                      </a:lnTo>
                      <a:lnTo>
                        <a:pt x="1478" y="1197"/>
                      </a:lnTo>
                      <a:lnTo>
                        <a:pt x="1518" y="1219"/>
                      </a:lnTo>
                      <a:lnTo>
                        <a:pt x="1585" y="1309"/>
                      </a:lnTo>
                      <a:lnTo>
                        <a:pt x="1640" y="1319"/>
                      </a:lnTo>
                      <a:lnTo>
                        <a:pt x="1641" y="1335"/>
                      </a:lnTo>
                      <a:lnTo>
                        <a:pt x="1628" y="1346"/>
                      </a:lnTo>
                      <a:lnTo>
                        <a:pt x="1585" y="1329"/>
                      </a:lnTo>
                      <a:lnTo>
                        <a:pt x="1599" y="1367"/>
                      </a:lnTo>
                      <a:lnTo>
                        <a:pt x="1651" y="1353"/>
                      </a:lnTo>
                      <a:lnTo>
                        <a:pt x="1693" y="1352"/>
                      </a:lnTo>
                      <a:lnTo>
                        <a:pt x="1717" y="1329"/>
                      </a:lnTo>
                      <a:lnTo>
                        <a:pt x="1752" y="1327"/>
                      </a:lnTo>
                      <a:lnTo>
                        <a:pt x="1772" y="1287"/>
                      </a:lnTo>
                      <a:lnTo>
                        <a:pt x="1765" y="1231"/>
                      </a:lnTo>
                      <a:lnTo>
                        <a:pt x="1783" y="1169"/>
                      </a:lnTo>
                      <a:lnTo>
                        <a:pt x="1801" y="1176"/>
                      </a:lnTo>
                      <a:lnTo>
                        <a:pt x="1784" y="957"/>
                      </a:lnTo>
                      <a:lnTo>
                        <a:pt x="1765" y="891"/>
                      </a:lnTo>
                      <a:lnTo>
                        <a:pt x="1570" y="574"/>
                      </a:lnTo>
                      <a:lnTo>
                        <a:pt x="1525" y="471"/>
                      </a:lnTo>
                      <a:lnTo>
                        <a:pt x="1544" y="471"/>
                      </a:lnTo>
                      <a:lnTo>
                        <a:pt x="1417" y="269"/>
                      </a:lnTo>
                      <a:lnTo>
                        <a:pt x="1329" y="58"/>
                      </a:lnTo>
                      <a:lnTo>
                        <a:pt x="1323" y="21"/>
                      </a:lnTo>
                      <a:lnTo>
                        <a:pt x="1301" y="15"/>
                      </a:lnTo>
                      <a:lnTo>
                        <a:pt x="1217" y="0"/>
                      </a:lnTo>
                      <a:lnTo>
                        <a:pt x="1195" y="27"/>
                      </a:lnTo>
                      <a:lnTo>
                        <a:pt x="1209" y="119"/>
                      </a:lnTo>
                      <a:lnTo>
                        <a:pt x="1172" y="116"/>
                      </a:lnTo>
                      <a:lnTo>
                        <a:pt x="1166" y="74"/>
                      </a:lnTo>
                      <a:lnTo>
                        <a:pt x="596" y="108"/>
                      </a:lnTo>
                      <a:lnTo>
                        <a:pt x="555" y="41"/>
                      </a:lnTo>
                      <a:lnTo>
                        <a:pt x="4" y="91"/>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60" name="Freeform 37"/>
                <p:cNvSpPr>
                  <a:spLocks/>
                </p:cNvSpPr>
                <p:nvPr/>
              </p:nvSpPr>
              <p:spPr bwMode="gray">
                <a:xfrm>
                  <a:off x="4739584" y="4294141"/>
                  <a:ext cx="43852" cy="30209"/>
                </a:xfrm>
                <a:custGeom>
                  <a:avLst/>
                  <a:gdLst>
                    <a:gd name="T0" fmla="*/ 0 w 91"/>
                    <a:gd name="T1" fmla="*/ 62 h 62"/>
                    <a:gd name="T2" fmla="*/ 5 w 91"/>
                    <a:gd name="T3" fmla="*/ 28 h 62"/>
                    <a:gd name="T4" fmla="*/ 36 w 91"/>
                    <a:gd name="T5" fmla="*/ 23 h 62"/>
                    <a:gd name="T6" fmla="*/ 40 w 91"/>
                    <a:gd name="T7" fmla="*/ 0 h 62"/>
                    <a:gd name="T8" fmla="*/ 91 w 91"/>
                    <a:gd name="T9" fmla="*/ 26 h 62"/>
                    <a:gd name="T10" fmla="*/ 41 w 91"/>
                    <a:gd name="T11" fmla="*/ 42 h 62"/>
                    <a:gd name="T12" fmla="*/ 16 w 91"/>
                    <a:gd name="T13" fmla="*/ 35 h 62"/>
                    <a:gd name="T14" fmla="*/ 25 w 91"/>
                    <a:gd name="T15" fmla="*/ 50 h 62"/>
                    <a:gd name="T16" fmla="*/ 0 w 91"/>
                    <a:gd name="T17" fmla="*/ 62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1"/>
                    <a:gd name="T28" fmla="*/ 0 h 62"/>
                    <a:gd name="T29" fmla="*/ 91 w 91"/>
                    <a:gd name="T30" fmla="*/ 62 h 6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1" h="62">
                      <a:moveTo>
                        <a:pt x="0" y="62"/>
                      </a:moveTo>
                      <a:lnTo>
                        <a:pt x="5" y="28"/>
                      </a:lnTo>
                      <a:lnTo>
                        <a:pt x="36" y="23"/>
                      </a:lnTo>
                      <a:lnTo>
                        <a:pt x="40" y="0"/>
                      </a:lnTo>
                      <a:lnTo>
                        <a:pt x="91" y="26"/>
                      </a:lnTo>
                      <a:lnTo>
                        <a:pt x="41" y="42"/>
                      </a:lnTo>
                      <a:lnTo>
                        <a:pt x="16" y="35"/>
                      </a:lnTo>
                      <a:lnTo>
                        <a:pt x="25" y="50"/>
                      </a:lnTo>
                      <a:lnTo>
                        <a:pt x="0" y="62"/>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61" name="Freeform 38"/>
                <p:cNvSpPr>
                  <a:spLocks/>
                </p:cNvSpPr>
                <p:nvPr/>
              </p:nvSpPr>
              <p:spPr bwMode="gray">
                <a:xfrm>
                  <a:off x="4801951" y="4275625"/>
                  <a:ext cx="35082" cy="23388"/>
                </a:xfrm>
                <a:custGeom>
                  <a:avLst/>
                  <a:gdLst>
                    <a:gd name="T0" fmla="*/ 0 w 74"/>
                    <a:gd name="T1" fmla="*/ 44 h 46"/>
                    <a:gd name="T2" fmla="*/ 12 w 74"/>
                    <a:gd name="T3" fmla="*/ 46 h 46"/>
                    <a:gd name="T4" fmla="*/ 74 w 74"/>
                    <a:gd name="T5" fmla="*/ 0 h 46"/>
                    <a:gd name="T6" fmla="*/ 18 w 74"/>
                    <a:gd name="T7" fmla="*/ 33 h 46"/>
                    <a:gd name="T8" fmla="*/ 0 w 74"/>
                    <a:gd name="T9" fmla="*/ 44 h 46"/>
                    <a:gd name="T10" fmla="*/ 0 60000 65536"/>
                    <a:gd name="T11" fmla="*/ 0 60000 65536"/>
                    <a:gd name="T12" fmla="*/ 0 60000 65536"/>
                    <a:gd name="T13" fmla="*/ 0 60000 65536"/>
                    <a:gd name="T14" fmla="*/ 0 60000 65536"/>
                    <a:gd name="T15" fmla="*/ 0 w 74"/>
                    <a:gd name="T16" fmla="*/ 0 h 46"/>
                    <a:gd name="T17" fmla="*/ 74 w 74"/>
                    <a:gd name="T18" fmla="*/ 46 h 46"/>
                  </a:gdLst>
                  <a:ahLst/>
                  <a:cxnLst>
                    <a:cxn ang="T10">
                      <a:pos x="T0" y="T1"/>
                    </a:cxn>
                    <a:cxn ang="T11">
                      <a:pos x="T2" y="T3"/>
                    </a:cxn>
                    <a:cxn ang="T12">
                      <a:pos x="T4" y="T5"/>
                    </a:cxn>
                    <a:cxn ang="T13">
                      <a:pos x="T6" y="T7"/>
                    </a:cxn>
                    <a:cxn ang="T14">
                      <a:pos x="T8" y="T9"/>
                    </a:cxn>
                  </a:cxnLst>
                  <a:rect l="T15" t="T16" r="T17" b="T18"/>
                  <a:pathLst>
                    <a:path w="74" h="46">
                      <a:moveTo>
                        <a:pt x="0" y="44"/>
                      </a:moveTo>
                      <a:lnTo>
                        <a:pt x="12" y="46"/>
                      </a:lnTo>
                      <a:lnTo>
                        <a:pt x="74" y="0"/>
                      </a:lnTo>
                      <a:lnTo>
                        <a:pt x="18" y="33"/>
                      </a:lnTo>
                      <a:lnTo>
                        <a:pt x="0" y="44"/>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62" name="Freeform 39"/>
                <p:cNvSpPr>
                  <a:spLocks/>
                </p:cNvSpPr>
                <p:nvPr/>
              </p:nvSpPr>
              <p:spPr bwMode="gray">
                <a:xfrm>
                  <a:off x="4862370" y="4207411"/>
                  <a:ext cx="24362" cy="44827"/>
                </a:xfrm>
                <a:custGeom>
                  <a:avLst/>
                  <a:gdLst>
                    <a:gd name="T0" fmla="*/ 0 w 49"/>
                    <a:gd name="T1" fmla="*/ 94 h 94"/>
                    <a:gd name="T2" fmla="*/ 26 w 49"/>
                    <a:gd name="T3" fmla="*/ 64 h 94"/>
                    <a:gd name="T4" fmla="*/ 49 w 49"/>
                    <a:gd name="T5" fmla="*/ 0 h 94"/>
                    <a:gd name="T6" fmla="*/ 33 w 49"/>
                    <a:gd name="T7" fmla="*/ 30 h 94"/>
                    <a:gd name="T8" fmla="*/ 0 w 49"/>
                    <a:gd name="T9" fmla="*/ 94 h 94"/>
                    <a:gd name="T10" fmla="*/ 0 60000 65536"/>
                    <a:gd name="T11" fmla="*/ 0 60000 65536"/>
                    <a:gd name="T12" fmla="*/ 0 60000 65536"/>
                    <a:gd name="T13" fmla="*/ 0 60000 65536"/>
                    <a:gd name="T14" fmla="*/ 0 60000 65536"/>
                    <a:gd name="T15" fmla="*/ 0 w 49"/>
                    <a:gd name="T16" fmla="*/ 0 h 94"/>
                    <a:gd name="T17" fmla="*/ 49 w 49"/>
                    <a:gd name="T18" fmla="*/ 94 h 94"/>
                  </a:gdLst>
                  <a:ahLst/>
                  <a:cxnLst>
                    <a:cxn ang="T10">
                      <a:pos x="T0" y="T1"/>
                    </a:cxn>
                    <a:cxn ang="T11">
                      <a:pos x="T2" y="T3"/>
                    </a:cxn>
                    <a:cxn ang="T12">
                      <a:pos x="T4" y="T5"/>
                    </a:cxn>
                    <a:cxn ang="T13">
                      <a:pos x="T6" y="T7"/>
                    </a:cxn>
                    <a:cxn ang="T14">
                      <a:pos x="T8" y="T9"/>
                    </a:cxn>
                  </a:cxnLst>
                  <a:rect l="T15" t="T16" r="T17" b="T18"/>
                  <a:pathLst>
                    <a:path w="49" h="94">
                      <a:moveTo>
                        <a:pt x="0" y="94"/>
                      </a:moveTo>
                      <a:lnTo>
                        <a:pt x="26" y="64"/>
                      </a:lnTo>
                      <a:lnTo>
                        <a:pt x="49" y="0"/>
                      </a:lnTo>
                      <a:lnTo>
                        <a:pt x="33" y="30"/>
                      </a:lnTo>
                      <a:lnTo>
                        <a:pt x="0" y="94"/>
                      </a:lnTo>
                      <a:close/>
                    </a:path>
                  </a:pathLst>
                </a:custGeom>
                <a:grpFill/>
                <a:ln w="9525">
                  <a:solidFill>
                    <a:schemeClr val="tx1"/>
                  </a:solidFill>
                  <a:round/>
                  <a:headEnd/>
                  <a:tailEnd/>
                </a:ln>
              </p:spPr>
              <p:txBody>
                <a:bodyPr/>
                <a:lstStyle/>
                <a:p>
                  <a:pPr>
                    <a:defRPr/>
                  </a:pPr>
                  <a:endParaRPr lang="en-US" sz="1100" dirty="0">
                    <a:latin typeface="+mj-lt"/>
                  </a:endParaRPr>
                </a:p>
              </p:txBody>
            </p:sp>
          </p:grpSp>
          <p:sp>
            <p:nvSpPr>
              <p:cNvPr id="86" name="Freeform 40"/>
              <p:cNvSpPr>
                <a:spLocks/>
              </p:cNvSpPr>
              <p:nvPr/>
            </p:nvSpPr>
            <p:spPr bwMode="gray">
              <a:xfrm>
                <a:off x="4172431" y="3090645"/>
                <a:ext cx="524276" cy="545715"/>
              </a:xfrm>
              <a:custGeom>
                <a:avLst/>
                <a:gdLst>
                  <a:gd name="T0" fmla="*/ 0 w 1075"/>
                  <a:gd name="T1" fmla="*/ 63 h 1121"/>
                  <a:gd name="T2" fmla="*/ 142 w 1075"/>
                  <a:gd name="T3" fmla="*/ 581 h 1121"/>
                  <a:gd name="T4" fmla="*/ 195 w 1075"/>
                  <a:gd name="T5" fmla="*/ 669 h 1121"/>
                  <a:gd name="T6" fmla="*/ 214 w 1075"/>
                  <a:gd name="T7" fmla="*/ 733 h 1121"/>
                  <a:gd name="T8" fmla="*/ 191 w 1075"/>
                  <a:gd name="T9" fmla="*/ 779 h 1121"/>
                  <a:gd name="T10" fmla="*/ 183 w 1075"/>
                  <a:gd name="T11" fmla="*/ 848 h 1121"/>
                  <a:gd name="T12" fmla="*/ 230 w 1075"/>
                  <a:gd name="T13" fmla="*/ 1043 h 1121"/>
                  <a:gd name="T14" fmla="*/ 271 w 1075"/>
                  <a:gd name="T15" fmla="*/ 1110 h 1121"/>
                  <a:gd name="T16" fmla="*/ 841 w 1075"/>
                  <a:gd name="T17" fmla="*/ 1076 h 1121"/>
                  <a:gd name="T18" fmla="*/ 847 w 1075"/>
                  <a:gd name="T19" fmla="*/ 1118 h 1121"/>
                  <a:gd name="T20" fmla="*/ 884 w 1075"/>
                  <a:gd name="T21" fmla="*/ 1121 h 1121"/>
                  <a:gd name="T22" fmla="*/ 870 w 1075"/>
                  <a:gd name="T23" fmla="*/ 1029 h 1121"/>
                  <a:gd name="T24" fmla="*/ 892 w 1075"/>
                  <a:gd name="T25" fmla="*/ 1002 h 1121"/>
                  <a:gd name="T26" fmla="*/ 976 w 1075"/>
                  <a:gd name="T27" fmla="*/ 1017 h 1121"/>
                  <a:gd name="T28" fmla="*/ 989 w 1075"/>
                  <a:gd name="T29" fmla="*/ 954 h 1121"/>
                  <a:gd name="T30" fmla="*/ 976 w 1075"/>
                  <a:gd name="T31" fmla="*/ 949 h 1121"/>
                  <a:gd name="T32" fmla="*/ 995 w 1075"/>
                  <a:gd name="T33" fmla="*/ 932 h 1121"/>
                  <a:gd name="T34" fmla="*/ 964 w 1075"/>
                  <a:gd name="T35" fmla="*/ 915 h 1121"/>
                  <a:gd name="T36" fmla="*/ 982 w 1075"/>
                  <a:gd name="T37" fmla="*/ 895 h 1121"/>
                  <a:gd name="T38" fmla="*/ 978 w 1075"/>
                  <a:gd name="T39" fmla="*/ 863 h 1121"/>
                  <a:gd name="T40" fmla="*/ 1015 w 1075"/>
                  <a:gd name="T41" fmla="*/ 839 h 1121"/>
                  <a:gd name="T42" fmla="*/ 1002 w 1075"/>
                  <a:gd name="T43" fmla="*/ 806 h 1121"/>
                  <a:gd name="T44" fmla="*/ 1021 w 1075"/>
                  <a:gd name="T45" fmla="*/ 794 h 1121"/>
                  <a:gd name="T46" fmla="*/ 1029 w 1075"/>
                  <a:gd name="T47" fmla="*/ 766 h 1121"/>
                  <a:gd name="T48" fmla="*/ 1014 w 1075"/>
                  <a:gd name="T49" fmla="*/ 755 h 1121"/>
                  <a:gd name="T50" fmla="*/ 1042 w 1075"/>
                  <a:gd name="T51" fmla="*/ 731 h 1121"/>
                  <a:gd name="T52" fmla="*/ 1029 w 1075"/>
                  <a:gd name="T53" fmla="*/ 713 h 1121"/>
                  <a:gd name="T54" fmla="*/ 1052 w 1075"/>
                  <a:gd name="T55" fmla="*/ 713 h 1121"/>
                  <a:gd name="T56" fmla="*/ 1075 w 1075"/>
                  <a:gd name="T57" fmla="*/ 678 h 1121"/>
                  <a:gd name="T58" fmla="*/ 1067 w 1075"/>
                  <a:gd name="T59" fmla="*/ 669 h 1121"/>
                  <a:gd name="T60" fmla="*/ 1030 w 1075"/>
                  <a:gd name="T61" fmla="*/ 662 h 1121"/>
                  <a:gd name="T62" fmla="*/ 1006 w 1075"/>
                  <a:gd name="T63" fmla="*/ 631 h 1121"/>
                  <a:gd name="T64" fmla="*/ 963 w 1075"/>
                  <a:gd name="T65" fmla="*/ 554 h 1121"/>
                  <a:gd name="T66" fmla="*/ 939 w 1075"/>
                  <a:gd name="T67" fmla="*/ 544 h 1121"/>
                  <a:gd name="T68" fmla="*/ 891 w 1075"/>
                  <a:gd name="T69" fmla="*/ 442 h 1121"/>
                  <a:gd name="T70" fmla="*/ 821 w 1075"/>
                  <a:gd name="T71" fmla="*/ 399 h 1121"/>
                  <a:gd name="T72" fmla="*/ 772 w 1075"/>
                  <a:gd name="T73" fmla="*/ 330 h 1121"/>
                  <a:gd name="T74" fmla="*/ 651 w 1075"/>
                  <a:gd name="T75" fmla="*/ 242 h 1121"/>
                  <a:gd name="T76" fmla="*/ 593 w 1075"/>
                  <a:gd name="T77" fmla="*/ 163 h 1121"/>
                  <a:gd name="T78" fmla="*/ 463 w 1075"/>
                  <a:gd name="T79" fmla="*/ 78 h 1121"/>
                  <a:gd name="T80" fmla="*/ 505 w 1075"/>
                  <a:gd name="T81" fmla="*/ 0 h 1121"/>
                  <a:gd name="T82" fmla="*/ 260 w 1075"/>
                  <a:gd name="T83" fmla="*/ 30 h 1121"/>
                  <a:gd name="T84" fmla="*/ 0 w 1075"/>
                  <a:gd name="T85" fmla="*/ 63 h 112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75"/>
                  <a:gd name="T130" fmla="*/ 0 h 1121"/>
                  <a:gd name="T131" fmla="*/ 1075 w 1075"/>
                  <a:gd name="T132" fmla="*/ 1121 h 112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75" h="1121">
                    <a:moveTo>
                      <a:pt x="0" y="63"/>
                    </a:moveTo>
                    <a:lnTo>
                      <a:pt x="142" y="581"/>
                    </a:lnTo>
                    <a:lnTo>
                      <a:pt x="195" y="669"/>
                    </a:lnTo>
                    <a:lnTo>
                      <a:pt x="214" y="733"/>
                    </a:lnTo>
                    <a:lnTo>
                      <a:pt x="191" y="779"/>
                    </a:lnTo>
                    <a:lnTo>
                      <a:pt x="183" y="848"/>
                    </a:lnTo>
                    <a:lnTo>
                      <a:pt x="230" y="1043"/>
                    </a:lnTo>
                    <a:lnTo>
                      <a:pt x="271" y="1110"/>
                    </a:lnTo>
                    <a:lnTo>
                      <a:pt x="841" y="1076"/>
                    </a:lnTo>
                    <a:lnTo>
                      <a:pt x="847" y="1118"/>
                    </a:lnTo>
                    <a:lnTo>
                      <a:pt x="884" y="1121"/>
                    </a:lnTo>
                    <a:lnTo>
                      <a:pt x="870" y="1029"/>
                    </a:lnTo>
                    <a:lnTo>
                      <a:pt x="892" y="1002"/>
                    </a:lnTo>
                    <a:lnTo>
                      <a:pt x="976" y="1017"/>
                    </a:lnTo>
                    <a:lnTo>
                      <a:pt x="989" y="954"/>
                    </a:lnTo>
                    <a:lnTo>
                      <a:pt x="976" y="949"/>
                    </a:lnTo>
                    <a:lnTo>
                      <a:pt x="995" y="932"/>
                    </a:lnTo>
                    <a:lnTo>
                      <a:pt x="964" y="915"/>
                    </a:lnTo>
                    <a:lnTo>
                      <a:pt x="982" y="895"/>
                    </a:lnTo>
                    <a:lnTo>
                      <a:pt x="978" y="863"/>
                    </a:lnTo>
                    <a:lnTo>
                      <a:pt x="1015" y="839"/>
                    </a:lnTo>
                    <a:lnTo>
                      <a:pt x="1002" y="806"/>
                    </a:lnTo>
                    <a:lnTo>
                      <a:pt x="1021" y="794"/>
                    </a:lnTo>
                    <a:lnTo>
                      <a:pt x="1029" y="766"/>
                    </a:lnTo>
                    <a:lnTo>
                      <a:pt x="1014" y="755"/>
                    </a:lnTo>
                    <a:lnTo>
                      <a:pt x="1042" y="731"/>
                    </a:lnTo>
                    <a:lnTo>
                      <a:pt x="1029" y="713"/>
                    </a:lnTo>
                    <a:lnTo>
                      <a:pt x="1052" y="713"/>
                    </a:lnTo>
                    <a:lnTo>
                      <a:pt x="1075" y="678"/>
                    </a:lnTo>
                    <a:lnTo>
                      <a:pt x="1067" y="669"/>
                    </a:lnTo>
                    <a:lnTo>
                      <a:pt x="1030" y="662"/>
                    </a:lnTo>
                    <a:lnTo>
                      <a:pt x="1006" y="631"/>
                    </a:lnTo>
                    <a:lnTo>
                      <a:pt x="963" y="554"/>
                    </a:lnTo>
                    <a:lnTo>
                      <a:pt x="939" y="544"/>
                    </a:lnTo>
                    <a:lnTo>
                      <a:pt x="891" y="442"/>
                    </a:lnTo>
                    <a:lnTo>
                      <a:pt x="821" y="399"/>
                    </a:lnTo>
                    <a:lnTo>
                      <a:pt x="772" y="330"/>
                    </a:lnTo>
                    <a:lnTo>
                      <a:pt x="651" y="242"/>
                    </a:lnTo>
                    <a:lnTo>
                      <a:pt x="593" y="163"/>
                    </a:lnTo>
                    <a:lnTo>
                      <a:pt x="463" y="78"/>
                    </a:lnTo>
                    <a:lnTo>
                      <a:pt x="505" y="0"/>
                    </a:lnTo>
                    <a:lnTo>
                      <a:pt x="260" y="30"/>
                    </a:lnTo>
                    <a:lnTo>
                      <a:pt x="0" y="63"/>
                    </a:lnTo>
                    <a:close/>
                  </a:path>
                </a:pathLst>
              </a:custGeom>
              <a:grpFill/>
              <a:ln w="9525">
                <a:solidFill>
                  <a:schemeClr val="tx1"/>
                </a:solidFill>
                <a:round/>
                <a:headEnd/>
                <a:tailEnd/>
              </a:ln>
            </p:spPr>
            <p:txBody>
              <a:bodyPr/>
              <a:lstStyle/>
              <a:p>
                <a:pPr>
                  <a:defRPr/>
                </a:pPr>
                <a:endParaRPr lang="en-US" sz="1100" dirty="0">
                  <a:latin typeface="+mj-lt"/>
                </a:endParaRPr>
              </a:p>
            </p:txBody>
          </p:sp>
          <p:grpSp>
            <p:nvGrpSpPr>
              <p:cNvPr id="87" name="Group 109"/>
              <p:cNvGrpSpPr/>
              <p:nvPr/>
            </p:nvGrpSpPr>
            <p:grpSpPr bwMode="gray">
              <a:xfrm>
                <a:off x="1821959" y="3830284"/>
                <a:ext cx="566179" cy="396617"/>
                <a:chOff x="1821959" y="3830284"/>
                <a:chExt cx="566179" cy="396617"/>
              </a:xfrm>
              <a:grpFill/>
            </p:grpSpPr>
            <p:sp>
              <p:nvSpPr>
                <p:cNvPr id="140" name="Freeform 41"/>
                <p:cNvSpPr>
                  <a:spLocks/>
                </p:cNvSpPr>
                <p:nvPr/>
              </p:nvSpPr>
              <p:spPr bwMode="gray">
                <a:xfrm>
                  <a:off x="1821959" y="3830284"/>
                  <a:ext cx="57495" cy="45801"/>
                </a:xfrm>
                <a:custGeom>
                  <a:avLst/>
                  <a:gdLst>
                    <a:gd name="T0" fmla="*/ 0 w 117"/>
                    <a:gd name="T1" fmla="*/ 55 h 95"/>
                    <a:gd name="T2" fmla="*/ 43 w 117"/>
                    <a:gd name="T3" fmla="*/ 95 h 95"/>
                    <a:gd name="T4" fmla="*/ 67 w 117"/>
                    <a:gd name="T5" fmla="*/ 94 h 95"/>
                    <a:gd name="T6" fmla="*/ 105 w 117"/>
                    <a:gd name="T7" fmla="*/ 71 h 95"/>
                    <a:gd name="T8" fmla="*/ 117 w 117"/>
                    <a:gd name="T9" fmla="*/ 20 h 95"/>
                    <a:gd name="T10" fmla="*/ 91 w 117"/>
                    <a:gd name="T11" fmla="*/ 0 h 95"/>
                    <a:gd name="T12" fmla="*/ 56 w 117"/>
                    <a:gd name="T13" fmla="*/ 6 h 95"/>
                    <a:gd name="T14" fmla="*/ 0 w 117"/>
                    <a:gd name="T15" fmla="*/ 55 h 95"/>
                    <a:gd name="T16" fmla="*/ 0 60000 65536"/>
                    <a:gd name="T17" fmla="*/ 0 60000 65536"/>
                    <a:gd name="T18" fmla="*/ 0 60000 65536"/>
                    <a:gd name="T19" fmla="*/ 0 60000 65536"/>
                    <a:gd name="T20" fmla="*/ 0 60000 65536"/>
                    <a:gd name="T21" fmla="*/ 0 60000 65536"/>
                    <a:gd name="T22" fmla="*/ 0 60000 65536"/>
                    <a:gd name="T23" fmla="*/ 0 60000 65536"/>
                    <a:gd name="T24" fmla="*/ 0 w 117"/>
                    <a:gd name="T25" fmla="*/ 0 h 95"/>
                    <a:gd name="T26" fmla="*/ 117 w 117"/>
                    <a:gd name="T27" fmla="*/ 95 h 9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7" h="95">
                      <a:moveTo>
                        <a:pt x="0" y="55"/>
                      </a:moveTo>
                      <a:lnTo>
                        <a:pt x="43" y="95"/>
                      </a:lnTo>
                      <a:lnTo>
                        <a:pt x="67" y="94"/>
                      </a:lnTo>
                      <a:lnTo>
                        <a:pt x="105" y="71"/>
                      </a:lnTo>
                      <a:lnTo>
                        <a:pt x="117" y="20"/>
                      </a:lnTo>
                      <a:lnTo>
                        <a:pt x="91" y="0"/>
                      </a:lnTo>
                      <a:lnTo>
                        <a:pt x="56" y="6"/>
                      </a:lnTo>
                      <a:lnTo>
                        <a:pt x="0" y="55"/>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41" name="Freeform 42"/>
                <p:cNvSpPr>
                  <a:spLocks/>
                </p:cNvSpPr>
                <p:nvPr/>
              </p:nvSpPr>
              <p:spPr bwMode="gray">
                <a:xfrm>
                  <a:off x="1996393" y="3896549"/>
                  <a:ext cx="65291" cy="55546"/>
                </a:xfrm>
                <a:custGeom>
                  <a:avLst/>
                  <a:gdLst>
                    <a:gd name="T0" fmla="*/ 0 w 134"/>
                    <a:gd name="T1" fmla="*/ 30 h 115"/>
                    <a:gd name="T2" fmla="*/ 29 w 134"/>
                    <a:gd name="T3" fmla="*/ 96 h 115"/>
                    <a:gd name="T4" fmla="*/ 59 w 134"/>
                    <a:gd name="T5" fmla="*/ 95 h 115"/>
                    <a:gd name="T6" fmla="*/ 62 w 134"/>
                    <a:gd name="T7" fmla="*/ 76 h 115"/>
                    <a:gd name="T8" fmla="*/ 102 w 134"/>
                    <a:gd name="T9" fmla="*/ 115 h 115"/>
                    <a:gd name="T10" fmla="*/ 134 w 134"/>
                    <a:gd name="T11" fmla="*/ 109 h 115"/>
                    <a:gd name="T12" fmla="*/ 127 w 134"/>
                    <a:gd name="T13" fmla="*/ 71 h 115"/>
                    <a:gd name="T14" fmla="*/ 97 w 134"/>
                    <a:gd name="T15" fmla="*/ 62 h 115"/>
                    <a:gd name="T16" fmla="*/ 71 w 134"/>
                    <a:gd name="T17" fmla="*/ 0 h 115"/>
                    <a:gd name="T18" fmla="*/ 0 w 134"/>
                    <a:gd name="T19" fmla="*/ 30 h 1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4"/>
                    <a:gd name="T31" fmla="*/ 0 h 115"/>
                    <a:gd name="T32" fmla="*/ 134 w 134"/>
                    <a:gd name="T33" fmla="*/ 115 h 11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4" h="115">
                      <a:moveTo>
                        <a:pt x="0" y="30"/>
                      </a:moveTo>
                      <a:lnTo>
                        <a:pt x="29" y="96"/>
                      </a:lnTo>
                      <a:lnTo>
                        <a:pt x="59" y="95"/>
                      </a:lnTo>
                      <a:lnTo>
                        <a:pt x="62" y="76"/>
                      </a:lnTo>
                      <a:lnTo>
                        <a:pt x="102" y="115"/>
                      </a:lnTo>
                      <a:lnTo>
                        <a:pt x="134" y="109"/>
                      </a:lnTo>
                      <a:lnTo>
                        <a:pt x="127" y="71"/>
                      </a:lnTo>
                      <a:lnTo>
                        <a:pt x="97" y="62"/>
                      </a:lnTo>
                      <a:lnTo>
                        <a:pt x="71" y="0"/>
                      </a:lnTo>
                      <a:lnTo>
                        <a:pt x="0" y="30"/>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42" name="Freeform 43"/>
                <p:cNvSpPr>
                  <a:spLocks/>
                </p:cNvSpPr>
                <p:nvPr/>
              </p:nvSpPr>
              <p:spPr bwMode="gray">
                <a:xfrm>
                  <a:off x="2101638" y="3955018"/>
                  <a:ext cx="67240" cy="18515"/>
                </a:xfrm>
                <a:custGeom>
                  <a:avLst/>
                  <a:gdLst>
                    <a:gd name="T0" fmla="*/ 0 w 138"/>
                    <a:gd name="T1" fmla="*/ 31 h 37"/>
                    <a:gd name="T2" fmla="*/ 15 w 138"/>
                    <a:gd name="T3" fmla="*/ 0 h 37"/>
                    <a:gd name="T4" fmla="*/ 138 w 138"/>
                    <a:gd name="T5" fmla="*/ 13 h 37"/>
                    <a:gd name="T6" fmla="*/ 112 w 138"/>
                    <a:gd name="T7" fmla="*/ 37 h 37"/>
                    <a:gd name="T8" fmla="*/ 0 w 138"/>
                    <a:gd name="T9" fmla="*/ 31 h 37"/>
                    <a:gd name="T10" fmla="*/ 0 60000 65536"/>
                    <a:gd name="T11" fmla="*/ 0 60000 65536"/>
                    <a:gd name="T12" fmla="*/ 0 60000 65536"/>
                    <a:gd name="T13" fmla="*/ 0 60000 65536"/>
                    <a:gd name="T14" fmla="*/ 0 60000 65536"/>
                    <a:gd name="T15" fmla="*/ 0 w 138"/>
                    <a:gd name="T16" fmla="*/ 0 h 37"/>
                    <a:gd name="T17" fmla="*/ 138 w 138"/>
                    <a:gd name="T18" fmla="*/ 37 h 37"/>
                  </a:gdLst>
                  <a:ahLst/>
                  <a:cxnLst>
                    <a:cxn ang="T10">
                      <a:pos x="T0" y="T1"/>
                    </a:cxn>
                    <a:cxn ang="T11">
                      <a:pos x="T2" y="T3"/>
                    </a:cxn>
                    <a:cxn ang="T12">
                      <a:pos x="T4" y="T5"/>
                    </a:cxn>
                    <a:cxn ang="T13">
                      <a:pos x="T6" y="T7"/>
                    </a:cxn>
                    <a:cxn ang="T14">
                      <a:pos x="T8" y="T9"/>
                    </a:cxn>
                  </a:cxnLst>
                  <a:rect l="T15" t="T16" r="T17" b="T18"/>
                  <a:pathLst>
                    <a:path w="138" h="37">
                      <a:moveTo>
                        <a:pt x="0" y="31"/>
                      </a:moveTo>
                      <a:lnTo>
                        <a:pt x="15" y="0"/>
                      </a:lnTo>
                      <a:lnTo>
                        <a:pt x="138" y="13"/>
                      </a:lnTo>
                      <a:lnTo>
                        <a:pt x="112" y="37"/>
                      </a:lnTo>
                      <a:lnTo>
                        <a:pt x="0" y="31"/>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43" name="Freeform 44"/>
                <p:cNvSpPr>
                  <a:spLocks/>
                </p:cNvSpPr>
                <p:nvPr/>
              </p:nvSpPr>
              <p:spPr bwMode="gray">
                <a:xfrm>
                  <a:off x="2131847" y="3992049"/>
                  <a:ext cx="26311" cy="19490"/>
                </a:xfrm>
                <a:custGeom>
                  <a:avLst/>
                  <a:gdLst>
                    <a:gd name="T0" fmla="*/ 0 w 56"/>
                    <a:gd name="T1" fmla="*/ 0 h 40"/>
                    <a:gd name="T2" fmla="*/ 20 w 56"/>
                    <a:gd name="T3" fmla="*/ 40 h 40"/>
                    <a:gd name="T4" fmla="*/ 56 w 56"/>
                    <a:gd name="T5" fmla="*/ 23 h 40"/>
                    <a:gd name="T6" fmla="*/ 38 w 56"/>
                    <a:gd name="T7" fmla="*/ 0 h 40"/>
                    <a:gd name="T8" fmla="*/ 0 w 56"/>
                    <a:gd name="T9" fmla="*/ 0 h 40"/>
                    <a:gd name="T10" fmla="*/ 0 60000 65536"/>
                    <a:gd name="T11" fmla="*/ 0 60000 65536"/>
                    <a:gd name="T12" fmla="*/ 0 60000 65536"/>
                    <a:gd name="T13" fmla="*/ 0 60000 65536"/>
                    <a:gd name="T14" fmla="*/ 0 60000 65536"/>
                    <a:gd name="T15" fmla="*/ 0 w 56"/>
                    <a:gd name="T16" fmla="*/ 0 h 40"/>
                    <a:gd name="T17" fmla="*/ 56 w 56"/>
                    <a:gd name="T18" fmla="*/ 40 h 40"/>
                  </a:gdLst>
                  <a:ahLst/>
                  <a:cxnLst>
                    <a:cxn ang="T10">
                      <a:pos x="T0" y="T1"/>
                    </a:cxn>
                    <a:cxn ang="T11">
                      <a:pos x="T2" y="T3"/>
                    </a:cxn>
                    <a:cxn ang="T12">
                      <a:pos x="T4" y="T5"/>
                    </a:cxn>
                    <a:cxn ang="T13">
                      <a:pos x="T6" y="T7"/>
                    </a:cxn>
                    <a:cxn ang="T14">
                      <a:pos x="T8" y="T9"/>
                    </a:cxn>
                  </a:cxnLst>
                  <a:rect l="T15" t="T16" r="T17" b="T18"/>
                  <a:pathLst>
                    <a:path w="56" h="40">
                      <a:moveTo>
                        <a:pt x="0" y="0"/>
                      </a:moveTo>
                      <a:lnTo>
                        <a:pt x="20" y="40"/>
                      </a:lnTo>
                      <a:lnTo>
                        <a:pt x="56" y="23"/>
                      </a:lnTo>
                      <a:lnTo>
                        <a:pt x="38" y="0"/>
                      </a:lnTo>
                      <a:lnTo>
                        <a:pt x="0" y="0"/>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57" name="Freeform 45"/>
                <p:cNvSpPr>
                  <a:spLocks/>
                </p:cNvSpPr>
                <p:nvPr/>
              </p:nvSpPr>
              <p:spPr bwMode="gray">
                <a:xfrm>
                  <a:off x="2170827" y="3975482"/>
                  <a:ext cx="84780" cy="50674"/>
                </a:xfrm>
                <a:custGeom>
                  <a:avLst/>
                  <a:gdLst>
                    <a:gd name="T0" fmla="*/ 0 w 172"/>
                    <a:gd name="T1" fmla="*/ 27 h 104"/>
                    <a:gd name="T2" fmla="*/ 22 w 172"/>
                    <a:gd name="T3" fmla="*/ 0 h 104"/>
                    <a:gd name="T4" fmla="*/ 47 w 172"/>
                    <a:gd name="T5" fmla="*/ 27 h 104"/>
                    <a:gd name="T6" fmla="*/ 106 w 172"/>
                    <a:gd name="T7" fmla="*/ 22 h 104"/>
                    <a:gd name="T8" fmla="*/ 172 w 172"/>
                    <a:gd name="T9" fmla="*/ 68 h 104"/>
                    <a:gd name="T10" fmla="*/ 148 w 172"/>
                    <a:gd name="T11" fmla="*/ 90 h 104"/>
                    <a:gd name="T12" fmla="*/ 68 w 172"/>
                    <a:gd name="T13" fmla="*/ 104 h 104"/>
                    <a:gd name="T14" fmla="*/ 54 w 172"/>
                    <a:gd name="T15" fmla="*/ 58 h 104"/>
                    <a:gd name="T16" fmla="*/ 23 w 172"/>
                    <a:gd name="T17" fmla="*/ 58 h 104"/>
                    <a:gd name="T18" fmla="*/ 0 w 172"/>
                    <a:gd name="T19" fmla="*/ 27 h 10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2"/>
                    <a:gd name="T31" fmla="*/ 0 h 104"/>
                    <a:gd name="T32" fmla="*/ 172 w 172"/>
                    <a:gd name="T33" fmla="*/ 104 h 10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2" h="104">
                      <a:moveTo>
                        <a:pt x="0" y="27"/>
                      </a:moveTo>
                      <a:lnTo>
                        <a:pt x="22" y="0"/>
                      </a:lnTo>
                      <a:lnTo>
                        <a:pt x="47" y="27"/>
                      </a:lnTo>
                      <a:lnTo>
                        <a:pt x="106" y="22"/>
                      </a:lnTo>
                      <a:lnTo>
                        <a:pt x="172" y="68"/>
                      </a:lnTo>
                      <a:lnTo>
                        <a:pt x="148" y="90"/>
                      </a:lnTo>
                      <a:lnTo>
                        <a:pt x="68" y="104"/>
                      </a:lnTo>
                      <a:lnTo>
                        <a:pt x="54" y="58"/>
                      </a:lnTo>
                      <a:lnTo>
                        <a:pt x="23" y="58"/>
                      </a:lnTo>
                      <a:lnTo>
                        <a:pt x="0" y="27"/>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58" name="Freeform 46"/>
                <p:cNvSpPr>
                  <a:spLocks/>
                </p:cNvSpPr>
                <p:nvPr/>
              </p:nvSpPr>
              <p:spPr bwMode="gray">
                <a:xfrm>
                  <a:off x="2246837" y="4067085"/>
                  <a:ext cx="141301" cy="159816"/>
                </a:xfrm>
                <a:custGeom>
                  <a:avLst/>
                  <a:gdLst>
                    <a:gd name="T0" fmla="*/ 0 w 289"/>
                    <a:gd name="T1" fmla="*/ 129 h 329"/>
                    <a:gd name="T2" fmla="*/ 39 w 289"/>
                    <a:gd name="T3" fmla="*/ 220 h 329"/>
                    <a:gd name="T4" fmla="*/ 33 w 289"/>
                    <a:gd name="T5" fmla="*/ 292 h 329"/>
                    <a:gd name="T6" fmla="*/ 93 w 289"/>
                    <a:gd name="T7" fmla="*/ 329 h 329"/>
                    <a:gd name="T8" fmla="*/ 127 w 289"/>
                    <a:gd name="T9" fmla="*/ 273 h 329"/>
                    <a:gd name="T10" fmla="*/ 250 w 289"/>
                    <a:gd name="T11" fmla="*/ 222 h 329"/>
                    <a:gd name="T12" fmla="*/ 289 w 289"/>
                    <a:gd name="T13" fmla="*/ 182 h 329"/>
                    <a:gd name="T14" fmla="*/ 189 w 289"/>
                    <a:gd name="T15" fmla="*/ 66 h 329"/>
                    <a:gd name="T16" fmla="*/ 47 w 289"/>
                    <a:gd name="T17" fmla="*/ 0 h 329"/>
                    <a:gd name="T18" fmla="*/ 34 w 289"/>
                    <a:gd name="T19" fmla="*/ 20 h 329"/>
                    <a:gd name="T20" fmla="*/ 50 w 289"/>
                    <a:gd name="T21" fmla="*/ 69 h 329"/>
                    <a:gd name="T22" fmla="*/ 0 w 289"/>
                    <a:gd name="T23" fmla="*/ 129 h 3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89"/>
                    <a:gd name="T37" fmla="*/ 0 h 329"/>
                    <a:gd name="T38" fmla="*/ 289 w 289"/>
                    <a:gd name="T39" fmla="*/ 329 h 32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89" h="329">
                      <a:moveTo>
                        <a:pt x="0" y="129"/>
                      </a:moveTo>
                      <a:lnTo>
                        <a:pt x="39" y="220"/>
                      </a:lnTo>
                      <a:lnTo>
                        <a:pt x="33" y="292"/>
                      </a:lnTo>
                      <a:lnTo>
                        <a:pt x="93" y="329"/>
                      </a:lnTo>
                      <a:lnTo>
                        <a:pt x="127" y="273"/>
                      </a:lnTo>
                      <a:lnTo>
                        <a:pt x="250" y="222"/>
                      </a:lnTo>
                      <a:lnTo>
                        <a:pt x="289" y="182"/>
                      </a:lnTo>
                      <a:lnTo>
                        <a:pt x="189" y="66"/>
                      </a:lnTo>
                      <a:lnTo>
                        <a:pt x="47" y="0"/>
                      </a:lnTo>
                      <a:lnTo>
                        <a:pt x="34" y="20"/>
                      </a:lnTo>
                      <a:lnTo>
                        <a:pt x="50" y="69"/>
                      </a:lnTo>
                      <a:lnTo>
                        <a:pt x="0" y="129"/>
                      </a:lnTo>
                      <a:close/>
                    </a:path>
                  </a:pathLst>
                </a:custGeom>
                <a:grpFill/>
                <a:ln w="9525">
                  <a:solidFill>
                    <a:schemeClr val="tx1"/>
                  </a:solidFill>
                  <a:round/>
                  <a:headEnd/>
                  <a:tailEnd/>
                </a:ln>
              </p:spPr>
              <p:txBody>
                <a:bodyPr/>
                <a:lstStyle/>
                <a:p>
                  <a:pPr>
                    <a:defRPr/>
                  </a:pPr>
                  <a:endParaRPr lang="en-US" sz="1100" dirty="0">
                    <a:latin typeface="+mj-lt"/>
                  </a:endParaRPr>
                </a:p>
              </p:txBody>
            </p:sp>
          </p:grpSp>
          <p:sp>
            <p:nvSpPr>
              <p:cNvPr id="88" name="Freeform 47"/>
              <p:cNvSpPr>
                <a:spLocks/>
              </p:cNvSpPr>
              <p:nvPr/>
            </p:nvSpPr>
            <p:spPr bwMode="gray">
              <a:xfrm>
                <a:off x="1267474" y="1261527"/>
                <a:ext cx="577873" cy="934536"/>
              </a:xfrm>
              <a:custGeom>
                <a:avLst/>
                <a:gdLst>
                  <a:gd name="T0" fmla="*/ 0 w 1185"/>
                  <a:gd name="T1" fmla="*/ 1699 h 1916"/>
                  <a:gd name="T2" fmla="*/ 94 w 1185"/>
                  <a:gd name="T3" fmla="*/ 1290 h 1916"/>
                  <a:gd name="T4" fmla="*/ 142 w 1185"/>
                  <a:gd name="T5" fmla="*/ 1181 h 1916"/>
                  <a:gd name="T6" fmla="*/ 99 w 1185"/>
                  <a:gd name="T7" fmla="*/ 1129 h 1916"/>
                  <a:gd name="T8" fmla="*/ 110 w 1185"/>
                  <a:gd name="T9" fmla="*/ 1082 h 1916"/>
                  <a:gd name="T10" fmla="*/ 185 w 1185"/>
                  <a:gd name="T11" fmla="*/ 1011 h 1916"/>
                  <a:gd name="T12" fmla="*/ 246 w 1185"/>
                  <a:gd name="T13" fmla="*/ 915 h 1916"/>
                  <a:gd name="T14" fmla="*/ 301 w 1185"/>
                  <a:gd name="T15" fmla="*/ 832 h 1916"/>
                  <a:gd name="T16" fmla="*/ 260 w 1185"/>
                  <a:gd name="T17" fmla="*/ 769 h 1916"/>
                  <a:gd name="T18" fmla="*/ 242 w 1185"/>
                  <a:gd name="T19" fmla="*/ 726 h 1916"/>
                  <a:gd name="T20" fmla="*/ 249 w 1185"/>
                  <a:gd name="T21" fmla="*/ 620 h 1916"/>
                  <a:gd name="T22" fmla="*/ 393 w 1185"/>
                  <a:gd name="T23" fmla="*/ 0 h 1916"/>
                  <a:gd name="T24" fmla="*/ 552 w 1185"/>
                  <a:gd name="T25" fmla="*/ 35 h 1916"/>
                  <a:gd name="T26" fmla="*/ 499 w 1185"/>
                  <a:gd name="T27" fmla="*/ 276 h 1916"/>
                  <a:gd name="T28" fmla="*/ 534 w 1185"/>
                  <a:gd name="T29" fmla="*/ 363 h 1916"/>
                  <a:gd name="T30" fmla="*/ 538 w 1185"/>
                  <a:gd name="T31" fmla="*/ 417 h 1916"/>
                  <a:gd name="T32" fmla="*/ 519 w 1185"/>
                  <a:gd name="T33" fmla="*/ 425 h 1916"/>
                  <a:gd name="T34" fmla="*/ 580 w 1185"/>
                  <a:gd name="T35" fmla="*/ 484 h 1916"/>
                  <a:gd name="T36" fmla="*/ 642 w 1185"/>
                  <a:gd name="T37" fmla="*/ 638 h 1916"/>
                  <a:gd name="T38" fmla="*/ 664 w 1185"/>
                  <a:gd name="T39" fmla="*/ 632 h 1916"/>
                  <a:gd name="T40" fmla="*/ 666 w 1185"/>
                  <a:gd name="T41" fmla="*/ 654 h 1916"/>
                  <a:gd name="T42" fmla="*/ 696 w 1185"/>
                  <a:gd name="T43" fmla="*/ 663 h 1916"/>
                  <a:gd name="T44" fmla="*/ 718 w 1185"/>
                  <a:gd name="T45" fmla="*/ 666 h 1916"/>
                  <a:gd name="T46" fmla="*/ 663 w 1185"/>
                  <a:gd name="T47" fmla="*/ 778 h 1916"/>
                  <a:gd name="T48" fmla="*/ 672 w 1185"/>
                  <a:gd name="T49" fmla="*/ 852 h 1916"/>
                  <a:gd name="T50" fmla="*/ 627 w 1185"/>
                  <a:gd name="T51" fmla="*/ 924 h 1916"/>
                  <a:gd name="T52" fmla="*/ 658 w 1185"/>
                  <a:gd name="T53" fmla="*/ 956 h 1916"/>
                  <a:gd name="T54" fmla="*/ 738 w 1185"/>
                  <a:gd name="T55" fmla="*/ 911 h 1916"/>
                  <a:gd name="T56" fmla="*/ 796 w 1185"/>
                  <a:gd name="T57" fmla="*/ 1154 h 1916"/>
                  <a:gd name="T58" fmla="*/ 833 w 1185"/>
                  <a:gd name="T59" fmla="*/ 1166 h 1916"/>
                  <a:gd name="T60" fmla="*/ 840 w 1185"/>
                  <a:gd name="T61" fmla="*/ 1240 h 1916"/>
                  <a:gd name="T62" fmla="*/ 871 w 1185"/>
                  <a:gd name="T63" fmla="*/ 1271 h 1916"/>
                  <a:gd name="T64" fmla="*/ 894 w 1185"/>
                  <a:gd name="T65" fmla="*/ 1244 h 1916"/>
                  <a:gd name="T66" fmla="*/ 948 w 1185"/>
                  <a:gd name="T67" fmla="*/ 1268 h 1916"/>
                  <a:gd name="T68" fmla="*/ 981 w 1185"/>
                  <a:gd name="T69" fmla="*/ 1242 h 1916"/>
                  <a:gd name="T70" fmla="*/ 1089 w 1185"/>
                  <a:gd name="T71" fmla="*/ 1263 h 1916"/>
                  <a:gd name="T72" fmla="*/ 1115 w 1185"/>
                  <a:gd name="T73" fmla="*/ 1269 h 1916"/>
                  <a:gd name="T74" fmla="*/ 1139 w 1185"/>
                  <a:gd name="T75" fmla="*/ 1220 h 1916"/>
                  <a:gd name="T76" fmla="*/ 1185 w 1185"/>
                  <a:gd name="T77" fmla="*/ 1298 h 1916"/>
                  <a:gd name="T78" fmla="*/ 1085 w 1185"/>
                  <a:gd name="T79" fmla="*/ 1916 h 1916"/>
                  <a:gd name="T80" fmla="*/ 539 w 1185"/>
                  <a:gd name="T81" fmla="*/ 1816 h 1916"/>
                  <a:gd name="T82" fmla="*/ 0 w 1185"/>
                  <a:gd name="T83" fmla="*/ 1699 h 191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185"/>
                  <a:gd name="T127" fmla="*/ 0 h 1916"/>
                  <a:gd name="T128" fmla="*/ 1185 w 1185"/>
                  <a:gd name="T129" fmla="*/ 1916 h 191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185" h="1916">
                    <a:moveTo>
                      <a:pt x="0" y="1699"/>
                    </a:moveTo>
                    <a:lnTo>
                      <a:pt x="94" y="1290"/>
                    </a:lnTo>
                    <a:lnTo>
                      <a:pt x="142" y="1181"/>
                    </a:lnTo>
                    <a:lnTo>
                      <a:pt x="99" y="1129"/>
                    </a:lnTo>
                    <a:lnTo>
                      <a:pt x="110" y="1082"/>
                    </a:lnTo>
                    <a:lnTo>
                      <a:pt x="185" y="1011"/>
                    </a:lnTo>
                    <a:lnTo>
                      <a:pt x="246" y="915"/>
                    </a:lnTo>
                    <a:lnTo>
                      <a:pt x="301" y="832"/>
                    </a:lnTo>
                    <a:lnTo>
                      <a:pt x="260" y="769"/>
                    </a:lnTo>
                    <a:lnTo>
                      <a:pt x="242" y="726"/>
                    </a:lnTo>
                    <a:lnTo>
                      <a:pt x="249" y="620"/>
                    </a:lnTo>
                    <a:lnTo>
                      <a:pt x="393" y="0"/>
                    </a:lnTo>
                    <a:lnTo>
                      <a:pt x="552" y="35"/>
                    </a:lnTo>
                    <a:lnTo>
                      <a:pt x="499" y="276"/>
                    </a:lnTo>
                    <a:lnTo>
                      <a:pt x="534" y="363"/>
                    </a:lnTo>
                    <a:lnTo>
                      <a:pt x="538" y="417"/>
                    </a:lnTo>
                    <a:lnTo>
                      <a:pt x="519" y="425"/>
                    </a:lnTo>
                    <a:lnTo>
                      <a:pt x="580" y="484"/>
                    </a:lnTo>
                    <a:lnTo>
                      <a:pt x="642" y="638"/>
                    </a:lnTo>
                    <a:lnTo>
                      <a:pt x="664" y="632"/>
                    </a:lnTo>
                    <a:lnTo>
                      <a:pt x="666" y="654"/>
                    </a:lnTo>
                    <a:lnTo>
                      <a:pt x="696" y="663"/>
                    </a:lnTo>
                    <a:lnTo>
                      <a:pt x="718" y="666"/>
                    </a:lnTo>
                    <a:lnTo>
                      <a:pt x="663" y="778"/>
                    </a:lnTo>
                    <a:lnTo>
                      <a:pt x="672" y="852"/>
                    </a:lnTo>
                    <a:lnTo>
                      <a:pt x="627" y="924"/>
                    </a:lnTo>
                    <a:lnTo>
                      <a:pt x="658" y="956"/>
                    </a:lnTo>
                    <a:lnTo>
                      <a:pt x="738" y="911"/>
                    </a:lnTo>
                    <a:lnTo>
                      <a:pt x="796" y="1154"/>
                    </a:lnTo>
                    <a:lnTo>
                      <a:pt x="833" y="1166"/>
                    </a:lnTo>
                    <a:lnTo>
                      <a:pt x="840" y="1240"/>
                    </a:lnTo>
                    <a:lnTo>
                      <a:pt x="871" y="1271"/>
                    </a:lnTo>
                    <a:lnTo>
                      <a:pt x="894" y="1244"/>
                    </a:lnTo>
                    <a:lnTo>
                      <a:pt x="948" y="1268"/>
                    </a:lnTo>
                    <a:lnTo>
                      <a:pt x="981" y="1242"/>
                    </a:lnTo>
                    <a:lnTo>
                      <a:pt x="1089" y="1263"/>
                    </a:lnTo>
                    <a:lnTo>
                      <a:pt x="1115" y="1269"/>
                    </a:lnTo>
                    <a:lnTo>
                      <a:pt x="1139" y="1220"/>
                    </a:lnTo>
                    <a:lnTo>
                      <a:pt x="1185" y="1298"/>
                    </a:lnTo>
                    <a:lnTo>
                      <a:pt x="1085" y="1916"/>
                    </a:lnTo>
                    <a:lnTo>
                      <a:pt x="539" y="1816"/>
                    </a:lnTo>
                    <a:lnTo>
                      <a:pt x="0" y="1699"/>
                    </a:lnTo>
                    <a:close/>
                  </a:path>
                </a:pathLst>
              </a:custGeom>
              <a:solidFill>
                <a:schemeClr val="accent1">
                  <a:lumMod val="40000"/>
                  <a:lumOff val="60000"/>
                </a:schemeClr>
              </a:solidFill>
              <a:ln w="9525">
                <a:solidFill>
                  <a:schemeClr val="tx1"/>
                </a:solidFill>
                <a:round/>
                <a:headEnd/>
                <a:tailEnd/>
              </a:ln>
            </p:spPr>
            <p:txBody>
              <a:bodyPr/>
              <a:lstStyle/>
              <a:p>
                <a:pPr>
                  <a:defRPr/>
                </a:pPr>
                <a:endParaRPr lang="en-US" sz="1100" dirty="0">
                  <a:latin typeface="+mj-lt"/>
                </a:endParaRPr>
              </a:p>
            </p:txBody>
          </p:sp>
          <p:sp>
            <p:nvSpPr>
              <p:cNvPr id="89" name="Freeform 48"/>
              <p:cNvSpPr>
                <a:spLocks/>
              </p:cNvSpPr>
              <p:nvPr/>
            </p:nvSpPr>
            <p:spPr bwMode="gray">
              <a:xfrm>
                <a:off x="3562400" y="2220425"/>
                <a:ext cx="379077" cy="683117"/>
              </a:xfrm>
              <a:custGeom>
                <a:avLst/>
                <a:gdLst>
                  <a:gd name="T0" fmla="*/ 0 w 777"/>
                  <a:gd name="T1" fmla="*/ 619 h 1402"/>
                  <a:gd name="T2" fmla="*/ 14 w 777"/>
                  <a:gd name="T3" fmla="*/ 575 h 1402"/>
                  <a:gd name="T4" fmla="*/ 67 w 777"/>
                  <a:gd name="T5" fmla="*/ 489 h 1402"/>
                  <a:gd name="T6" fmla="*/ 94 w 777"/>
                  <a:gd name="T7" fmla="*/ 397 h 1402"/>
                  <a:gd name="T8" fmla="*/ 68 w 777"/>
                  <a:gd name="T9" fmla="*/ 330 h 1402"/>
                  <a:gd name="T10" fmla="*/ 202 w 777"/>
                  <a:gd name="T11" fmla="*/ 226 h 1402"/>
                  <a:gd name="T12" fmla="*/ 229 w 777"/>
                  <a:gd name="T13" fmla="*/ 172 h 1402"/>
                  <a:gd name="T14" fmla="*/ 229 w 777"/>
                  <a:gd name="T15" fmla="*/ 146 h 1402"/>
                  <a:gd name="T16" fmla="*/ 132 w 777"/>
                  <a:gd name="T17" fmla="*/ 33 h 1402"/>
                  <a:gd name="T18" fmla="*/ 653 w 777"/>
                  <a:gd name="T19" fmla="*/ 0 h 1402"/>
                  <a:gd name="T20" fmla="*/ 666 w 777"/>
                  <a:gd name="T21" fmla="*/ 85 h 1402"/>
                  <a:gd name="T22" fmla="*/ 718 w 777"/>
                  <a:gd name="T23" fmla="*/ 187 h 1402"/>
                  <a:gd name="T24" fmla="*/ 763 w 777"/>
                  <a:gd name="T25" fmla="*/ 722 h 1402"/>
                  <a:gd name="T26" fmla="*/ 754 w 777"/>
                  <a:gd name="T27" fmla="*/ 833 h 1402"/>
                  <a:gd name="T28" fmla="*/ 777 w 777"/>
                  <a:gd name="T29" fmla="*/ 898 h 1402"/>
                  <a:gd name="T30" fmla="*/ 748 w 777"/>
                  <a:gd name="T31" fmla="*/ 1020 h 1402"/>
                  <a:gd name="T32" fmla="*/ 707 w 777"/>
                  <a:gd name="T33" fmla="*/ 1074 h 1402"/>
                  <a:gd name="T34" fmla="*/ 687 w 777"/>
                  <a:gd name="T35" fmla="*/ 1160 h 1402"/>
                  <a:gd name="T36" fmla="*/ 706 w 777"/>
                  <a:gd name="T37" fmla="*/ 1185 h 1402"/>
                  <a:gd name="T38" fmla="*/ 690 w 777"/>
                  <a:gd name="T39" fmla="*/ 1239 h 1402"/>
                  <a:gd name="T40" fmla="*/ 700 w 777"/>
                  <a:gd name="T41" fmla="*/ 1258 h 1402"/>
                  <a:gd name="T42" fmla="*/ 638 w 777"/>
                  <a:gd name="T43" fmla="*/ 1283 h 1402"/>
                  <a:gd name="T44" fmla="*/ 625 w 777"/>
                  <a:gd name="T45" fmla="*/ 1372 h 1402"/>
                  <a:gd name="T46" fmla="*/ 536 w 777"/>
                  <a:gd name="T47" fmla="*/ 1340 h 1402"/>
                  <a:gd name="T48" fmla="*/ 490 w 777"/>
                  <a:gd name="T49" fmla="*/ 1385 h 1402"/>
                  <a:gd name="T50" fmla="*/ 492 w 777"/>
                  <a:gd name="T51" fmla="*/ 1402 h 1402"/>
                  <a:gd name="T52" fmla="*/ 463 w 777"/>
                  <a:gd name="T53" fmla="*/ 1400 h 1402"/>
                  <a:gd name="T54" fmla="*/ 432 w 777"/>
                  <a:gd name="T55" fmla="*/ 1341 h 1402"/>
                  <a:gd name="T56" fmla="*/ 416 w 777"/>
                  <a:gd name="T57" fmla="*/ 1261 h 1402"/>
                  <a:gd name="T58" fmla="*/ 383 w 777"/>
                  <a:gd name="T59" fmla="*/ 1206 h 1402"/>
                  <a:gd name="T60" fmla="*/ 331 w 777"/>
                  <a:gd name="T61" fmla="*/ 1185 h 1402"/>
                  <a:gd name="T62" fmla="*/ 264 w 777"/>
                  <a:gd name="T63" fmla="*/ 1133 h 1402"/>
                  <a:gd name="T64" fmla="*/ 243 w 777"/>
                  <a:gd name="T65" fmla="*/ 1062 h 1402"/>
                  <a:gd name="T66" fmla="*/ 280 w 777"/>
                  <a:gd name="T67" fmla="*/ 952 h 1402"/>
                  <a:gd name="T68" fmla="*/ 249 w 777"/>
                  <a:gd name="T69" fmla="*/ 931 h 1402"/>
                  <a:gd name="T70" fmla="*/ 171 w 777"/>
                  <a:gd name="T71" fmla="*/ 932 h 1402"/>
                  <a:gd name="T72" fmla="*/ 158 w 777"/>
                  <a:gd name="T73" fmla="*/ 861 h 1402"/>
                  <a:gd name="T74" fmla="*/ 29 w 777"/>
                  <a:gd name="T75" fmla="*/ 730 h 1402"/>
                  <a:gd name="T76" fmla="*/ 0 w 777"/>
                  <a:gd name="T77" fmla="*/ 619 h 140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777"/>
                  <a:gd name="T118" fmla="*/ 0 h 1402"/>
                  <a:gd name="T119" fmla="*/ 777 w 777"/>
                  <a:gd name="T120" fmla="*/ 1402 h 140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777" h="1402">
                    <a:moveTo>
                      <a:pt x="0" y="619"/>
                    </a:moveTo>
                    <a:lnTo>
                      <a:pt x="14" y="575"/>
                    </a:lnTo>
                    <a:lnTo>
                      <a:pt x="67" y="489"/>
                    </a:lnTo>
                    <a:lnTo>
                      <a:pt x="94" y="397"/>
                    </a:lnTo>
                    <a:lnTo>
                      <a:pt x="68" y="330"/>
                    </a:lnTo>
                    <a:lnTo>
                      <a:pt x="202" y="226"/>
                    </a:lnTo>
                    <a:lnTo>
                      <a:pt x="229" y="172"/>
                    </a:lnTo>
                    <a:lnTo>
                      <a:pt x="229" y="146"/>
                    </a:lnTo>
                    <a:lnTo>
                      <a:pt x="132" y="33"/>
                    </a:lnTo>
                    <a:lnTo>
                      <a:pt x="653" y="0"/>
                    </a:lnTo>
                    <a:lnTo>
                      <a:pt x="666" y="85"/>
                    </a:lnTo>
                    <a:lnTo>
                      <a:pt x="718" y="187"/>
                    </a:lnTo>
                    <a:lnTo>
                      <a:pt x="763" y="722"/>
                    </a:lnTo>
                    <a:lnTo>
                      <a:pt x="754" y="833"/>
                    </a:lnTo>
                    <a:lnTo>
                      <a:pt x="777" y="898"/>
                    </a:lnTo>
                    <a:lnTo>
                      <a:pt x="748" y="1020"/>
                    </a:lnTo>
                    <a:lnTo>
                      <a:pt x="707" y="1074"/>
                    </a:lnTo>
                    <a:lnTo>
                      <a:pt x="687" y="1160"/>
                    </a:lnTo>
                    <a:lnTo>
                      <a:pt x="706" y="1185"/>
                    </a:lnTo>
                    <a:lnTo>
                      <a:pt x="690" y="1239"/>
                    </a:lnTo>
                    <a:lnTo>
                      <a:pt x="700" y="1258"/>
                    </a:lnTo>
                    <a:lnTo>
                      <a:pt x="638" y="1283"/>
                    </a:lnTo>
                    <a:lnTo>
                      <a:pt x="625" y="1372"/>
                    </a:lnTo>
                    <a:lnTo>
                      <a:pt x="536" y="1340"/>
                    </a:lnTo>
                    <a:lnTo>
                      <a:pt x="490" y="1385"/>
                    </a:lnTo>
                    <a:lnTo>
                      <a:pt x="492" y="1402"/>
                    </a:lnTo>
                    <a:lnTo>
                      <a:pt x="463" y="1400"/>
                    </a:lnTo>
                    <a:lnTo>
                      <a:pt x="432" y="1341"/>
                    </a:lnTo>
                    <a:lnTo>
                      <a:pt x="416" y="1261"/>
                    </a:lnTo>
                    <a:lnTo>
                      <a:pt x="383" y="1206"/>
                    </a:lnTo>
                    <a:lnTo>
                      <a:pt x="331" y="1185"/>
                    </a:lnTo>
                    <a:lnTo>
                      <a:pt x="264" y="1133"/>
                    </a:lnTo>
                    <a:lnTo>
                      <a:pt x="243" y="1062"/>
                    </a:lnTo>
                    <a:lnTo>
                      <a:pt x="280" y="952"/>
                    </a:lnTo>
                    <a:lnTo>
                      <a:pt x="249" y="931"/>
                    </a:lnTo>
                    <a:lnTo>
                      <a:pt x="171" y="932"/>
                    </a:lnTo>
                    <a:lnTo>
                      <a:pt x="158" y="861"/>
                    </a:lnTo>
                    <a:lnTo>
                      <a:pt x="29" y="730"/>
                    </a:lnTo>
                    <a:lnTo>
                      <a:pt x="0" y="619"/>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90" name="Freeform 49"/>
              <p:cNvSpPr>
                <a:spLocks/>
              </p:cNvSpPr>
              <p:nvPr/>
            </p:nvSpPr>
            <p:spPr bwMode="gray">
              <a:xfrm>
                <a:off x="3897624" y="2282793"/>
                <a:ext cx="300143" cy="514531"/>
              </a:xfrm>
              <a:custGeom>
                <a:avLst/>
                <a:gdLst>
                  <a:gd name="T0" fmla="*/ 0 w 616"/>
                  <a:gd name="T1" fmla="*/ 1032 h 1057"/>
                  <a:gd name="T2" fmla="*/ 19 w 616"/>
                  <a:gd name="T3" fmla="*/ 1057 h 1057"/>
                  <a:gd name="T4" fmla="*/ 37 w 616"/>
                  <a:gd name="T5" fmla="*/ 1027 h 1057"/>
                  <a:gd name="T6" fmla="*/ 126 w 616"/>
                  <a:gd name="T7" fmla="*/ 1012 h 1057"/>
                  <a:gd name="T8" fmla="*/ 158 w 616"/>
                  <a:gd name="T9" fmla="*/ 1020 h 1057"/>
                  <a:gd name="T10" fmla="*/ 252 w 616"/>
                  <a:gd name="T11" fmla="*/ 987 h 1057"/>
                  <a:gd name="T12" fmla="*/ 285 w 616"/>
                  <a:gd name="T13" fmla="*/ 1017 h 1057"/>
                  <a:gd name="T14" fmla="*/ 316 w 616"/>
                  <a:gd name="T15" fmla="*/ 946 h 1057"/>
                  <a:gd name="T16" fmla="*/ 347 w 616"/>
                  <a:gd name="T17" fmla="*/ 928 h 1057"/>
                  <a:gd name="T18" fmla="*/ 416 w 616"/>
                  <a:gd name="T19" fmla="*/ 967 h 1057"/>
                  <a:gd name="T20" fmla="*/ 426 w 616"/>
                  <a:gd name="T21" fmla="*/ 922 h 1057"/>
                  <a:gd name="T22" fmla="*/ 501 w 616"/>
                  <a:gd name="T23" fmla="*/ 828 h 1057"/>
                  <a:gd name="T24" fmla="*/ 518 w 616"/>
                  <a:gd name="T25" fmla="*/ 771 h 1057"/>
                  <a:gd name="T26" fmla="*/ 545 w 616"/>
                  <a:gd name="T27" fmla="*/ 779 h 1057"/>
                  <a:gd name="T28" fmla="*/ 616 w 616"/>
                  <a:gd name="T29" fmla="*/ 730 h 1057"/>
                  <a:gd name="T30" fmla="*/ 596 w 616"/>
                  <a:gd name="T31" fmla="*/ 690 h 1057"/>
                  <a:gd name="T32" fmla="*/ 607 w 616"/>
                  <a:gd name="T33" fmla="*/ 667 h 1057"/>
                  <a:gd name="T34" fmla="*/ 537 w 616"/>
                  <a:gd name="T35" fmla="*/ 16 h 1057"/>
                  <a:gd name="T36" fmla="*/ 530 w 616"/>
                  <a:gd name="T37" fmla="*/ 0 h 1057"/>
                  <a:gd name="T38" fmla="*/ 162 w 616"/>
                  <a:gd name="T39" fmla="*/ 40 h 1057"/>
                  <a:gd name="T40" fmla="*/ 91 w 616"/>
                  <a:gd name="T41" fmla="*/ 81 h 1057"/>
                  <a:gd name="T42" fmla="*/ 31 w 616"/>
                  <a:gd name="T43" fmla="*/ 59 h 1057"/>
                  <a:gd name="T44" fmla="*/ 76 w 616"/>
                  <a:gd name="T45" fmla="*/ 594 h 1057"/>
                  <a:gd name="T46" fmla="*/ 67 w 616"/>
                  <a:gd name="T47" fmla="*/ 705 h 1057"/>
                  <a:gd name="T48" fmla="*/ 90 w 616"/>
                  <a:gd name="T49" fmla="*/ 770 h 1057"/>
                  <a:gd name="T50" fmla="*/ 61 w 616"/>
                  <a:gd name="T51" fmla="*/ 892 h 1057"/>
                  <a:gd name="T52" fmla="*/ 20 w 616"/>
                  <a:gd name="T53" fmla="*/ 946 h 1057"/>
                  <a:gd name="T54" fmla="*/ 0 w 616"/>
                  <a:gd name="T55" fmla="*/ 1032 h 105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16"/>
                  <a:gd name="T85" fmla="*/ 0 h 1057"/>
                  <a:gd name="T86" fmla="*/ 616 w 616"/>
                  <a:gd name="T87" fmla="*/ 1057 h 105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16" h="1057">
                    <a:moveTo>
                      <a:pt x="0" y="1032"/>
                    </a:moveTo>
                    <a:lnTo>
                      <a:pt x="19" y="1057"/>
                    </a:lnTo>
                    <a:lnTo>
                      <a:pt x="37" y="1027"/>
                    </a:lnTo>
                    <a:lnTo>
                      <a:pt x="126" y="1012"/>
                    </a:lnTo>
                    <a:lnTo>
                      <a:pt x="158" y="1020"/>
                    </a:lnTo>
                    <a:lnTo>
                      <a:pt x="252" y="987"/>
                    </a:lnTo>
                    <a:lnTo>
                      <a:pt x="285" y="1017"/>
                    </a:lnTo>
                    <a:lnTo>
                      <a:pt x="316" y="946"/>
                    </a:lnTo>
                    <a:lnTo>
                      <a:pt x="347" y="928"/>
                    </a:lnTo>
                    <a:lnTo>
                      <a:pt x="416" y="967"/>
                    </a:lnTo>
                    <a:lnTo>
                      <a:pt x="426" y="922"/>
                    </a:lnTo>
                    <a:lnTo>
                      <a:pt x="501" y="828"/>
                    </a:lnTo>
                    <a:lnTo>
                      <a:pt x="518" y="771"/>
                    </a:lnTo>
                    <a:lnTo>
                      <a:pt x="545" y="779"/>
                    </a:lnTo>
                    <a:lnTo>
                      <a:pt x="616" y="730"/>
                    </a:lnTo>
                    <a:lnTo>
                      <a:pt x="596" y="690"/>
                    </a:lnTo>
                    <a:lnTo>
                      <a:pt x="607" y="667"/>
                    </a:lnTo>
                    <a:lnTo>
                      <a:pt x="537" y="16"/>
                    </a:lnTo>
                    <a:lnTo>
                      <a:pt x="530" y="0"/>
                    </a:lnTo>
                    <a:lnTo>
                      <a:pt x="162" y="40"/>
                    </a:lnTo>
                    <a:lnTo>
                      <a:pt x="91" y="81"/>
                    </a:lnTo>
                    <a:lnTo>
                      <a:pt x="31" y="59"/>
                    </a:lnTo>
                    <a:lnTo>
                      <a:pt x="76" y="594"/>
                    </a:lnTo>
                    <a:lnTo>
                      <a:pt x="67" y="705"/>
                    </a:lnTo>
                    <a:lnTo>
                      <a:pt x="90" y="770"/>
                    </a:lnTo>
                    <a:lnTo>
                      <a:pt x="61" y="892"/>
                    </a:lnTo>
                    <a:lnTo>
                      <a:pt x="20" y="946"/>
                    </a:lnTo>
                    <a:lnTo>
                      <a:pt x="0" y="1032"/>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91" name="Freeform 50"/>
              <p:cNvSpPr>
                <a:spLocks/>
              </p:cNvSpPr>
              <p:nvPr/>
            </p:nvSpPr>
            <p:spPr bwMode="gray">
              <a:xfrm>
                <a:off x="3096593" y="2118104"/>
                <a:ext cx="577873" cy="382975"/>
              </a:xfrm>
              <a:custGeom>
                <a:avLst/>
                <a:gdLst>
                  <a:gd name="T0" fmla="*/ 0 w 1185"/>
                  <a:gd name="T1" fmla="*/ 15 h 785"/>
                  <a:gd name="T2" fmla="*/ 3 w 1185"/>
                  <a:gd name="T3" fmla="*/ 76 h 785"/>
                  <a:gd name="T4" fmla="*/ 25 w 1185"/>
                  <a:gd name="T5" fmla="*/ 121 h 785"/>
                  <a:gd name="T6" fmla="*/ 10 w 1185"/>
                  <a:gd name="T7" fmla="*/ 165 h 785"/>
                  <a:gd name="T8" fmla="*/ 23 w 1185"/>
                  <a:gd name="T9" fmla="*/ 274 h 785"/>
                  <a:gd name="T10" fmla="*/ 79 w 1185"/>
                  <a:gd name="T11" fmla="*/ 429 h 785"/>
                  <a:gd name="T12" fmla="*/ 80 w 1185"/>
                  <a:gd name="T13" fmla="*/ 477 h 785"/>
                  <a:gd name="T14" fmla="*/ 117 w 1185"/>
                  <a:gd name="T15" fmla="*/ 549 h 785"/>
                  <a:gd name="T16" fmla="*/ 135 w 1185"/>
                  <a:gd name="T17" fmla="*/ 668 h 785"/>
                  <a:gd name="T18" fmla="*/ 126 w 1185"/>
                  <a:gd name="T19" fmla="*/ 704 h 785"/>
                  <a:gd name="T20" fmla="*/ 149 w 1185"/>
                  <a:gd name="T21" fmla="*/ 743 h 785"/>
                  <a:gd name="T22" fmla="*/ 912 w 1185"/>
                  <a:gd name="T23" fmla="*/ 727 h 785"/>
                  <a:gd name="T24" fmla="*/ 970 w 1185"/>
                  <a:gd name="T25" fmla="*/ 785 h 785"/>
                  <a:gd name="T26" fmla="*/ 1023 w 1185"/>
                  <a:gd name="T27" fmla="*/ 699 h 785"/>
                  <a:gd name="T28" fmla="*/ 1050 w 1185"/>
                  <a:gd name="T29" fmla="*/ 607 h 785"/>
                  <a:gd name="T30" fmla="*/ 1024 w 1185"/>
                  <a:gd name="T31" fmla="*/ 540 h 785"/>
                  <a:gd name="T32" fmla="*/ 1158 w 1185"/>
                  <a:gd name="T33" fmla="*/ 436 h 785"/>
                  <a:gd name="T34" fmla="*/ 1185 w 1185"/>
                  <a:gd name="T35" fmla="*/ 382 h 785"/>
                  <a:gd name="T36" fmla="*/ 1185 w 1185"/>
                  <a:gd name="T37" fmla="*/ 356 h 785"/>
                  <a:gd name="T38" fmla="*/ 1088 w 1185"/>
                  <a:gd name="T39" fmla="*/ 243 h 785"/>
                  <a:gd name="T40" fmla="*/ 989 w 1185"/>
                  <a:gd name="T41" fmla="*/ 126 h 785"/>
                  <a:gd name="T42" fmla="*/ 970 w 1185"/>
                  <a:gd name="T43" fmla="*/ 0 h 785"/>
                  <a:gd name="T44" fmla="*/ 27 w 1185"/>
                  <a:gd name="T45" fmla="*/ 17 h 785"/>
                  <a:gd name="T46" fmla="*/ 0 w 1185"/>
                  <a:gd name="T47" fmla="*/ 15 h 78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85"/>
                  <a:gd name="T73" fmla="*/ 0 h 785"/>
                  <a:gd name="T74" fmla="*/ 1185 w 1185"/>
                  <a:gd name="T75" fmla="*/ 785 h 78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85" h="785">
                    <a:moveTo>
                      <a:pt x="0" y="15"/>
                    </a:moveTo>
                    <a:lnTo>
                      <a:pt x="3" y="76"/>
                    </a:lnTo>
                    <a:lnTo>
                      <a:pt x="25" y="121"/>
                    </a:lnTo>
                    <a:lnTo>
                      <a:pt x="10" y="165"/>
                    </a:lnTo>
                    <a:lnTo>
                      <a:pt x="23" y="274"/>
                    </a:lnTo>
                    <a:lnTo>
                      <a:pt x="79" y="429"/>
                    </a:lnTo>
                    <a:lnTo>
                      <a:pt x="80" y="477"/>
                    </a:lnTo>
                    <a:lnTo>
                      <a:pt x="117" y="549"/>
                    </a:lnTo>
                    <a:lnTo>
                      <a:pt x="135" y="668"/>
                    </a:lnTo>
                    <a:lnTo>
                      <a:pt x="126" y="704"/>
                    </a:lnTo>
                    <a:lnTo>
                      <a:pt x="149" y="743"/>
                    </a:lnTo>
                    <a:lnTo>
                      <a:pt x="912" y="727"/>
                    </a:lnTo>
                    <a:lnTo>
                      <a:pt x="970" y="785"/>
                    </a:lnTo>
                    <a:lnTo>
                      <a:pt x="1023" y="699"/>
                    </a:lnTo>
                    <a:lnTo>
                      <a:pt x="1050" y="607"/>
                    </a:lnTo>
                    <a:lnTo>
                      <a:pt x="1024" y="540"/>
                    </a:lnTo>
                    <a:lnTo>
                      <a:pt x="1158" y="436"/>
                    </a:lnTo>
                    <a:lnTo>
                      <a:pt x="1185" y="382"/>
                    </a:lnTo>
                    <a:lnTo>
                      <a:pt x="1185" y="356"/>
                    </a:lnTo>
                    <a:lnTo>
                      <a:pt x="1088" y="243"/>
                    </a:lnTo>
                    <a:lnTo>
                      <a:pt x="989" y="126"/>
                    </a:lnTo>
                    <a:lnTo>
                      <a:pt x="970" y="0"/>
                    </a:lnTo>
                    <a:lnTo>
                      <a:pt x="27" y="17"/>
                    </a:lnTo>
                    <a:lnTo>
                      <a:pt x="0" y="15"/>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92" name="Freeform 51"/>
              <p:cNvSpPr>
                <a:spLocks/>
              </p:cNvSpPr>
              <p:nvPr/>
            </p:nvSpPr>
            <p:spPr bwMode="gray">
              <a:xfrm>
                <a:off x="2560623" y="2533237"/>
                <a:ext cx="718199" cy="387847"/>
              </a:xfrm>
              <a:custGeom>
                <a:avLst/>
                <a:gdLst>
                  <a:gd name="T0" fmla="*/ 0 w 1474"/>
                  <a:gd name="T1" fmla="*/ 758 h 798"/>
                  <a:gd name="T2" fmla="*/ 50 w 1474"/>
                  <a:gd name="T3" fmla="*/ 0 h 798"/>
                  <a:gd name="T4" fmla="*/ 600 w 1474"/>
                  <a:gd name="T5" fmla="*/ 32 h 798"/>
                  <a:gd name="T6" fmla="*/ 1329 w 1474"/>
                  <a:gd name="T7" fmla="*/ 41 h 798"/>
                  <a:gd name="T8" fmla="*/ 1368 w 1474"/>
                  <a:gd name="T9" fmla="*/ 76 h 798"/>
                  <a:gd name="T10" fmla="*/ 1391 w 1474"/>
                  <a:gd name="T11" fmla="*/ 69 h 798"/>
                  <a:gd name="T12" fmla="*/ 1414 w 1474"/>
                  <a:gd name="T13" fmla="*/ 88 h 798"/>
                  <a:gd name="T14" fmla="*/ 1417 w 1474"/>
                  <a:gd name="T15" fmla="*/ 108 h 798"/>
                  <a:gd name="T16" fmla="*/ 1396 w 1474"/>
                  <a:gd name="T17" fmla="*/ 109 h 798"/>
                  <a:gd name="T18" fmla="*/ 1371 w 1474"/>
                  <a:gd name="T19" fmla="*/ 162 h 798"/>
                  <a:gd name="T20" fmla="*/ 1429 w 1474"/>
                  <a:gd name="T21" fmla="*/ 245 h 798"/>
                  <a:gd name="T22" fmla="*/ 1474 w 1474"/>
                  <a:gd name="T23" fmla="*/ 258 h 798"/>
                  <a:gd name="T24" fmla="*/ 1468 w 1474"/>
                  <a:gd name="T25" fmla="*/ 796 h 798"/>
                  <a:gd name="T26" fmla="*/ 838 w 1474"/>
                  <a:gd name="T27" fmla="*/ 798 h 798"/>
                  <a:gd name="T28" fmla="*/ 0 w 1474"/>
                  <a:gd name="T29" fmla="*/ 758 h 79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74"/>
                  <a:gd name="T46" fmla="*/ 0 h 798"/>
                  <a:gd name="T47" fmla="*/ 1474 w 1474"/>
                  <a:gd name="T48" fmla="*/ 798 h 79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74" h="798">
                    <a:moveTo>
                      <a:pt x="0" y="758"/>
                    </a:moveTo>
                    <a:lnTo>
                      <a:pt x="50" y="0"/>
                    </a:lnTo>
                    <a:lnTo>
                      <a:pt x="600" y="32"/>
                    </a:lnTo>
                    <a:lnTo>
                      <a:pt x="1329" y="41"/>
                    </a:lnTo>
                    <a:lnTo>
                      <a:pt x="1368" y="76"/>
                    </a:lnTo>
                    <a:lnTo>
                      <a:pt x="1391" y="69"/>
                    </a:lnTo>
                    <a:lnTo>
                      <a:pt x="1414" y="88"/>
                    </a:lnTo>
                    <a:lnTo>
                      <a:pt x="1417" y="108"/>
                    </a:lnTo>
                    <a:lnTo>
                      <a:pt x="1396" y="109"/>
                    </a:lnTo>
                    <a:lnTo>
                      <a:pt x="1371" y="162"/>
                    </a:lnTo>
                    <a:lnTo>
                      <a:pt x="1429" y="245"/>
                    </a:lnTo>
                    <a:lnTo>
                      <a:pt x="1474" y="258"/>
                    </a:lnTo>
                    <a:lnTo>
                      <a:pt x="1468" y="796"/>
                    </a:lnTo>
                    <a:lnTo>
                      <a:pt x="838" y="798"/>
                    </a:lnTo>
                    <a:lnTo>
                      <a:pt x="0" y="758"/>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93" name="Freeform 52"/>
              <p:cNvSpPr>
                <a:spLocks/>
              </p:cNvSpPr>
              <p:nvPr/>
            </p:nvSpPr>
            <p:spPr bwMode="gray">
              <a:xfrm>
                <a:off x="3784583" y="2606324"/>
                <a:ext cx="702607" cy="359587"/>
              </a:xfrm>
              <a:custGeom>
                <a:avLst/>
                <a:gdLst>
                  <a:gd name="T0" fmla="*/ 0 w 1440"/>
                  <a:gd name="T1" fmla="*/ 738 h 738"/>
                  <a:gd name="T2" fmla="*/ 13 w 1440"/>
                  <a:gd name="T3" fmla="*/ 703 h 738"/>
                  <a:gd name="T4" fmla="*/ 46 w 1440"/>
                  <a:gd name="T5" fmla="*/ 698 h 738"/>
                  <a:gd name="T6" fmla="*/ 55 w 1440"/>
                  <a:gd name="T7" fmla="*/ 616 h 738"/>
                  <a:gd name="T8" fmla="*/ 36 w 1440"/>
                  <a:gd name="T9" fmla="*/ 610 h 738"/>
                  <a:gd name="T10" fmla="*/ 34 w 1440"/>
                  <a:gd name="T11" fmla="*/ 593 h 738"/>
                  <a:gd name="T12" fmla="*/ 80 w 1440"/>
                  <a:gd name="T13" fmla="*/ 548 h 738"/>
                  <a:gd name="T14" fmla="*/ 169 w 1440"/>
                  <a:gd name="T15" fmla="*/ 580 h 738"/>
                  <a:gd name="T16" fmla="*/ 182 w 1440"/>
                  <a:gd name="T17" fmla="*/ 491 h 738"/>
                  <a:gd name="T18" fmla="*/ 244 w 1440"/>
                  <a:gd name="T19" fmla="*/ 466 h 738"/>
                  <a:gd name="T20" fmla="*/ 234 w 1440"/>
                  <a:gd name="T21" fmla="*/ 447 h 738"/>
                  <a:gd name="T22" fmla="*/ 250 w 1440"/>
                  <a:gd name="T23" fmla="*/ 393 h 738"/>
                  <a:gd name="T24" fmla="*/ 268 w 1440"/>
                  <a:gd name="T25" fmla="*/ 363 h 738"/>
                  <a:gd name="T26" fmla="*/ 357 w 1440"/>
                  <a:gd name="T27" fmla="*/ 348 h 738"/>
                  <a:gd name="T28" fmla="*/ 389 w 1440"/>
                  <a:gd name="T29" fmla="*/ 356 h 738"/>
                  <a:gd name="T30" fmla="*/ 483 w 1440"/>
                  <a:gd name="T31" fmla="*/ 323 h 738"/>
                  <a:gd name="T32" fmla="*/ 516 w 1440"/>
                  <a:gd name="T33" fmla="*/ 353 h 738"/>
                  <a:gd name="T34" fmla="*/ 547 w 1440"/>
                  <a:gd name="T35" fmla="*/ 282 h 738"/>
                  <a:gd name="T36" fmla="*/ 578 w 1440"/>
                  <a:gd name="T37" fmla="*/ 264 h 738"/>
                  <a:gd name="T38" fmla="*/ 647 w 1440"/>
                  <a:gd name="T39" fmla="*/ 303 h 738"/>
                  <a:gd name="T40" fmla="*/ 657 w 1440"/>
                  <a:gd name="T41" fmla="*/ 258 h 738"/>
                  <a:gd name="T42" fmla="*/ 732 w 1440"/>
                  <a:gd name="T43" fmla="*/ 164 h 738"/>
                  <a:gd name="T44" fmla="*/ 749 w 1440"/>
                  <a:gd name="T45" fmla="*/ 107 h 738"/>
                  <a:gd name="T46" fmla="*/ 776 w 1440"/>
                  <a:gd name="T47" fmla="*/ 115 h 738"/>
                  <a:gd name="T48" fmla="*/ 847 w 1440"/>
                  <a:gd name="T49" fmla="*/ 66 h 738"/>
                  <a:gd name="T50" fmla="*/ 827 w 1440"/>
                  <a:gd name="T51" fmla="*/ 26 h 738"/>
                  <a:gd name="T52" fmla="*/ 838 w 1440"/>
                  <a:gd name="T53" fmla="*/ 3 h 738"/>
                  <a:gd name="T54" fmla="*/ 898 w 1440"/>
                  <a:gd name="T55" fmla="*/ 0 h 738"/>
                  <a:gd name="T56" fmla="*/ 938 w 1440"/>
                  <a:gd name="T57" fmla="*/ 14 h 738"/>
                  <a:gd name="T58" fmla="*/ 959 w 1440"/>
                  <a:gd name="T59" fmla="*/ 57 h 738"/>
                  <a:gd name="T60" fmla="*/ 1024 w 1440"/>
                  <a:gd name="T61" fmla="*/ 68 h 738"/>
                  <a:gd name="T62" fmla="*/ 1064 w 1440"/>
                  <a:gd name="T63" fmla="*/ 91 h 738"/>
                  <a:gd name="T64" fmla="*/ 1153 w 1440"/>
                  <a:gd name="T65" fmla="*/ 86 h 738"/>
                  <a:gd name="T66" fmla="*/ 1196 w 1440"/>
                  <a:gd name="T67" fmla="*/ 57 h 738"/>
                  <a:gd name="T68" fmla="*/ 1291 w 1440"/>
                  <a:gd name="T69" fmla="*/ 120 h 738"/>
                  <a:gd name="T70" fmla="*/ 1326 w 1440"/>
                  <a:gd name="T71" fmla="*/ 242 h 738"/>
                  <a:gd name="T72" fmla="*/ 1365 w 1440"/>
                  <a:gd name="T73" fmla="*/ 284 h 738"/>
                  <a:gd name="T74" fmla="*/ 1440 w 1440"/>
                  <a:gd name="T75" fmla="*/ 327 h 738"/>
                  <a:gd name="T76" fmla="*/ 1385 w 1440"/>
                  <a:gd name="T77" fmla="*/ 393 h 738"/>
                  <a:gd name="T78" fmla="*/ 1337 w 1440"/>
                  <a:gd name="T79" fmla="*/ 427 h 738"/>
                  <a:gd name="T80" fmla="*/ 1285 w 1440"/>
                  <a:gd name="T81" fmla="*/ 490 h 738"/>
                  <a:gd name="T82" fmla="*/ 1284 w 1440"/>
                  <a:gd name="T83" fmla="*/ 511 h 738"/>
                  <a:gd name="T84" fmla="*/ 1141 w 1440"/>
                  <a:gd name="T85" fmla="*/ 606 h 738"/>
                  <a:gd name="T86" fmla="*/ 348 w 1440"/>
                  <a:gd name="T87" fmla="*/ 679 h 738"/>
                  <a:gd name="T88" fmla="*/ 263 w 1440"/>
                  <a:gd name="T89" fmla="*/ 675 h 738"/>
                  <a:gd name="T90" fmla="*/ 267 w 1440"/>
                  <a:gd name="T91" fmla="*/ 719 h 738"/>
                  <a:gd name="T92" fmla="*/ 0 w 1440"/>
                  <a:gd name="T93" fmla="*/ 738 h 73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440"/>
                  <a:gd name="T142" fmla="*/ 0 h 738"/>
                  <a:gd name="T143" fmla="*/ 1440 w 1440"/>
                  <a:gd name="T144" fmla="*/ 738 h 73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440" h="738">
                    <a:moveTo>
                      <a:pt x="0" y="738"/>
                    </a:moveTo>
                    <a:lnTo>
                      <a:pt x="13" y="703"/>
                    </a:lnTo>
                    <a:lnTo>
                      <a:pt x="46" y="698"/>
                    </a:lnTo>
                    <a:lnTo>
                      <a:pt x="55" y="616"/>
                    </a:lnTo>
                    <a:lnTo>
                      <a:pt x="36" y="610"/>
                    </a:lnTo>
                    <a:lnTo>
                      <a:pt x="34" y="593"/>
                    </a:lnTo>
                    <a:lnTo>
                      <a:pt x="80" y="548"/>
                    </a:lnTo>
                    <a:lnTo>
                      <a:pt x="169" y="580"/>
                    </a:lnTo>
                    <a:lnTo>
                      <a:pt x="182" y="491"/>
                    </a:lnTo>
                    <a:lnTo>
                      <a:pt x="244" y="466"/>
                    </a:lnTo>
                    <a:lnTo>
                      <a:pt x="234" y="447"/>
                    </a:lnTo>
                    <a:lnTo>
                      <a:pt x="250" y="393"/>
                    </a:lnTo>
                    <a:lnTo>
                      <a:pt x="268" y="363"/>
                    </a:lnTo>
                    <a:lnTo>
                      <a:pt x="357" y="348"/>
                    </a:lnTo>
                    <a:lnTo>
                      <a:pt x="389" y="356"/>
                    </a:lnTo>
                    <a:lnTo>
                      <a:pt x="483" y="323"/>
                    </a:lnTo>
                    <a:lnTo>
                      <a:pt x="516" y="353"/>
                    </a:lnTo>
                    <a:lnTo>
                      <a:pt x="547" y="282"/>
                    </a:lnTo>
                    <a:lnTo>
                      <a:pt x="578" y="264"/>
                    </a:lnTo>
                    <a:lnTo>
                      <a:pt x="647" y="303"/>
                    </a:lnTo>
                    <a:lnTo>
                      <a:pt x="657" y="258"/>
                    </a:lnTo>
                    <a:lnTo>
                      <a:pt x="732" y="164"/>
                    </a:lnTo>
                    <a:lnTo>
                      <a:pt x="749" y="107"/>
                    </a:lnTo>
                    <a:lnTo>
                      <a:pt x="776" y="115"/>
                    </a:lnTo>
                    <a:lnTo>
                      <a:pt x="847" y="66"/>
                    </a:lnTo>
                    <a:lnTo>
                      <a:pt x="827" y="26"/>
                    </a:lnTo>
                    <a:lnTo>
                      <a:pt x="838" y="3"/>
                    </a:lnTo>
                    <a:lnTo>
                      <a:pt x="898" y="0"/>
                    </a:lnTo>
                    <a:lnTo>
                      <a:pt x="938" y="14"/>
                    </a:lnTo>
                    <a:lnTo>
                      <a:pt x="959" y="57"/>
                    </a:lnTo>
                    <a:lnTo>
                      <a:pt x="1024" y="68"/>
                    </a:lnTo>
                    <a:lnTo>
                      <a:pt x="1064" y="91"/>
                    </a:lnTo>
                    <a:lnTo>
                      <a:pt x="1153" y="86"/>
                    </a:lnTo>
                    <a:lnTo>
                      <a:pt x="1196" y="57"/>
                    </a:lnTo>
                    <a:lnTo>
                      <a:pt x="1291" y="120"/>
                    </a:lnTo>
                    <a:lnTo>
                      <a:pt x="1326" y="242"/>
                    </a:lnTo>
                    <a:lnTo>
                      <a:pt x="1365" y="284"/>
                    </a:lnTo>
                    <a:lnTo>
                      <a:pt x="1440" y="327"/>
                    </a:lnTo>
                    <a:lnTo>
                      <a:pt x="1385" y="393"/>
                    </a:lnTo>
                    <a:lnTo>
                      <a:pt x="1337" y="427"/>
                    </a:lnTo>
                    <a:lnTo>
                      <a:pt x="1285" y="490"/>
                    </a:lnTo>
                    <a:lnTo>
                      <a:pt x="1284" y="511"/>
                    </a:lnTo>
                    <a:lnTo>
                      <a:pt x="1141" y="606"/>
                    </a:lnTo>
                    <a:lnTo>
                      <a:pt x="348" y="679"/>
                    </a:lnTo>
                    <a:lnTo>
                      <a:pt x="263" y="675"/>
                    </a:lnTo>
                    <a:lnTo>
                      <a:pt x="267" y="719"/>
                    </a:lnTo>
                    <a:lnTo>
                      <a:pt x="0" y="738"/>
                    </a:lnTo>
                    <a:close/>
                  </a:path>
                </a:pathLst>
              </a:custGeom>
              <a:pattFill prst="wdUpDiag">
                <a:fgClr>
                  <a:schemeClr val="accent1">
                    <a:lumMod val="40000"/>
                    <a:lumOff val="60000"/>
                  </a:schemeClr>
                </a:fgClr>
                <a:bgClr>
                  <a:schemeClr val="bg1"/>
                </a:bgClr>
              </a:pattFill>
              <a:ln w="9525">
                <a:solidFill>
                  <a:schemeClr val="tx1"/>
                </a:solidFill>
                <a:round/>
                <a:headEnd/>
                <a:tailEnd/>
              </a:ln>
            </p:spPr>
            <p:txBody>
              <a:bodyPr/>
              <a:lstStyle/>
              <a:p>
                <a:pPr>
                  <a:defRPr/>
                </a:pPr>
                <a:endParaRPr lang="en-US" sz="1100" dirty="0">
                  <a:latin typeface="+mj-lt"/>
                </a:endParaRPr>
              </a:p>
            </p:txBody>
          </p:sp>
          <p:sp>
            <p:nvSpPr>
              <p:cNvPr id="94" name="Freeform 53"/>
              <p:cNvSpPr>
                <a:spLocks/>
              </p:cNvSpPr>
              <p:nvPr/>
            </p:nvSpPr>
            <p:spPr bwMode="gray">
              <a:xfrm>
                <a:off x="3340216" y="3395661"/>
                <a:ext cx="542791" cy="479449"/>
              </a:xfrm>
              <a:custGeom>
                <a:avLst/>
                <a:gdLst>
                  <a:gd name="T0" fmla="*/ 13 w 1115"/>
                  <a:gd name="T1" fmla="*/ 271 h 983"/>
                  <a:gd name="T2" fmla="*/ 55 w 1115"/>
                  <a:gd name="T3" fmla="*/ 372 h 983"/>
                  <a:gd name="T4" fmla="*/ 113 w 1115"/>
                  <a:gd name="T5" fmla="*/ 546 h 983"/>
                  <a:gd name="T6" fmla="*/ 80 w 1115"/>
                  <a:gd name="T7" fmla="*/ 663 h 983"/>
                  <a:gd name="T8" fmla="*/ 86 w 1115"/>
                  <a:gd name="T9" fmla="*/ 750 h 983"/>
                  <a:gd name="T10" fmla="*/ 38 w 1115"/>
                  <a:gd name="T11" fmla="*/ 812 h 983"/>
                  <a:gd name="T12" fmla="*/ 207 w 1115"/>
                  <a:gd name="T13" fmla="*/ 814 h 983"/>
                  <a:gd name="T14" fmla="*/ 444 w 1115"/>
                  <a:gd name="T15" fmla="*/ 857 h 983"/>
                  <a:gd name="T16" fmla="*/ 466 w 1115"/>
                  <a:gd name="T17" fmla="*/ 794 h 983"/>
                  <a:gd name="T18" fmla="*/ 560 w 1115"/>
                  <a:gd name="T19" fmla="*/ 869 h 983"/>
                  <a:gd name="T20" fmla="*/ 617 w 1115"/>
                  <a:gd name="T21" fmla="*/ 875 h 983"/>
                  <a:gd name="T22" fmla="*/ 659 w 1115"/>
                  <a:gd name="T23" fmla="*/ 942 h 983"/>
                  <a:gd name="T24" fmla="*/ 725 w 1115"/>
                  <a:gd name="T25" fmla="*/ 969 h 983"/>
                  <a:gd name="T26" fmla="*/ 776 w 1115"/>
                  <a:gd name="T27" fmla="*/ 932 h 983"/>
                  <a:gd name="T28" fmla="*/ 806 w 1115"/>
                  <a:gd name="T29" fmla="*/ 939 h 983"/>
                  <a:gd name="T30" fmla="*/ 849 w 1115"/>
                  <a:gd name="T31" fmla="*/ 963 h 983"/>
                  <a:gd name="T32" fmla="*/ 896 w 1115"/>
                  <a:gd name="T33" fmla="*/ 924 h 983"/>
                  <a:gd name="T34" fmla="*/ 887 w 1115"/>
                  <a:gd name="T35" fmla="*/ 865 h 983"/>
                  <a:gd name="T36" fmla="*/ 930 w 1115"/>
                  <a:gd name="T37" fmla="*/ 869 h 983"/>
                  <a:gd name="T38" fmla="*/ 973 w 1115"/>
                  <a:gd name="T39" fmla="*/ 897 h 983"/>
                  <a:gd name="T40" fmla="*/ 1011 w 1115"/>
                  <a:gd name="T41" fmla="*/ 912 h 983"/>
                  <a:gd name="T42" fmla="*/ 1046 w 1115"/>
                  <a:gd name="T43" fmla="*/ 949 h 983"/>
                  <a:gd name="T44" fmla="*/ 1066 w 1115"/>
                  <a:gd name="T45" fmla="*/ 951 h 983"/>
                  <a:gd name="T46" fmla="*/ 1086 w 1115"/>
                  <a:gd name="T47" fmla="*/ 947 h 983"/>
                  <a:gd name="T48" fmla="*/ 1115 w 1115"/>
                  <a:gd name="T49" fmla="*/ 922 h 983"/>
                  <a:gd name="T50" fmla="*/ 1070 w 1115"/>
                  <a:gd name="T51" fmla="*/ 899 h 983"/>
                  <a:gd name="T52" fmla="*/ 1033 w 1115"/>
                  <a:gd name="T53" fmla="*/ 879 h 983"/>
                  <a:gd name="T54" fmla="*/ 978 w 1115"/>
                  <a:gd name="T55" fmla="*/ 828 h 983"/>
                  <a:gd name="T56" fmla="*/ 1017 w 1115"/>
                  <a:gd name="T57" fmla="*/ 804 h 983"/>
                  <a:gd name="T58" fmla="*/ 1040 w 1115"/>
                  <a:gd name="T59" fmla="*/ 774 h 983"/>
                  <a:gd name="T60" fmla="*/ 1060 w 1115"/>
                  <a:gd name="T61" fmla="*/ 737 h 983"/>
                  <a:gd name="T62" fmla="*/ 1028 w 1115"/>
                  <a:gd name="T63" fmla="*/ 711 h 983"/>
                  <a:gd name="T64" fmla="*/ 967 w 1115"/>
                  <a:gd name="T65" fmla="*/ 761 h 983"/>
                  <a:gd name="T66" fmla="*/ 930 w 1115"/>
                  <a:gd name="T67" fmla="*/ 720 h 983"/>
                  <a:gd name="T68" fmla="*/ 950 w 1115"/>
                  <a:gd name="T69" fmla="*/ 721 h 983"/>
                  <a:gd name="T70" fmla="*/ 946 w 1115"/>
                  <a:gd name="T71" fmla="*/ 702 h 983"/>
                  <a:gd name="T72" fmla="*/ 934 w 1115"/>
                  <a:gd name="T73" fmla="*/ 703 h 983"/>
                  <a:gd name="T74" fmla="*/ 893 w 1115"/>
                  <a:gd name="T75" fmla="*/ 720 h 983"/>
                  <a:gd name="T76" fmla="*/ 798 w 1115"/>
                  <a:gd name="T77" fmla="*/ 713 h 983"/>
                  <a:gd name="T78" fmla="*/ 831 w 1115"/>
                  <a:gd name="T79" fmla="*/ 641 h 983"/>
                  <a:gd name="T80" fmla="*/ 891 w 1115"/>
                  <a:gd name="T81" fmla="*/ 668 h 983"/>
                  <a:gd name="T82" fmla="*/ 916 w 1115"/>
                  <a:gd name="T83" fmla="*/ 567 h 983"/>
                  <a:gd name="T84" fmla="*/ 527 w 1115"/>
                  <a:gd name="T85" fmla="*/ 499 h 983"/>
                  <a:gd name="T86" fmla="*/ 575 w 1115"/>
                  <a:gd name="T87" fmla="*/ 314 h 983"/>
                  <a:gd name="T88" fmla="*/ 622 w 1115"/>
                  <a:gd name="T89" fmla="*/ 195 h 983"/>
                  <a:gd name="T90" fmla="*/ 596 w 1115"/>
                  <a:gd name="T91" fmla="*/ 0 h 98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15"/>
                  <a:gd name="T139" fmla="*/ 0 h 983"/>
                  <a:gd name="T140" fmla="*/ 1115 w 1115"/>
                  <a:gd name="T141" fmla="*/ 983 h 98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15" h="983">
                    <a:moveTo>
                      <a:pt x="0" y="8"/>
                    </a:moveTo>
                    <a:lnTo>
                      <a:pt x="13" y="271"/>
                    </a:lnTo>
                    <a:lnTo>
                      <a:pt x="43" y="305"/>
                    </a:lnTo>
                    <a:lnTo>
                      <a:pt x="55" y="372"/>
                    </a:lnTo>
                    <a:lnTo>
                      <a:pt x="115" y="466"/>
                    </a:lnTo>
                    <a:lnTo>
                      <a:pt x="113" y="546"/>
                    </a:lnTo>
                    <a:lnTo>
                      <a:pt x="77" y="622"/>
                    </a:lnTo>
                    <a:lnTo>
                      <a:pt x="80" y="663"/>
                    </a:lnTo>
                    <a:lnTo>
                      <a:pt x="91" y="707"/>
                    </a:lnTo>
                    <a:lnTo>
                      <a:pt x="86" y="750"/>
                    </a:lnTo>
                    <a:lnTo>
                      <a:pt x="65" y="778"/>
                    </a:lnTo>
                    <a:lnTo>
                      <a:pt x="38" y="812"/>
                    </a:lnTo>
                    <a:lnTo>
                      <a:pt x="57" y="833"/>
                    </a:lnTo>
                    <a:lnTo>
                      <a:pt x="207" y="814"/>
                    </a:lnTo>
                    <a:lnTo>
                      <a:pt x="328" y="863"/>
                    </a:lnTo>
                    <a:lnTo>
                      <a:pt x="444" y="857"/>
                    </a:lnTo>
                    <a:lnTo>
                      <a:pt x="429" y="823"/>
                    </a:lnTo>
                    <a:lnTo>
                      <a:pt x="466" y="794"/>
                    </a:lnTo>
                    <a:lnTo>
                      <a:pt x="546" y="812"/>
                    </a:lnTo>
                    <a:lnTo>
                      <a:pt x="560" y="869"/>
                    </a:lnTo>
                    <a:lnTo>
                      <a:pt x="582" y="862"/>
                    </a:lnTo>
                    <a:lnTo>
                      <a:pt x="617" y="875"/>
                    </a:lnTo>
                    <a:lnTo>
                      <a:pt x="650" y="910"/>
                    </a:lnTo>
                    <a:lnTo>
                      <a:pt x="659" y="942"/>
                    </a:lnTo>
                    <a:lnTo>
                      <a:pt x="693" y="947"/>
                    </a:lnTo>
                    <a:lnTo>
                      <a:pt x="725" y="969"/>
                    </a:lnTo>
                    <a:lnTo>
                      <a:pt x="753" y="958"/>
                    </a:lnTo>
                    <a:lnTo>
                      <a:pt x="776" y="932"/>
                    </a:lnTo>
                    <a:lnTo>
                      <a:pt x="773" y="910"/>
                    </a:lnTo>
                    <a:lnTo>
                      <a:pt x="806" y="939"/>
                    </a:lnTo>
                    <a:lnTo>
                      <a:pt x="825" y="914"/>
                    </a:lnTo>
                    <a:lnTo>
                      <a:pt x="849" y="963"/>
                    </a:lnTo>
                    <a:lnTo>
                      <a:pt x="884" y="939"/>
                    </a:lnTo>
                    <a:lnTo>
                      <a:pt x="896" y="924"/>
                    </a:lnTo>
                    <a:lnTo>
                      <a:pt x="884" y="910"/>
                    </a:lnTo>
                    <a:lnTo>
                      <a:pt x="887" y="865"/>
                    </a:lnTo>
                    <a:lnTo>
                      <a:pt x="898" y="865"/>
                    </a:lnTo>
                    <a:lnTo>
                      <a:pt x="930" y="869"/>
                    </a:lnTo>
                    <a:lnTo>
                      <a:pt x="939" y="899"/>
                    </a:lnTo>
                    <a:lnTo>
                      <a:pt x="973" y="897"/>
                    </a:lnTo>
                    <a:lnTo>
                      <a:pt x="1004" y="918"/>
                    </a:lnTo>
                    <a:lnTo>
                      <a:pt x="1011" y="912"/>
                    </a:lnTo>
                    <a:lnTo>
                      <a:pt x="1024" y="935"/>
                    </a:lnTo>
                    <a:lnTo>
                      <a:pt x="1046" y="949"/>
                    </a:lnTo>
                    <a:lnTo>
                      <a:pt x="1035" y="983"/>
                    </a:lnTo>
                    <a:lnTo>
                      <a:pt x="1066" y="951"/>
                    </a:lnTo>
                    <a:lnTo>
                      <a:pt x="1087" y="970"/>
                    </a:lnTo>
                    <a:lnTo>
                      <a:pt x="1086" y="947"/>
                    </a:lnTo>
                    <a:lnTo>
                      <a:pt x="1113" y="939"/>
                    </a:lnTo>
                    <a:lnTo>
                      <a:pt x="1115" y="922"/>
                    </a:lnTo>
                    <a:lnTo>
                      <a:pt x="1085" y="917"/>
                    </a:lnTo>
                    <a:lnTo>
                      <a:pt x="1070" y="899"/>
                    </a:lnTo>
                    <a:lnTo>
                      <a:pt x="1044" y="903"/>
                    </a:lnTo>
                    <a:lnTo>
                      <a:pt x="1033" y="879"/>
                    </a:lnTo>
                    <a:lnTo>
                      <a:pt x="1004" y="879"/>
                    </a:lnTo>
                    <a:lnTo>
                      <a:pt x="978" y="828"/>
                    </a:lnTo>
                    <a:lnTo>
                      <a:pt x="993" y="815"/>
                    </a:lnTo>
                    <a:lnTo>
                      <a:pt x="1017" y="804"/>
                    </a:lnTo>
                    <a:lnTo>
                      <a:pt x="1022" y="778"/>
                    </a:lnTo>
                    <a:lnTo>
                      <a:pt x="1040" y="774"/>
                    </a:lnTo>
                    <a:lnTo>
                      <a:pt x="1070" y="747"/>
                    </a:lnTo>
                    <a:lnTo>
                      <a:pt x="1060" y="737"/>
                    </a:lnTo>
                    <a:lnTo>
                      <a:pt x="1061" y="685"/>
                    </a:lnTo>
                    <a:lnTo>
                      <a:pt x="1028" y="711"/>
                    </a:lnTo>
                    <a:lnTo>
                      <a:pt x="995" y="716"/>
                    </a:lnTo>
                    <a:lnTo>
                      <a:pt x="967" y="761"/>
                    </a:lnTo>
                    <a:lnTo>
                      <a:pt x="922" y="737"/>
                    </a:lnTo>
                    <a:lnTo>
                      <a:pt x="930" y="720"/>
                    </a:lnTo>
                    <a:lnTo>
                      <a:pt x="949" y="713"/>
                    </a:lnTo>
                    <a:lnTo>
                      <a:pt x="950" y="721"/>
                    </a:lnTo>
                    <a:lnTo>
                      <a:pt x="963" y="694"/>
                    </a:lnTo>
                    <a:lnTo>
                      <a:pt x="946" y="702"/>
                    </a:lnTo>
                    <a:lnTo>
                      <a:pt x="939" y="690"/>
                    </a:lnTo>
                    <a:lnTo>
                      <a:pt x="934" y="703"/>
                    </a:lnTo>
                    <a:lnTo>
                      <a:pt x="911" y="693"/>
                    </a:lnTo>
                    <a:lnTo>
                      <a:pt x="893" y="720"/>
                    </a:lnTo>
                    <a:lnTo>
                      <a:pt x="858" y="726"/>
                    </a:lnTo>
                    <a:lnTo>
                      <a:pt x="798" y="713"/>
                    </a:lnTo>
                    <a:lnTo>
                      <a:pt x="793" y="696"/>
                    </a:lnTo>
                    <a:lnTo>
                      <a:pt x="831" y="641"/>
                    </a:lnTo>
                    <a:lnTo>
                      <a:pt x="868" y="643"/>
                    </a:lnTo>
                    <a:lnTo>
                      <a:pt x="891" y="668"/>
                    </a:lnTo>
                    <a:lnTo>
                      <a:pt x="986" y="684"/>
                    </a:lnTo>
                    <a:lnTo>
                      <a:pt x="916" y="567"/>
                    </a:lnTo>
                    <a:lnTo>
                      <a:pt x="928" y="483"/>
                    </a:lnTo>
                    <a:lnTo>
                      <a:pt x="527" y="499"/>
                    </a:lnTo>
                    <a:lnTo>
                      <a:pt x="530" y="453"/>
                    </a:lnTo>
                    <a:lnTo>
                      <a:pt x="575" y="314"/>
                    </a:lnTo>
                    <a:lnTo>
                      <a:pt x="644" y="221"/>
                    </a:lnTo>
                    <a:lnTo>
                      <a:pt x="622" y="195"/>
                    </a:lnTo>
                    <a:lnTo>
                      <a:pt x="630" y="105"/>
                    </a:lnTo>
                    <a:lnTo>
                      <a:pt x="596" y="0"/>
                    </a:lnTo>
                    <a:lnTo>
                      <a:pt x="0" y="8"/>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95" name="Freeform 54"/>
              <p:cNvSpPr>
                <a:spLocks/>
              </p:cNvSpPr>
              <p:nvPr/>
            </p:nvSpPr>
            <p:spPr bwMode="gray">
              <a:xfrm>
                <a:off x="5267758" y="1331690"/>
                <a:ext cx="352766" cy="560332"/>
              </a:xfrm>
              <a:custGeom>
                <a:avLst/>
                <a:gdLst>
                  <a:gd name="T0" fmla="*/ 0 w 724"/>
                  <a:gd name="T1" fmla="*/ 624 h 1150"/>
                  <a:gd name="T2" fmla="*/ 42 w 724"/>
                  <a:gd name="T3" fmla="*/ 626 h 1150"/>
                  <a:gd name="T4" fmla="*/ 46 w 724"/>
                  <a:gd name="T5" fmla="*/ 553 h 1150"/>
                  <a:gd name="T6" fmla="*/ 96 w 724"/>
                  <a:gd name="T7" fmla="*/ 449 h 1150"/>
                  <a:gd name="T8" fmla="*/ 73 w 724"/>
                  <a:gd name="T9" fmla="*/ 374 h 1150"/>
                  <a:gd name="T10" fmla="*/ 94 w 724"/>
                  <a:gd name="T11" fmla="*/ 276 h 1150"/>
                  <a:gd name="T12" fmla="*/ 92 w 724"/>
                  <a:gd name="T13" fmla="*/ 237 h 1150"/>
                  <a:gd name="T14" fmla="*/ 174 w 724"/>
                  <a:gd name="T15" fmla="*/ 19 h 1150"/>
                  <a:gd name="T16" fmla="*/ 198 w 724"/>
                  <a:gd name="T17" fmla="*/ 19 h 1150"/>
                  <a:gd name="T18" fmla="*/ 209 w 724"/>
                  <a:gd name="T19" fmla="*/ 63 h 1150"/>
                  <a:gd name="T20" fmla="*/ 313 w 724"/>
                  <a:gd name="T21" fmla="*/ 24 h 1150"/>
                  <a:gd name="T22" fmla="*/ 314 w 724"/>
                  <a:gd name="T23" fmla="*/ 7 h 1150"/>
                  <a:gd name="T24" fmla="*/ 343 w 724"/>
                  <a:gd name="T25" fmla="*/ 0 h 1150"/>
                  <a:gd name="T26" fmla="*/ 397 w 724"/>
                  <a:gd name="T27" fmla="*/ 26 h 1150"/>
                  <a:gd name="T28" fmla="*/ 438 w 724"/>
                  <a:gd name="T29" fmla="*/ 61 h 1150"/>
                  <a:gd name="T30" fmla="*/ 531 w 724"/>
                  <a:gd name="T31" fmla="*/ 379 h 1150"/>
                  <a:gd name="T32" fmla="*/ 595 w 724"/>
                  <a:gd name="T33" fmla="*/ 380 h 1150"/>
                  <a:gd name="T34" fmla="*/ 606 w 724"/>
                  <a:gd name="T35" fmla="*/ 399 h 1150"/>
                  <a:gd name="T36" fmla="*/ 596 w 724"/>
                  <a:gd name="T37" fmla="*/ 412 h 1150"/>
                  <a:gd name="T38" fmla="*/ 644 w 724"/>
                  <a:gd name="T39" fmla="*/ 484 h 1150"/>
                  <a:gd name="T40" fmla="*/ 655 w 724"/>
                  <a:gd name="T41" fmla="*/ 468 h 1150"/>
                  <a:gd name="T42" fmla="*/ 706 w 724"/>
                  <a:gd name="T43" fmla="*/ 516 h 1150"/>
                  <a:gd name="T44" fmla="*/ 687 w 724"/>
                  <a:gd name="T45" fmla="*/ 528 h 1150"/>
                  <a:gd name="T46" fmla="*/ 691 w 724"/>
                  <a:gd name="T47" fmla="*/ 542 h 1150"/>
                  <a:gd name="T48" fmla="*/ 724 w 724"/>
                  <a:gd name="T49" fmla="*/ 541 h 1150"/>
                  <a:gd name="T50" fmla="*/ 700 w 724"/>
                  <a:gd name="T51" fmla="*/ 601 h 1150"/>
                  <a:gd name="T52" fmla="*/ 670 w 724"/>
                  <a:gd name="T53" fmla="*/ 595 h 1150"/>
                  <a:gd name="T54" fmla="*/ 644 w 724"/>
                  <a:gd name="T55" fmla="*/ 618 h 1150"/>
                  <a:gd name="T56" fmla="*/ 646 w 724"/>
                  <a:gd name="T57" fmla="*/ 643 h 1150"/>
                  <a:gd name="T58" fmla="*/ 625 w 724"/>
                  <a:gd name="T59" fmla="*/ 656 h 1150"/>
                  <a:gd name="T60" fmla="*/ 600 w 724"/>
                  <a:gd name="T61" fmla="*/ 649 h 1150"/>
                  <a:gd name="T62" fmla="*/ 601 w 724"/>
                  <a:gd name="T63" fmla="*/ 686 h 1150"/>
                  <a:gd name="T64" fmla="*/ 582 w 724"/>
                  <a:gd name="T65" fmla="*/ 676 h 1150"/>
                  <a:gd name="T66" fmla="*/ 576 w 724"/>
                  <a:gd name="T67" fmla="*/ 718 h 1150"/>
                  <a:gd name="T68" fmla="*/ 542 w 724"/>
                  <a:gd name="T69" fmla="*/ 682 h 1150"/>
                  <a:gd name="T70" fmla="*/ 516 w 724"/>
                  <a:gd name="T71" fmla="*/ 716 h 1150"/>
                  <a:gd name="T72" fmla="*/ 485 w 724"/>
                  <a:gd name="T73" fmla="*/ 730 h 1150"/>
                  <a:gd name="T74" fmla="*/ 479 w 724"/>
                  <a:gd name="T75" fmla="*/ 766 h 1150"/>
                  <a:gd name="T76" fmla="*/ 447 w 724"/>
                  <a:gd name="T77" fmla="*/ 757 h 1150"/>
                  <a:gd name="T78" fmla="*/ 460 w 724"/>
                  <a:gd name="T79" fmla="*/ 727 h 1150"/>
                  <a:gd name="T80" fmla="*/ 438 w 724"/>
                  <a:gd name="T81" fmla="*/ 698 h 1150"/>
                  <a:gd name="T82" fmla="*/ 414 w 724"/>
                  <a:gd name="T83" fmla="*/ 743 h 1150"/>
                  <a:gd name="T84" fmla="*/ 423 w 724"/>
                  <a:gd name="T85" fmla="*/ 835 h 1150"/>
                  <a:gd name="T86" fmla="*/ 407 w 724"/>
                  <a:gd name="T87" fmla="*/ 858 h 1150"/>
                  <a:gd name="T88" fmla="*/ 387 w 724"/>
                  <a:gd name="T89" fmla="*/ 861 h 1150"/>
                  <a:gd name="T90" fmla="*/ 369 w 724"/>
                  <a:gd name="T91" fmla="*/ 857 h 1150"/>
                  <a:gd name="T92" fmla="*/ 346 w 724"/>
                  <a:gd name="T93" fmla="*/ 913 h 1150"/>
                  <a:gd name="T94" fmla="*/ 314 w 724"/>
                  <a:gd name="T95" fmla="*/ 911 h 1150"/>
                  <a:gd name="T96" fmla="*/ 317 w 724"/>
                  <a:gd name="T97" fmla="*/ 957 h 1150"/>
                  <a:gd name="T98" fmla="*/ 297 w 724"/>
                  <a:gd name="T99" fmla="*/ 921 h 1150"/>
                  <a:gd name="T100" fmla="*/ 250 w 724"/>
                  <a:gd name="T101" fmla="*/ 960 h 1150"/>
                  <a:gd name="T102" fmla="*/ 242 w 724"/>
                  <a:gd name="T103" fmla="*/ 989 h 1150"/>
                  <a:gd name="T104" fmla="*/ 257 w 724"/>
                  <a:gd name="T105" fmla="*/ 1009 h 1150"/>
                  <a:gd name="T106" fmla="*/ 237 w 724"/>
                  <a:gd name="T107" fmla="*/ 1020 h 1150"/>
                  <a:gd name="T108" fmla="*/ 241 w 724"/>
                  <a:gd name="T109" fmla="*/ 1054 h 1150"/>
                  <a:gd name="T110" fmla="*/ 219 w 724"/>
                  <a:gd name="T111" fmla="*/ 1079 h 1150"/>
                  <a:gd name="T112" fmla="*/ 213 w 724"/>
                  <a:gd name="T113" fmla="*/ 1150 h 1150"/>
                  <a:gd name="T114" fmla="*/ 202 w 724"/>
                  <a:gd name="T115" fmla="*/ 1150 h 1150"/>
                  <a:gd name="T116" fmla="*/ 134 w 724"/>
                  <a:gd name="T117" fmla="*/ 1055 h 1150"/>
                  <a:gd name="T118" fmla="*/ 0 w 724"/>
                  <a:gd name="T119" fmla="*/ 624 h 11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24"/>
                  <a:gd name="T181" fmla="*/ 0 h 1150"/>
                  <a:gd name="T182" fmla="*/ 724 w 724"/>
                  <a:gd name="T183" fmla="*/ 1150 h 115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24" h="1150">
                    <a:moveTo>
                      <a:pt x="0" y="624"/>
                    </a:moveTo>
                    <a:lnTo>
                      <a:pt x="42" y="626"/>
                    </a:lnTo>
                    <a:lnTo>
                      <a:pt x="46" y="553"/>
                    </a:lnTo>
                    <a:lnTo>
                      <a:pt x="96" y="449"/>
                    </a:lnTo>
                    <a:lnTo>
                      <a:pt x="73" y="374"/>
                    </a:lnTo>
                    <a:lnTo>
                      <a:pt x="94" y="276"/>
                    </a:lnTo>
                    <a:lnTo>
                      <a:pt x="92" y="237"/>
                    </a:lnTo>
                    <a:lnTo>
                      <a:pt x="174" y="19"/>
                    </a:lnTo>
                    <a:lnTo>
                      <a:pt x="198" y="19"/>
                    </a:lnTo>
                    <a:lnTo>
                      <a:pt x="209" y="63"/>
                    </a:lnTo>
                    <a:lnTo>
                      <a:pt x="313" y="24"/>
                    </a:lnTo>
                    <a:lnTo>
                      <a:pt x="314" y="7"/>
                    </a:lnTo>
                    <a:lnTo>
                      <a:pt x="343" y="0"/>
                    </a:lnTo>
                    <a:lnTo>
                      <a:pt x="397" y="26"/>
                    </a:lnTo>
                    <a:lnTo>
                      <a:pt x="438" y="61"/>
                    </a:lnTo>
                    <a:lnTo>
                      <a:pt x="531" y="379"/>
                    </a:lnTo>
                    <a:lnTo>
                      <a:pt x="595" y="380"/>
                    </a:lnTo>
                    <a:lnTo>
                      <a:pt x="606" y="399"/>
                    </a:lnTo>
                    <a:lnTo>
                      <a:pt x="596" y="412"/>
                    </a:lnTo>
                    <a:lnTo>
                      <a:pt x="644" y="484"/>
                    </a:lnTo>
                    <a:lnTo>
                      <a:pt x="655" y="468"/>
                    </a:lnTo>
                    <a:lnTo>
                      <a:pt x="706" y="516"/>
                    </a:lnTo>
                    <a:lnTo>
                      <a:pt x="687" y="528"/>
                    </a:lnTo>
                    <a:lnTo>
                      <a:pt x="691" y="542"/>
                    </a:lnTo>
                    <a:lnTo>
                      <a:pt x="724" y="541"/>
                    </a:lnTo>
                    <a:lnTo>
                      <a:pt x="700" y="601"/>
                    </a:lnTo>
                    <a:lnTo>
                      <a:pt x="670" y="595"/>
                    </a:lnTo>
                    <a:lnTo>
                      <a:pt x="644" y="618"/>
                    </a:lnTo>
                    <a:lnTo>
                      <a:pt x="646" y="643"/>
                    </a:lnTo>
                    <a:lnTo>
                      <a:pt x="625" y="656"/>
                    </a:lnTo>
                    <a:lnTo>
                      <a:pt x="600" y="649"/>
                    </a:lnTo>
                    <a:lnTo>
                      <a:pt x="601" y="686"/>
                    </a:lnTo>
                    <a:lnTo>
                      <a:pt x="582" y="676"/>
                    </a:lnTo>
                    <a:lnTo>
                      <a:pt x="576" y="718"/>
                    </a:lnTo>
                    <a:lnTo>
                      <a:pt x="542" y="682"/>
                    </a:lnTo>
                    <a:lnTo>
                      <a:pt x="516" y="716"/>
                    </a:lnTo>
                    <a:lnTo>
                      <a:pt x="485" y="730"/>
                    </a:lnTo>
                    <a:lnTo>
                      <a:pt x="479" y="766"/>
                    </a:lnTo>
                    <a:lnTo>
                      <a:pt x="447" y="757"/>
                    </a:lnTo>
                    <a:lnTo>
                      <a:pt x="460" y="727"/>
                    </a:lnTo>
                    <a:lnTo>
                      <a:pt x="438" y="698"/>
                    </a:lnTo>
                    <a:lnTo>
                      <a:pt x="414" y="743"/>
                    </a:lnTo>
                    <a:lnTo>
                      <a:pt x="423" y="835"/>
                    </a:lnTo>
                    <a:lnTo>
                      <a:pt x="407" y="858"/>
                    </a:lnTo>
                    <a:lnTo>
                      <a:pt x="387" y="861"/>
                    </a:lnTo>
                    <a:lnTo>
                      <a:pt x="369" y="857"/>
                    </a:lnTo>
                    <a:lnTo>
                      <a:pt x="346" y="913"/>
                    </a:lnTo>
                    <a:lnTo>
                      <a:pt x="314" y="911"/>
                    </a:lnTo>
                    <a:lnTo>
                      <a:pt x="317" y="957"/>
                    </a:lnTo>
                    <a:lnTo>
                      <a:pt x="297" y="921"/>
                    </a:lnTo>
                    <a:lnTo>
                      <a:pt x="250" y="960"/>
                    </a:lnTo>
                    <a:lnTo>
                      <a:pt x="242" y="989"/>
                    </a:lnTo>
                    <a:lnTo>
                      <a:pt x="257" y="1009"/>
                    </a:lnTo>
                    <a:lnTo>
                      <a:pt x="237" y="1020"/>
                    </a:lnTo>
                    <a:lnTo>
                      <a:pt x="241" y="1054"/>
                    </a:lnTo>
                    <a:lnTo>
                      <a:pt x="219" y="1079"/>
                    </a:lnTo>
                    <a:lnTo>
                      <a:pt x="213" y="1150"/>
                    </a:lnTo>
                    <a:lnTo>
                      <a:pt x="202" y="1150"/>
                    </a:lnTo>
                    <a:lnTo>
                      <a:pt x="134" y="1055"/>
                    </a:lnTo>
                    <a:lnTo>
                      <a:pt x="0" y="624"/>
                    </a:lnTo>
                    <a:close/>
                  </a:path>
                </a:pathLst>
              </a:custGeom>
              <a:solidFill>
                <a:schemeClr val="accent3">
                  <a:lumMod val="40000"/>
                  <a:lumOff val="60000"/>
                </a:schemeClr>
              </a:solidFill>
              <a:ln w="9525">
                <a:solidFill>
                  <a:schemeClr val="tx1"/>
                </a:solidFill>
                <a:round/>
                <a:headEnd/>
                <a:tailEnd/>
              </a:ln>
            </p:spPr>
            <p:txBody>
              <a:bodyPr/>
              <a:lstStyle/>
              <a:p>
                <a:pPr>
                  <a:defRPr/>
                </a:pPr>
                <a:endParaRPr lang="en-US" sz="1100" dirty="0">
                  <a:latin typeface="+mj-lt"/>
                </a:endParaRPr>
              </a:p>
            </p:txBody>
          </p:sp>
          <p:sp>
            <p:nvSpPr>
              <p:cNvPr id="96" name="Freeform 55"/>
              <p:cNvSpPr>
                <a:spLocks/>
              </p:cNvSpPr>
              <p:nvPr/>
            </p:nvSpPr>
            <p:spPr bwMode="gray">
              <a:xfrm>
                <a:off x="4675268" y="2399732"/>
                <a:ext cx="439495" cy="217311"/>
              </a:xfrm>
              <a:custGeom>
                <a:avLst/>
                <a:gdLst>
                  <a:gd name="T0" fmla="*/ 23 w 901"/>
                  <a:gd name="T1" fmla="*/ 260 h 447"/>
                  <a:gd name="T2" fmla="*/ 198 w 901"/>
                  <a:gd name="T3" fmla="*/ 150 h 447"/>
                  <a:gd name="T4" fmla="*/ 277 w 901"/>
                  <a:gd name="T5" fmla="*/ 110 h 447"/>
                  <a:gd name="T6" fmla="*/ 354 w 901"/>
                  <a:gd name="T7" fmla="*/ 171 h 447"/>
                  <a:gd name="T8" fmla="*/ 436 w 901"/>
                  <a:gd name="T9" fmla="*/ 224 h 447"/>
                  <a:gd name="T10" fmla="*/ 503 w 901"/>
                  <a:gd name="T11" fmla="*/ 233 h 447"/>
                  <a:gd name="T12" fmla="*/ 503 w 901"/>
                  <a:gd name="T13" fmla="*/ 276 h 447"/>
                  <a:gd name="T14" fmla="*/ 469 w 901"/>
                  <a:gd name="T15" fmla="*/ 361 h 447"/>
                  <a:gd name="T16" fmla="*/ 521 w 901"/>
                  <a:gd name="T17" fmla="*/ 382 h 447"/>
                  <a:gd name="T18" fmla="*/ 554 w 901"/>
                  <a:gd name="T19" fmla="*/ 401 h 447"/>
                  <a:gd name="T20" fmla="*/ 582 w 901"/>
                  <a:gd name="T21" fmla="*/ 410 h 447"/>
                  <a:gd name="T22" fmla="*/ 627 w 901"/>
                  <a:gd name="T23" fmla="*/ 412 h 447"/>
                  <a:gd name="T24" fmla="*/ 678 w 901"/>
                  <a:gd name="T25" fmla="*/ 436 h 447"/>
                  <a:gd name="T26" fmla="*/ 592 w 901"/>
                  <a:gd name="T27" fmla="*/ 342 h 447"/>
                  <a:gd name="T28" fmla="*/ 614 w 901"/>
                  <a:gd name="T29" fmla="*/ 322 h 447"/>
                  <a:gd name="T30" fmla="*/ 608 w 901"/>
                  <a:gd name="T31" fmla="*/ 180 h 447"/>
                  <a:gd name="T32" fmla="*/ 646 w 901"/>
                  <a:gd name="T33" fmla="*/ 94 h 447"/>
                  <a:gd name="T34" fmla="*/ 690 w 901"/>
                  <a:gd name="T35" fmla="*/ 57 h 447"/>
                  <a:gd name="T36" fmla="*/ 652 w 901"/>
                  <a:gd name="T37" fmla="*/ 106 h 447"/>
                  <a:gd name="T38" fmla="*/ 646 w 901"/>
                  <a:gd name="T39" fmla="*/ 179 h 447"/>
                  <a:gd name="T40" fmla="*/ 655 w 901"/>
                  <a:gd name="T41" fmla="*/ 206 h 447"/>
                  <a:gd name="T42" fmla="*/ 670 w 901"/>
                  <a:gd name="T43" fmla="*/ 248 h 447"/>
                  <a:gd name="T44" fmla="*/ 642 w 901"/>
                  <a:gd name="T45" fmla="*/ 267 h 447"/>
                  <a:gd name="T46" fmla="*/ 683 w 901"/>
                  <a:gd name="T47" fmla="*/ 279 h 447"/>
                  <a:gd name="T48" fmla="*/ 663 w 901"/>
                  <a:gd name="T49" fmla="*/ 293 h 447"/>
                  <a:gd name="T50" fmla="*/ 723 w 901"/>
                  <a:gd name="T51" fmla="*/ 380 h 447"/>
                  <a:gd name="T52" fmla="*/ 749 w 901"/>
                  <a:gd name="T53" fmla="*/ 400 h 447"/>
                  <a:gd name="T54" fmla="*/ 764 w 901"/>
                  <a:gd name="T55" fmla="*/ 412 h 447"/>
                  <a:gd name="T56" fmla="*/ 768 w 901"/>
                  <a:gd name="T57" fmla="*/ 439 h 447"/>
                  <a:gd name="T58" fmla="*/ 816 w 901"/>
                  <a:gd name="T59" fmla="*/ 429 h 447"/>
                  <a:gd name="T60" fmla="*/ 881 w 901"/>
                  <a:gd name="T61" fmla="*/ 344 h 447"/>
                  <a:gd name="T62" fmla="*/ 881 w 901"/>
                  <a:gd name="T63" fmla="*/ 395 h 447"/>
                  <a:gd name="T64" fmla="*/ 874 w 901"/>
                  <a:gd name="T65" fmla="*/ 443 h 447"/>
                  <a:gd name="T66" fmla="*/ 901 w 901"/>
                  <a:gd name="T67" fmla="*/ 284 h 447"/>
                  <a:gd name="T68" fmla="*/ 776 w 901"/>
                  <a:gd name="T69" fmla="*/ 309 h 447"/>
                  <a:gd name="T70" fmla="*/ 693 w 901"/>
                  <a:gd name="T71" fmla="*/ 0 h 44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01"/>
                  <a:gd name="T109" fmla="*/ 0 h 447"/>
                  <a:gd name="T110" fmla="*/ 901 w 901"/>
                  <a:gd name="T111" fmla="*/ 447 h 44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01" h="447">
                    <a:moveTo>
                      <a:pt x="0" y="133"/>
                    </a:moveTo>
                    <a:lnTo>
                      <a:pt x="23" y="260"/>
                    </a:lnTo>
                    <a:lnTo>
                      <a:pt x="91" y="180"/>
                    </a:lnTo>
                    <a:lnTo>
                      <a:pt x="198" y="150"/>
                    </a:lnTo>
                    <a:lnTo>
                      <a:pt x="219" y="116"/>
                    </a:lnTo>
                    <a:lnTo>
                      <a:pt x="277" y="110"/>
                    </a:lnTo>
                    <a:lnTo>
                      <a:pt x="326" y="132"/>
                    </a:lnTo>
                    <a:lnTo>
                      <a:pt x="354" y="171"/>
                    </a:lnTo>
                    <a:lnTo>
                      <a:pt x="406" y="186"/>
                    </a:lnTo>
                    <a:lnTo>
                      <a:pt x="436" y="224"/>
                    </a:lnTo>
                    <a:lnTo>
                      <a:pt x="482" y="245"/>
                    </a:lnTo>
                    <a:lnTo>
                      <a:pt x="503" y="233"/>
                    </a:lnTo>
                    <a:lnTo>
                      <a:pt x="514" y="257"/>
                    </a:lnTo>
                    <a:lnTo>
                      <a:pt x="503" y="276"/>
                    </a:lnTo>
                    <a:lnTo>
                      <a:pt x="502" y="304"/>
                    </a:lnTo>
                    <a:lnTo>
                      <a:pt x="469" y="361"/>
                    </a:lnTo>
                    <a:lnTo>
                      <a:pt x="482" y="399"/>
                    </a:lnTo>
                    <a:lnTo>
                      <a:pt x="521" y="382"/>
                    </a:lnTo>
                    <a:lnTo>
                      <a:pt x="523" y="363"/>
                    </a:lnTo>
                    <a:lnTo>
                      <a:pt x="554" y="401"/>
                    </a:lnTo>
                    <a:lnTo>
                      <a:pt x="561" y="383"/>
                    </a:lnTo>
                    <a:lnTo>
                      <a:pt x="582" y="410"/>
                    </a:lnTo>
                    <a:lnTo>
                      <a:pt x="593" y="396"/>
                    </a:lnTo>
                    <a:lnTo>
                      <a:pt x="627" y="412"/>
                    </a:lnTo>
                    <a:lnTo>
                      <a:pt x="646" y="403"/>
                    </a:lnTo>
                    <a:lnTo>
                      <a:pt x="678" y="436"/>
                    </a:lnTo>
                    <a:lnTo>
                      <a:pt x="653" y="388"/>
                    </a:lnTo>
                    <a:lnTo>
                      <a:pt x="592" y="342"/>
                    </a:lnTo>
                    <a:lnTo>
                      <a:pt x="650" y="370"/>
                    </a:lnTo>
                    <a:lnTo>
                      <a:pt x="614" y="322"/>
                    </a:lnTo>
                    <a:lnTo>
                      <a:pt x="603" y="279"/>
                    </a:lnTo>
                    <a:lnTo>
                      <a:pt x="608" y="180"/>
                    </a:lnTo>
                    <a:lnTo>
                      <a:pt x="572" y="159"/>
                    </a:lnTo>
                    <a:lnTo>
                      <a:pt x="646" y="94"/>
                    </a:lnTo>
                    <a:lnTo>
                      <a:pt x="648" y="55"/>
                    </a:lnTo>
                    <a:lnTo>
                      <a:pt x="690" y="57"/>
                    </a:lnTo>
                    <a:lnTo>
                      <a:pt x="681" y="93"/>
                    </a:lnTo>
                    <a:lnTo>
                      <a:pt x="652" y="106"/>
                    </a:lnTo>
                    <a:lnTo>
                      <a:pt x="638" y="145"/>
                    </a:lnTo>
                    <a:lnTo>
                      <a:pt x="646" y="179"/>
                    </a:lnTo>
                    <a:lnTo>
                      <a:pt x="666" y="165"/>
                    </a:lnTo>
                    <a:lnTo>
                      <a:pt x="655" y="206"/>
                    </a:lnTo>
                    <a:lnTo>
                      <a:pt x="664" y="227"/>
                    </a:lnTo>
                    <a:lnTo>
                      <a:pt x="670" y="248"/>
                    </a:lnTo>
                    <a:lnTo>
                      <a:pt x="650" y="238"/>
                    </a:lnTo>
                    <a:lnTo>
                      <a:pt x="642" y="267"/>
                    </a:lnTo>
                    <a:lnTo>
                      <a:pt x="686" y="258"/>
                    </a:lnTo>
                    <a:lnTo>
                      <a:pt x="683" y="279"/>
                    </a:lnTo>
                    <a:lnTo>
                      <a:pt x="704" y="295"/>
                    </a:lnTo>
                    <a:lnTo>
                      <a:pt x="663" y="293"/>
                    </a:lnTo>
                    <a:lnTo>
                      <a:pt x="676" y="355"/>
                    </a:lnTo>
                    <a:lnTo>
                      <a:pt x="723" y="380"/>
                    </a:lnTo>
                    <a:lnTo>
                      <a:pt x="746" y="349"/>
                    </a:lnTo>
                    <a:lnTo>
                      <a:pt x="749" y="400"/>
                    </a:lnTo>
                    <a:lnTo>
                      <a:pt x="780" y="390"/>
                    </a:lnTo>
                    <a:lnTo>
                      <a:pt x="764" y="412"/>
                    </a:lnTo>
                    <a:lnTo>
                      <a:pt x="785" y="412"/>
                    </a:lnTo>
                    <a:lnTo>
                      <a:pt x="768" y="439"/>
                    </a:lnTo>
                    <a:lnTo>
                      <a:pt x="776" y="447"/>
                    </a:lnTo>
                    <a:lnTo>
                      <a:pt x="816" y="429"/>
                    </a:lnTo>
                    <a:lnTo>
                      <a:pt x="866" y="402"/>
                    </a:lnTo>
                    <a:lnTo>
                      <a:pt x="881" y="344"/>
                    </a:lnTo>
                    <a:lnTo>
                      <a:pt x="887" y="378"/>
                    </a:lnTo>
                    <a:lnTo>
                      <a:pt x="881" y="395"/>
                    </a:lnTo>
                    <a:lnTo>
                      <a:pt x="871" y="426"/>
                    </a:lnTo>
                    <a:lnTo>
                      <a:pt x="874" y="443"/>
                    </a:lnTo>
                    <a:lnTo>
                      <a:pt x="893" y="394"/>
                    </a:lnTo>
                    <a:lnTo>
                      <a:pt x="901" y="284"/>
                    </a:lnTo>
                    <a:lnTo>
                      <a:pt x="846" y="296"/>
                    </a:lnTo>
                    <a:lnTo>
                      <a:pt x="776" y="309"/>
                    </a:lnTo>
                    <a:lnTo>
                      <a:pt x="771" y="285"/>
                    </a:lnTo>
                    <a:lnTo>
                      <a:pt x="693" y="0"/>
                    </a:lnTo>
                    <a:lnTo>
                      <a:pt x="0" y="133"/>
                    </a:lnTo>
                    <a:close/>
                  </a:path>
                </a:pathLst>
              </a:custGeom>
              <a:solidFill>
                <a:schemeClr val="accent1">
                  <a:lumMod val="40000"/>
                  <a:lumOff val="60000"/>
                </a:schemeClr>
              </a:solidFill>
              <a:ln w="9525">
                <a:solidFill>
                  <a:schemeClr val="tx1"/>
                </a:solidFill>
                <a:round/>
                <a:headEnd/>
                <a:tailEnd/>
              </a:ln>
            </p:spPr>
            <p:txBody>
              <a:bodyPr/>
              <a:lstStyle/>
              <a:p>
                <a:pPr>
                  <a:defRPr/>
                </a:pPr>
                <a:endParaRPr lang="en-US" sz="1100" dirty="0">
                  <a:latin typeface="+mj-lt"/>
                </a:endParaRPr>
              </a:p>
            </p:txBody>
          </p:sp>
          <p:grpSp>
            <p:nvGrpSpPr>
              <p:cNvPr id="97" name="Group 194"/>
              <p:cNvGrpSpPr/>
              <p:nvPr/>
            </p:nvGrpSpPr>
            <p:grpSpPr bwMode="gray">
              <a:xfrm>
                <a:off x="5156666" y="1921257"/>
                <a:ext cx="336199" cy="183204"/>
                <a:chOff x="5156666" y="1921257"/>
                <a:chExt cx="336199" cy="183204"/>
              </a:xfrm>
              <a:grpFill/>
            </p:grpSpPr>
            <p:sp>
              <p:nvSpPr>
                <p:cNvPr id="137" name="Freeform 56"/>
                <p:cNvSpPr>
                  <a:spLocks/>
                </p:cNvSpPr>
                <p:nvPr/>
              </p:nvSpPr>
              <p:spPr bwMode="gray">
                <a:xfrm>
                  <a:off x="5156666" y="1921257"/>
                  <a:ext cx="323531" cy="164689"/>
                </a:xfrm>
                <a:custGeom>
                  <a:avLst/>
                  <a:gdLst>
                    <a:gd name="T0" fmla="*/ 0 w 663"/>
                    <a:gd name="T1" fmla="*/ 137 h 337"/>
                    <a:gd name="T2" fmla="*/ 2 w 663"/>
                    <a:gd name="T3" fmla="*/ 316 h 337"/>
                    <a:gd name="T4" fmla="*/ 310 w 663"/>
                    <a:gd name="T5" fmla="*/ 251 h 337"/>
                    <a:gd name="T6" fmla="*/ 363 w 663"/>
                    <a:gd name="T7" fmla="*/ 232 h 337"/>
                    <a:gd name="T8" fmla="*/ 386 w 663"/>
                    <a:gd name="T9" fmla="*/ 237 h 337"/>
                    <a:gd name="T10" fmla="*/ 408 w 663"/>
                    <a:gd name="T11" fmla="*/ 287 h 337"/>
                    <a:gd name="T12" fmla="*/ 442 w 663"/>
                    <a:gd name="T13" fmla="*/ 293 h 337"/>
                    <a:gd name="T14" fmla="*/ 464 w 663"/>
                    <a:gd name="T15" fmla="*/ 334 h 337"/>
                    <a:gd name="T16" fmla="*/ 484 w 663"/>
                    <a:gd name="T17" fmla="*/ 337 h 337"/>
                    <a:gd name="T18" fmla="*/ 493 w 663"/>
                    <a:gd name="T19" fmla="*/ 308 h 337"/>
                    <a:gd name="T20" fmla="*/ 510 w 663"/>
                    <a:gd name="T21" fmla="*/ 297 h 337"/>
                    <a:gd name="T22" fmla="*/ 519 w 663"/>
                    <a:gd name="T23" fmla="*/ 265 h 337"/>
                    <a:gd name="T24" fmla="*/ 529 w 663"/>
                    <a:gd name="T25" fmla="*/ 264 h 337"/>
                    <a:gd name="T26" fmla="*/ 543 w 663"/>
                    <a:gd name="T27" fmla="*/ 311 h 337"/>
                    <a:gd name="T28" fmla="*/ 574 w 663"/>
                    <a:gd name="T29" fmla="*/ 300 h 337"/>
                    <a:gd name="T30" fmla="*/ 579 w 663"/>
                    <a:gd name="T31" fmla="*/ 280 h 337"/>
                    <a:gd name="T32" fmla="*/ 621 w 663"/>
                    <a:gd name="T33" fmla="*/ 260 h 337"/>
                    <a:gd name="T34" fmla="*/ 646 w 663"/>
                    <a:gd name="T35" fmla="*/ 252 h 337"/>
                    <a:gd name="T36" fmla="*/ 663 w 663"/>
                    <a:gd name="T37" fmla="*/ 268 h 337"/>
                    <a:gd name="T38" fmla="*/ 657 w 663"/>
                    <a:gd name="T39" fmla="*/ 222 h 337"/>
                    <a:gd name="T40" fmla="*/ 624 w 663"/>
                    <a:gd name="T41" fmla="*/ 166 h 337"/>
                    <a:gd name="T42" fmla="*/ 605 w 663"/>
                    <a:gd name="T43" fmla="*/ 157 h 337"/>
                    <a:gd name="T44" fmla="*/ 584 w 663"/>
                    <a:gd name="T45" fmla="*/ 159 h 337"/>
                    <a:gd name="T46" fmla="*/ 588 w 663"/>
                    <a:gd name="T47" fmla="*/ 172 h 337"/>
                    <a:gd name="T48" fmla="*/ 601 w 663"/>
                    <a:gd name="T49" fmla="*/ 172 h 337"/>
                    <a:gd name="T50" fmla="*/ 617 w 663"/>
                    <a:gd name="T51" fmla="*/ 173 h 337"/>
                    <a:gd name="T52" fmla="*/ 633 w 663"/>
                    <a:gd name="T53" fmla="*/ 191 h 337"/>
                    <a:gd name="T54" fmla="*/ 639 w 663"/>
                    <a:gd name="T55" fmla="*/ 212 h 337"/>
                    <a:gd name="T56" fmla="*/ 628 w 663"/>
                    <a:gd name="T57" fmla="*/ 231 h 337"/>
                    <a:gd name="T58" fmla="*/ 576 w 663"/>
                    <a:gd name="T59" fmla="*/ 254 h 337"/>
                    <a:gd name="T60" fmla="*/ 549 w 663"/>
                    <a:gd name="T61" fmla="*/ 243 h 337"/>
                    <a:gd name="T62" fmla="*/ 535 w 663"/>
                    <a:gd name="T63" fmla="*/ 212 h 337"/>
                    <a:gd name="T64" fmla="*/ 510 w 663"/>
                    <a:gd name="T65" fmla="*/ 208 h 337"/>
                    <a:gd name="T66" fmla="*/ 516 w 663"/>
                    <a:gd name="T67" fmla="*/ 190 h 337"/>
                    <a:gd name="T68" fmla="*/ 487 w 663"/>
                    <a:gd name="T69" fmla="*/ 154 h 337"/>
                    <a:gd name="T70" fmla="*/ 453 w 663"/>
                    <a:gd name="T71" fmla="*/ 140 h 337"/>
                    <a:gd name="T72" fmla="*/ 451 w 663"/>
                    <a:gd name="T73" fmla="*/ 157 h 337"/>
                    <a:gd name="T74" fmla="*/ 429 w 663"/>
                    <a:gd name="T75" fmla="*/ 151 h 337"/>
                    <a:gd name="T76" fmla="*/ 422 w 663"/>
                    <a:gd name="T77" fmla="*/ 130 h 337"/>
                    <a:gd name="T78" fmla="*/ 427 w 663"/>
                    <a:gd name="T79" fmla="*/ 111 h 337"/>
                    <a:gd name="T80" fmla="*/ 446 w 663"/>
                    <a:gd name="T81" fmla="*/ 93 h 337"/>
                    <a:gd name="T82" fmla="*/ 440 w 663"/>
                    <a:gd name="T83" fmla="*/ 79 h 337"/>
                    <a:gd name="T84" fmla="*/ 468 w 663"/>
                    <a:gd name="T85" fmla="*/ 57 h 337"/>
                    <a:gd name="T86" fmla="*/ 439 w 663"/>
                    <a:gd name="T87" fmla="*/ 34 h 337"/>
                    <a:gd name="T88" fmla="*/ 427 w 663"/>
                    <a:gd name="T89" fmla="*/ 0 h 337"/>
                    <a:gd name="T90" fmla="*/ 364 w 663"/>
                    <a:gd name="T91" fmla="*/ 49 h 337"/>
                    <a:gd name="T92" fmla="*/ 145 w 663"/>
                    <a:gd name="T93" fmla="*/ 106 h 337"/>
                    <a:gd name="T94" fmla="*/ 0 w 663"/>
                    <a:gd name="T95" fmla="*/ 137 h 33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63"/>
                    <a:gd name="T145" fmla="*/ 0 h 337"/>
                    <a:gd name="T146" fmla="*/ 663 w 663"/>
                    <a:gd name="T147" fmla="*/ 337 h 33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63" h="337">
                      <a:moveTo>
                        <a:pt x="0" y="137"/>
                      </a:moveTo>
                      <a:lnTo>
                        <a:pt x="2" y="316"/>
                      </a:lnTo>
                      <a:lnTo>
                        <a:pt x="310" y="251"/>
                      </a:lnTo>
                      <a:lnTo>
                        <a:pt x="363" y="232"/>
                      </a:lnTo>
                      <a:lnTo>
                        <a:pt x="386" y="237"/>
                      </a:lnTo>
                      <a:lnTo>
                        <a:pt x="408" y="287"/>
                      </a:lnTo>
                      <a:lnTo>
                        <a:pt x="442" y="293"/>
                      </a:lnTo>
                      <a:lnTo>
                        <a:pt x="464" y="334"/>
                      </a:lnTo>
                      <a:lnTo>
                        <a:pt x="484" y="337"/>
                      </a:lnTo>
                      <a:lnTo>
                        <a:pt x="493" y="308"/>
                      </a:lnTo>
                      <a:lnTo>
                        <a:pt x="510" y="297"/>
                      </a:lnTo>
                      <a:lnTo>
                        <a:pt x="519" y="265"/>
                      </a:lnTo>
                      <a:lnTo>
                        <a:pt x="529" y="264"/>
                      </a:lnTo>
                      <a:lnTo>
                        <a:pt x="543" y="311"/>
                      </a:lnTo>
                      <a:lnTo>
                        <a:pt x="574" y="300"/>
                      </a:lnTo>
                      <a:lnTo>
                        <a:pt x="579" y="280"/>
                      </a:lnTo>
                      <a:lnTo>
                        <a:pt x="621" y="260"/>
                      </a:lnTo>
                      <a:lnTo>
                        <a:pt x="646" y="252"/>
                      </a:lnTo>
                      <a:lnTo>
                        <a:pt x="663" y="268"/>
                      </a:lnTo>
                      <a:lnTo>
                        <a:pt x="657" y="222"/>
                      </a:lnTo>
                      <a:lnTo>
                        <a:pt x="624" y="166"/>
                      </a:lnTo>
                      <a:lnTo>
                        <a:pt x="605" y="157"/>
                      </a:lnTo>
                      <a:lnTo>
                        <a:pt x="584" y="159"/>
                      </a:lnTo>
                      <a:lnTo>
                        <a:pt x="588" y="172"/>
                      </a:lnTo>
                      <a:lnTo>
                        <a:pt x="601" y="172"/>
                      </a:lnTo>
                      <a:lnTo>
                        <a:pt x="617" y="173"/>
                      </a:lnTo>
                      <a:lnTo>
                        <a:pt x="633" y="191"/>
                      </a:lnTo>
                      <a:lnTo>
                        <a:pt x="639" y="212"/>
                      </a:lnTo>
                      <a:lnTo>
                        <a:pt x="628" y="231"/>
                      </a:lnTo>
                      <a:lnTo>
                        <a:pt x="576" y="254"/>
                      </a:lnTo>
                      <a:lnTo>
                        <a:pt x="549" y="243"/>
                      </a:lnTo>
                      <a:lnTo>
                        <a:pt x="535" y="212"/>
                      </a:lnTo>
                      <a:lnTo>
                        <a:pt x="510" y="208"/>
                      </a:lnTo>
                      <a:lnTo>
                        <a:pt x="516" y="190"/>
                      </a:lnTo>
                      <a:lnTo>
                        <a:pt x="487" y="154"/>
                      </a:lnTo>
                      <a:lnTo>
                        <a:pt x="453" y="140"/>
                      </a:lnTo>
                      <a:lnTo>
                        <a:pt x="451" y="157"/>
                      </a:lnTo>
                      <a:lnTo>
                        <a:pt x="429" y="151"/>
                      </a:lnTo>
                      <a:lnTo>
                        <a:pt x="422" y="130"/>
                      </a:lnTo>
                      <a:lnTo>
                        <a:pt x="427" y="111"/>
                      </a:lnTo>
                      <a:lnTo>
                        <a:pt x="446" y="93"/>
                      </a:lnTo>
                      <a:lnTo>
                        <a:pt x="440" y="79"/>
                      </a:lnTo>
                      <a:lnTo>
                        <a:pt x="468" y="57"/>
                      </a:lnTo>
                      <a:lnTo>
                        <a:pt x="439" y="34"/>
                      </a:lnTo>
                      <a:lnTo>
                        <a:pt x="427" y="0"/>
                      </a:lnTo>
                      <a:lnTo>
                        <a:pt x="364" y="49"/>
                      </a:lnTo>
                      <a:lnTo>
                        <a:pt x="145" y="106"/>
                      </a:lnTo>
                      <a:lnTo>
                        <a:pt x="0" y="137"/>
                      </a:lnTo>
                      <a:close/>
                    </a:path>
                  </a:pathLst>
                </a:custGeom>
                <a:solidFill>
                  <a:schemeClr val="accent1">
                    <a:lumMod val="40000"/>
                    <a:lumOff val="60000"/>
                  </a:schemeClr>
                </a:solidFill>
                <a:ln w="9525">
                  <a:solidFill>
                    <a:schemeClr val="tx1"/>
                  </a:solidFill>
                  <a:round/>
                  <a:headEnd/>
                  <a:tailEnd/>
                </a:ln>
              </p:spPr>
              <p:txBody>
                <a:bodyPr/>
                <a:lstStyle/>
                <a:p>
                  <a:pPr>
                    <a:defRPr/>
                  </a:pPr>
                  <a:endParaRPr lang="en-US" sz="1100" dirty="0">
                    <a:latin typeface="+mj-lt"/>
                  </a:endParaRPr>
                </a:p>
              </p:txBody>
            </p:sp>
            <p:sp>
              <p:nvSpPr>
                <p:cNvPr id="138" name="Freeform 57"/>
                <p:cNvSpPr>
                  <a:spLocks/>
                </p:cNvSpPr>
                <p:nvPr/>
              </p:nvSpPr>
              <p:spPr bwMode="gray">
                <a:xfrm>
                  <a:off x="5414906" y="2080099"/>
                  <a:ext cx="29235" cy="24362"/>
                </a:xfrm>
                <a:custGeom>
                  <a:avLst/>
                  <a:gdLst>
                    <a:gd name="T0" fmla="*/ 0 w 60"/>
                    <a:gd name="T1" fmla="*/ 49 h 49"/>
                    <a:gd name="T2" fmla="*/ 26 w 60"/>
                    <a:gd name="T3" fmla="*/ 0 h 49"/>
                    <a:gd name="T4" fmla="*/ 60 w 60"/>
                    <a:gd name="T5" fmla="*/ 22 h 49"/>
                    <a:gd name="T6" fmla="*/ 0 w 60"/>
                    <a:gd name="T7" fmla="*/ 49 h 49"/>
                    <a:gd name="T8" fmla="*/ 0 60000 65536"/>
                    <a:gd name="T9" fmla="*/ 0 60000 65536"/>
                    <a:gd name="T10" fmla="*/ 0 60000 65536"/>
                    <a:gd name="T11" fmla="*/ 0 60000 65536"/>
                    <a:gd name="T12" fmla="*/ 0 w 60"/>
                    <a:gd name="T13" fmla="*/ 0 h 49"/>
                    <a:gd name="T14" fmla="*/ 60 w 60"/>
                    <a:gd name="T15" fmla="*/ 49 h 49"/>
                  </a:gdLst>
                  <a:ahLst/>
                  <a:cxnLst>
                    <a:cxn ang="T8">
                      <a:pos x="T0" y="T1"/>
                    </a:cxn>
                    <a:cxn ang="T9">
                      <a:pos x="T2" y="T3"/>
                    </a:cxn>
                    <a:cxn ang="T10">
                      <a:pos x="T4" y="T5"/>
                    </a:cxn>
                    <a:cxn ang="T11">
                      <a:pos x="T6" y="T7"/>
                    </a:cxn>
                  </a:cxnLst>
                  <a:rect l="T12" t="T13" r="T14" b="T15"/>
                  <a:pathLst>
                    <a:path w="60" h="49">
                      <a:moveTo>
                        <a:pt x="0" y="49"/>
                      </a:moveTo>
                      <a:lnTo>
                        <a:pt x="26" y="0"/>
                      </a:lnTo>
                      <a:lnTo>
                        <a:pt x="60" y="22"/>
                      </a:lnTo>
                      <a:lnTo>
                        <a:pt x="0" y="49"/>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39" name="Freeform 58"/>
                <p:cNvSpPr>
                  <a:spLocks/>
                </p:cNvSpPr>
                <p:nvPr/>
              </p:nvSpPr>
              <p:spPr bwMode="gray">
                <a:xfrm>
                  <a:off x="5469477" y="2076201"/>
                  <a:ext cx="23388" cy="18515"/>
                </a:xfrm>
                <a:custGeom>
                  <a:avLst/>
                  <a:gdLst>
                    <a:gd name="T0" fmla="*/ 0 w 47"/>
                    <a:gd name="T1" fmla="*/ 36 h 36"/>
                    <a:gd name="T2" fmla="*/ 26 w 47"/>
                    <a:gd name="T3" fmla="*/ 0 h 36"/>
                    <a:gd name="T4" fmla="*/ 47 w 47"/>
                    <a:gd name="T5" fmla="*/ 27 h 36"/>
                    <a:gd name="T6" fmla="*/ 0 w 47"/>
                    <a:gd name="T7" fmla="*/ 36 h 36"/>
                    <a:gd name="T8" fmla="*/ 0 60000 65536"/>
                    <a:gd name="T9" fmla="*/ 0 60000 65536"/>
                    <a:gd name="T10" fmla="*/ 0 60000 65536"/>
                    <a:gd name="T11" fmla="*/ 0 60000 65536"/>
                    <a:gd name="T12" fmla="*/ 0 w 47"/>
                    <a:gd name="T13" fmla="*/ 0 h 36"/>
                    <a:gd name="T14" fmla="*/ 47 w 47"/>
                    <a:gd name="T15" fmla="*/ 36 h 36"/>
                  </a:gdLst>
                  <a:ahLst/>
                  <a:cxnLst>
                    <a:cxn ang="T8">
                      <a:pos x="T0" y="T1"/>
                    </a:cxn>
                    <a:cxn ang="T9">
                      <a:pos x="T2" y="T3"/>
                    </a:cxn>
                    <a:cxn ang="T10">
                      <a:pos x="T4" y="T5"/>
                    </a:cxn>
                    <a:cxn ang="T11">
                      <a:pos x="T6" y="T7"/>
                    </a:cxn>
                  </a:cxnLst>
                  <a:rect l="T12" t="T13" r="T14" b="T15"/>
                  <a:pathLst>
                    <a:path w="47" h="36">
                      <a:moveTo>
                        <a:pt x="0" y="36"/>
                      </a:moveTo>
                      <a:lnTo>
                        <a:pt x="26" y="0"/>
                      </a:lnTo>
                      <a:lnTo>
                        <a:pt x="47" y="27"/>
                      </a:lnTo>
                      <a:lnTo>
                        <a:pt x="0" y="36"/>
                      </a:lnTo>
                      <a:close/>
                    </a:path>
                  </a:pathLst>
                </a:custGeom>
                <a:grpFill/>
                <a:ln w="9525">
                  <a:solidFill>
                    <a:schemeClr val="tx1"/>
                  </a:solidFill>
                  <a:round/>
                  <a:headEnd/>
                  <a:tailEnd/>
                </a:ln>
              </p:spPr>
              <p:txBody>
                <a:bodyPr/>
                <a:lstStyle/>
                <a:p>
                  <a:pPr>
                    <a:defRPr/>
                  </a:pPr>
                  <a:endParaRPr lang="en-US" sz="1100" dirty="0">
                    <a:latin typeface="+mj-lt"/>
                  </a:endParaRPr>
                </a:p>
              </p:txBody>
            </p:sp>
          </p:grpSp>
          <p:grpSp>
            <p:nvGrpSpPr>
              <p:cNvPr id="98" name="Group 193"/>
              <p:cNvGrpSpPr/>
              <p:nvPr/>
            </p:nvGrpSpPr>
            <p:grpSpPr bwMode="gray">
              <a:xfrm>
                <a:off x="3620869" y="1617216"/>
                <a:ext cx="727944" cy="685067"/>
                <a:chOff x="3620869" y="1617216"/>
                <a:chExt cx="727944" cy="685067"/>
              </a:xfrm>
              <a:grpFill/>
            </p:grpSpPr>
            <p:sp>
              <p:nvSpPr>
                <p:cNvPr id="135" name="Freeform 59"/>
                <p:cNvSpPr>
                  <a:spLocks/>
                </p:cNvSpPr>
                <p:nvPr/>
              </p:nvSpPr>
              <p:spPr bwMode="gray">
                <a:xfrm>
                  <a:off x="3620869" y="1617216"/>
                  <a:ext cx="554485" cy="285526"/>
                </a:xfrm>
                <a:custGeom>
                  <a:avLst/>
                  <a:gdLst>
                    <a:gd name="T0" fmla="*/ 89 w 1138"/>
                    <a:gd name="T1" fmla="*/ 317 h 585"/>
                    <a:gd name="T2" fmla="*/ 408 w 1138"/>
                    <a:gd name="T3" fmla="*/ 385 h 585"/>
                    <a:gd name="T4" fmla="*/ 461 w 1138"/>
                    <a:gd name="T5" fmla="*/ 432 h 585"/>
                    <a:gd name="T6" fmla="*/ 567 w 1138"/>
                    <a:gd name="T7" fmla="*/ 468 h 585"/>
                    <a:gd name="T8" fmla="*/ 594 w 1138"/>
                    <a:gd name="T9" fmla="*/ 423 h 585"/>
                    <a:gd name="T10" fmla="*/ 611 w 1138"/>
                    <a:gd name="T11" fmla="*/ 372 h 585"/>
                    <a:gd name="T12" fmla="*/ 610 w 1138"/>
                    <a:gd name="T13" fmla="*/ 392 h 585"/>
                    <a:gd name="T14" fmla="*/ 635 w 1138"/>
                    <a:gd name="T15" fmla="*/ 417 h 585"/>
                    <a:gd name="T16" fmla="*/ 668 w 1138"/>
                    <a:gd name="T17" fmla="*/ 384 h 585"/>
                    <a:gd name="T18" fmla="*/ 687 w 1138"/>
                    <a:gd name="T19" fmla="*/ 378 h 585"/>
                    <a:gd name="T20" fmla="*/ 678 w 1138"/>
                    <a:gd name="T21" fmla="*/ 439 h 585"/>
                    <a:gd name="T22" fmla="*/ 720 w 1138"/>
                    <a:gd name="T23" fmla="*/ 392 h 585"/>
                    <a:gd name="T24" fmla="*/ 799 w 1138"/>
                    <a:gd name="T25" fmla="*/ 340 h 585"/>
                    <a:gd name="T26" fmla="*/ 879 w 1138"/>
                    <a:gd name="T27" fmla="*/ 301 h 585"/>
                    <a:gd name="T28" fmla="*/ 1001 w 1138"/>
                    <a:gd name="T29" fmla="*/ 347 h 585"/>
                    <a:gd name="T30" fmla="*/ 1029 w 1138"/>
                    <a:gd name="T31" fmla="*/ 302 h 585"/>
                    <a:gd name="T32" fmla="*/ 1138 w 1138"/>
                    <a:gd name="T33" fmla="*/ 294 h 585"/>
                    <a:gd name="T34" fmla="*/ 1061 w 1138"/>
                    <a:gd name="T35" fmla="*/ 193 h 585"/>
                    <a:gd name="T36" fmla="*/ 995 w 1138"/>
                    <a:gd name="T37" fmla="*/ 193 h 585"/>
                    <a:gd name="T38" fmla="*/ 945 w 1138"/>
                    <a:gd name="T39" fmla="*/ 197 h 585"/>
                    <a:gd name="T40" fmla="*/ 926 w 1138"/>
                    <a:gd name="T41" fmla="*/ 159 h 585"/>
                    <a:gd name="T42" fmla="*/ 887 w 1138"/>
                    <a:gd name="T43" fmla="*/ 136 h 585"/>
                    <a:gd name="T44" fmla="*/ 728 w 1138"/>
                    <a:gd name="T45" fmla="*/ 175 h 585"/>
                    <a:gd name="T46" fmla="*/ 639 w 1138"/>
                    <a:gd name="T47" fmla="*/ 229 h 585"/>
                    <a:gd name="T48" fmla="*/ 587 w 1138"/>
                    <a:gd name="T49" fmla="*/ 219 h 585"/>
                    <a:gd name="T50" fmla="*/ 528 w 1138"/>
                    <a:gd name="T51" fmla="*/ 233 h 585"/>
                    <a:gd name="T52" fmla="*/ 403 w 1138"/>
                    <a:gd name="T53" fmla="*/ 141 h 585"/>
                    <a:gd name="T54" fmla="*/ 369 w 1138"/>
                    <a:gd name="T55" fmla="*/ 163 h 585"/>
                    <a:gd name="T56" fmla="*/ 349 w 1138"/>
                    <a:gd name="T57" fmla="*/ 156 h 585"/>
                    <a:gd name="T58" fmla="*/ 337 w 1138"/>
                    <a:gd name="T59" fmla="*/ 137 h 585"/>
                    <a:gd name="T60" fmla="*/ 410 w 1138"/>
                    <a:gd name="T61" fmla="*/ 22 h 585"/>
                    <a:gd name="T62" fmla="*/ 443 w 1138"/>
                    <a:gd name="T63" fmla="*/ 0 h 585"/>
                    <a:gd name="T64" fmla="*/ 334 w 1138"/>
                    <a:gd name="T65" fmla="*/ 28 h 585"/>
                    <a:gd name="T66" fmla="*/ 269 w 1138"/>
                    <a:gd name="T67" fmla="*/ 92 h 585"/>
                    <a:gd name="T68" fmla="*/ 212 w 1138"/>
                    <a:gd name="T69" fmla="*/ 137 h 585"/>
                    <a:gd name="T70" fmla="*/ 174 w 1138"/>
                    <a:gd name="T71" fmla="*/ 171 h 585"/>
                    <a:gd name="T72" fmla="*/ 90 w 1138"/>
                    <a:gd name="T73" fmla="*/ 197 h 585"/>
                    <a:gd name="T74" fmla="*/ 0 w 1138"/>
                    <a:gd name="T75" fmla="*/ 254 h 58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138"/>
                    <a:gd name="T115" fmla="*/ 0 h 585"/>
                    <a:gd name="T116" fmla="*/ 1138 w 1138"/>
                    <a:gd name="T117" fmla="*/ 585 h 58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138" h="585">
                      <a:moveTo>
                        <a:pt x="0" y="254"/>
                      </a:moveTo>
                      <a:lnTo>
                        <a:pt x="89" y="317"/>
                      </a:lnTo>
                      <a:lnTo>
                        <a:pt x="307" y="373"/>
                      </a:lnTo>
                      <a:lnTo>
                        <a:pt x="408" y="385"/>
                      </a:lnTo>
                      <a:lnTo>
                        <a:pt x="422" y="421"/>
                      </a:lnTo>
                      <a:lnTo>
                        <a:pt x="461" y="432"/>
                      </a:lnTo>
                      <a:lnTo>
                        <a:pt x="518" y="585"/>
                      </a:lnTo>
                      <a:lnTo>
                        <a:pt x="567" y="468"/>
                      </a:lnTo>
                      <a:lnTo>
                        <a:pt x="578" y="439"/>
                      </a:lnTo>
                      <a:lnTo>
                        <a:pt x="594" y="423"/>
                      </a:lnTo>
                      <a:lnTo>
                        <a:pt x="593" y="403"/>
                      </a:lnTo>
                      <a:lnTo>
                        <a:pt x="611" y="372"/>
                      </a:lnTo>
                      <a:lnTo>
                        <a:pt x="616" y="374"/>
                      </a:lnTo>
                      <a:lnTo>
                        <a:pt x="610" y="392"/>
                      </a:lnTo>
                      <a:lnTo>
                        <a:pt x="613" y="426"/>
                      </a:lnTo>
                      <a:lnTo>
                        <a:pt x="635" y="417"/>
                      </a:lnTo>
                      <a:lnTo>
                        <a:pt x="643" y="382"/>
                      </a:lnTo>
                      <a:lnTo>
                        <a:pt x="668" y="384"/>
                      </a:lnTo>
                      <a:lnTo>
                        <a:pt x="683" y="369"/>
                      </a:lnTo>
                      <a:lnTo>
                        <a:pt x="687" y="378"/>
                      </a:lnTo>
                      <a:lnTo>
                        <a:pt x="659" y="431"/>
                      </a:lnTo>
                      <a:lnTo>
                        <a:pt x="678" y="439"/>
                      </a:lnTo>
                      <a:lnTo>
                        <a:pt x="694" y="406"/>
                      </a:lnTo>
                      <a:lnTo>
                        <a:pt x="720" y="392"/>
                      </a:lnTo>
                      <a:lnTo>
                        <a:pt x="733" y="352"/>
                      </a:lnTo>
                      <a:lnTo>
                        <a:pt x="799" y="340"/>
                      </a:lnTo>
                      <a:lnTo>
                        <a:pt x="831" y="337"/>
                      </a:lnTo>
                      <a:lnTo>
                        <a:pt x="879" y="301"/>
                      </a:lnTo>
                      <a:lnTo>
                        <a:pt x="952" y="313"/>
                      </a:lnTo>
                      <a:lnTo>
                        <a:pt x="1001" y="347"/>
                      </a:lnTo>
                      <a:lnTo>
                        <a:pt x="1004" y="304"/>
                      </a:lnTo>
                      <a:lnTo>
                        <a:pt x="1029" y="302"/>
                      </a:lnTo>
                      <a:lnTo>
                        <a:pt x="1089" y="307"/>
                      </a:lnTo>
                      <a:lnTo>
                        <a:pt x="1138" y="294"/>
                      </a:lnTo>
                      <a:lnTo>
                        <a:pt x="1074" y="255"/>
                      </a:lnTo>
                      <a:lnTo>
                        <a:pt x="1061" y="193"/>
                      </a:lnTo>
                      <a:lnTo>
                        <a:pt x="1011" y="204"/>
                      </a:lnTo>
                      <a:lnTo>
                        <a:pt x="995" y="193"/>
                      </a:lnTo>
                      <a:lnTo>
                        <a:pt x="974" y="204"/>
                      </a:lnTo>
                      <a:lnTo>
                        <a:pt x="945" y="197"/>
                      </a:lnTo>
                      <a:lnTo>
                        <a:pt x="931" y="196"/>
                      </a:lnTo>
                      <a:lnTo>
                        <a:pt x="926" y="159"/>
                      </a:lnTo>
                      <a:lnTo>
                        <a:pt x="937" y="125"/>
                      </a:lnTo>
                      <a:lnTo>
                        <a:pt x="887" y="136"/>
                      </a:lnTo>
                      <a:lnTo>
                        <a:pt x="843" y="158"/>
                      </a:lnTo>
                      <a:lnTo>
                        <a:pt x="728" y="175"/>
                      </a:lnTo>
                      <a:lnTo>
                        <a:pt x="652" y="243"/>
                      </a:lnTo>
                      <a:lnTo>
                        <a:pt x="639" y="229"/>
                      </a:lnTo>
                      <a:lnTo>
                        <a:pt x="616" y="240"/>
                      </a:lnTo>
                      <a:lnTo>
                        <a:pt x="587" y="219"/>
                      </a:lnTo>
                      <a:lnTo>
                        <a:pt x="568" y="226"/>
                      </a:lnTo>
                      <a:lnTo>
                        <a:pt x="528" y="233"/>
                      </a:lnTo>
                      <a:lnTo>
                        <a:pt x="470" y="154"/>
                      </a:lnTo>
                      <a:lnTo>
                        <a:pt x="403" y="141"/>
                      </a:lnTo>
                      <a:lnTo>
                        <a:pt x="383" y="145"/>
                      </a:lnTo>
                      <a:lnTo>
                        <a:pt x="369" y="163"/>
                      </a:lnTo>
                      <a:lnTo>
                        <a:pt x="381" y="130"/>
                      </a:lnTo>
                      <a:lnTo>
                        <a:pt x="349" y="156"/>
                      </a:lnTo>
                      <a:lnTo>
                        <a:pt x="334" y="184"/>
                      </a:lnTo>
                      <a:lnTo>
                        <a:pt x="337" y="137"/>
                      </a:lnTo>
                      <a:lnTo>
                        <a:pt x="369" y="70"/>
                      </a:lnTo>
                      <a:lnTo>
                        <a:pt x="410" y="22"/>
                      </a:lnTo>
                      <a:lnTo>
                        <a:pt x="449" y="11"/>
                      </a:lnTo>
                      <a:lnTo>
                        <a:pt x="443" y="0"/>
                      </a:lnTo>
                      <a:lnTo>
                        <a:pt x="376" y="6"/>
                      </a:lnTo>
                      <a:lnTo>
                        <a:pt x="334" y="28"/>
                      </a:lnTo>
                      <a:lnTo>
                        <a:pt x="320" y="52"/>
                      </a:lnTo>
                      <a:lnTo>
                        <a:pt x="269" y="92"/>
                      </a:lnTo>
                      <a:lnTo>
                        <a:pt x="248" y="126"/>
                      </a:lnTo>
                      <a:lnTo>
                        <a:pt x="212" y="137"/>
                      </a:lnTo>
                      <a:lnTo>
                        <a:pt x="197" y="158"/>
                      </a:lnTo>
                      <a:lnTo>
                        <a:pt x="174" y="171"/>
                      </a:lnTo>
                      <a:lnTo>
                        <a:pt x="105" y="183"/>
                      </a:lnTo>
                      <a:lnTo>
                        <a:pt x="90" y="197"/>
                      </a:lnTo>
                      <a:lnTo>
                        <a:pt x="58" y="227"/>
                      </a:lnTo>
                      <a:lnTo>
                        <a:pt x="0" y="254"/>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36" name="Freeform 60"/>
                <p:cNvSpPr>
                  <a:spLocks/>
                </p:cNvSpPr>
                <p:nvPr/>
              </p:nvSpPr>
              <p:spPr bwMode="gray">
                <a:xfrm>
                  <a:off x="3976558" y="1794573"/>
                  <a:ext cx="372255" cy="507710"/>
                </a:xfrm>
                <a:custGeom>
                  <a:avLst/>
                  <a:gdLst>
                    <a:gd name="T0" fmla="*/ 0 w 765"/>
                    <a:gd name="T1" fmla="*/ 1042 h 1042"/>
                    <a:gd name="T2" fmla="*/ 74 w 765"/>
                    <a:gd name="T3" fmla="*/ 915 h 1042"/>
                    <a:gd name="T4" fmla="*/ 88 w 765"/>
                    <a:gd name="T5" fmla="*/ 869 h 1042"/>
                    <a:gd name="T6" fmla="*/ 92 w 765"/>
                    <a:gd name="T7" fmla="*/ 781 h 1042"/>
                    <a:gd name="T8" fmla="*/ 75 w 765"/>
                    <a:gd name="T9" fmla="*/ 694 h 1042"/>
                    <a:gd name="T10" fmla="*/ 31 w 765"/>
                    <a:gd name="T11" fmla="*/ 612 h 1042"/>
                    <a:gd name="T12" fmla="*/ 11 w 765"/>
                    <a:gd name="T13" fmla="*/ 564 h 1042"/>
                    <a:gd name="T14" fmla="*/ 25 w 765"/>
                    <a:gd name="T15" fmla="*/ 523 h 1042"/>
                    <a:gd name="T16" fmla="*/ 4 w 765"/>
                    <a:gd name="T17" fmla="*/ 470 h 1042"/>
                    <a:gd name="T18" fmla="*/ 26 w 765"/>
                    <a:gd name="T19" fmla="*/ 433 h 1042"/>
                    <a:gd name="T20" fmla="*/ 44 w 765"/>
                    <a:gd name="T21" fmla="*/ 342 h 1042"/>
                    <a:gd name="T22" fmla="*/ 39 w 765"/>
                    <a:gd name="T23" fmla="*/ 300 h 1042"/>
                    <a:gd name="T24" fmla="*/ 68 w 765"/>
                    <a:gd name="T25" fmla="*/ 275 h 1042"/>
                    <a:gd name="T26" fmla="*/ 64 w 765"/>
                    <a:gd name="T27" fmla="*/ 245 h 1042"/>
                    <a:gd name="T28" fmla="*/ 110 w 765"/>
                    <a:gd name="T29" fmla="*/ 223 h 1042"/>
                    <a:gd name="T30" fmla="*/ 149 w 765"/>
                    <a:gd name="T31" fmla="*/ 158 h 1042"/>
                    <a:gd name="T32" fmla="*/ 143 w 765"/>
                    <a:gd name="T33" fmla="*/ 264 h 1042"/>
                    <a:gd name="T34" fmla="*/ 176 w 765"/>
                    <a:gd name="T35" fmla="*/ 243 h 1042"/>
                    <a:gd name="T36" fmla="*/ 175 w 765"/>
                    <a:gd name="T37" fmla="*/ 157 h 1042"/>
                    <a:gd name="T38" fmla="*/ 219 w 765"/>
                    <a:gd name="T39" fmla="*/ 108 h 1042"/>
                    <a:gd name="T40" fmla="*/ 248 w 765"/>
                    <a:gd name="T41" fmla="*/ 102 h 1042"/>
                    <a:gd name="T42" fmla="*/ 224 w 765"/>
                    <a:gd name="T43" fmla="*/ 87 h 1042"/>
                    <a:gd name="T44" fmla="*/ 214 w 765"/>
                    <a:gd name="T45" fmla="*/ 58 h 1042"/>
                    <a:gd name="T46" fmla="*/ 232 w 765"/>
                    <a:gd name="T47" fmla="*/ 14 h 1042"/>
                    <a:gd name="T48" fmla="*/ 271 w 765"/>
                    <a:gd name="T49" fmla="*/ 0 h 1042"/>
                    <a:gd name="T50" fmla="*/ 361 w 765"/>
                    <a:gd name="T51" fmla="*/ 26 h 1042"/>
                    <a:gd name="T52" fmla="*/ 394 w 765"/>
                    <a:gd name="T53" fmla="*/ 60 h 1042"/>
                    <a:gd name="T54" fmla="*/ 500 w 765"/>
                    <a:gd name="T55" fmla="*/ 82 h 1042"/>
                    <a:gd name="T56" fmla="*/ 520 w 765"/>
                    <a:gd name="T57" fmla="*/ 115 h 1042"/>
                    <a:gd name="T58" fmla="*/ 551 w 765"/>
                    <a:gd name="T59" fmla="*/ 153 h 1042"/>
                    <a:gd name="T60" fmla="*/ 523 w 765"/>
                    <a:gd name="T61" fmla="*/ 152 h 1042"/>
                    <a:gd name="T62" fmla="*/ 519 w 765"/>
                    <a:gd name="T63" fmla="*/ 173 h 1042"/>
                    <a:gd name="T64" fmla="*/ 552 w 765"/>
                    <a:gd name="T65" fmla="*/ 214 h 1042"/>
                    <a:gd name="T66" fmla="*/ 558 w 765"/>
                    <a:gd name="T67" fmla="*/ 286 h 1042"/>
                    <a:gd name="T68" fmla="*/ 558 w 765"/>
                    <a:gd name="T69" fmla="*/ 329 h 1042"/>
                    <a:gd name="T70" fmla="*/ 526 w 765"/>
                    <a:gd name="T71" fmla="*/ 380 h 1042"/>
                    <a:gd name="T72" fmla="*/ 523 w 765"/>
                    <a:gd name="T73" fmla="*/ 406 h 1042"/>
                    <a:gd name="T74" fmla="*/ 481 w 765"/>
                    <a:gd name="T75" fmla="*/ 427 h 1042"/>
                    <a:gd name="T76" fmla="*/ 472 w 765"/>
                    <a:gd name="T77" fmla="*/ 450 h 1042"/>
                    <a:gd name="T78" fmla="*/ 476 w 765"/>
                    <a:gd name="T79" fmla="*/ 503 h 1042"/>
                    <a:gd name="T80" fmla="*/ 521 w 765"/>
                    <a:gd name="T81" fmla="*/ 525 h 1042"/>
                    <a:gd name="T82" fmla="*/ 557 w 765"/>
                    <a:gd name="T83" fmla="*/ 483 h 1042"/>
                    <a:gd name="T84" fmla="*/ 583 w 765"/>
                    <a:gd name="T85" fmla="*/ 425 h 1042"/>
                    <a:gd name="T86" fmla="*/ 645 w 765"/>
                    <a:gd name="T87" fmla="*/ 388 h 1042"/>
                    <a:gd name="T88" fmla="*/ 687 w 765"/>
                    <a:gd name="T89" fmla="*/ 411 h 1042"/>
                    <a:gd name="T90" fmla="*/ 714 w 765"/>
                    <a:gd name="T91" fmla="*/ 475 h 1042"/>
                    <a:gd name="T92" fmla="*/ 749 w 765"/>
                    <a:gd name="T93" fmla="*/ 600 h 1042"/>
                    <a:gd name="T94" fmla="*/ 765 w 765"/>
                    <a:gd name="T95" fmla="*/ 641 h 1042"/>
                    <a:gd name="T96" fmla="*/ 755 w 765"/>
                    <a:gd name="T97" fmla="*/ 673 h 1042"/>
                    <a:gd name="T98" fmla="*/ 760 w 765"/>
                    <a:gd name="T99" fmla="*/ 726 h 1042"/>
                    <a:gd name="T100" fmla="*/ 747 w 765"/>
                    <a:gd name="T101" fmla="*/ 756 h 1042"/>
                    <a:gd name="T102" fmla="*/ 729 w 765"/>
                    <a:gd name="T103" fmla="*/ 726 h 1042"/>
                    <a:gd name="T104" fmla="*/ 709 w 765"/>
                    <a:gd name="T105" fmla="*/ 739 h 1042"/>
                    <a:gd name="T106" fmla="*/ 707 w 765"/>
                    <a:gd name="T107" fmla="*/ 788 h 1042"/>
                    <a:gd name="T108" fmla="*/ 699 w 765"/>
                    <a:gd name="T109" fmla="*/ 809 h 1042"/>
                    <a:gd name="T110" fmla="*/ 667 w 765"/>
                    <a:gd name="T111" fmla="*/ 831 h 1042"/>
                    <a:gd name="T112" fmla="*/ 665 w 765"/>
                    <a:gd name="T113" fmla="*/ 896 h 1042"/>
                    <a:gd name="T114" fmla="*/ 643 w 765"/>
                    <a:gd name="T115" fmla="*/ 925 h 1042"/>
                    <a:gd name="T116" fmla="*/ 623 w 765"/>
                    <a:gd name="T117" fmla="*/ 979 h 1042"/>
                    <a:gd name="T118" fmla="*/ 375 w 765"/>
                    <a:gd name="T119" fmla="*/ 1018 h 1042"/>
                    <a:gd name="T120" fmla="*/ 368 w 765"/>
                    <a:gd name="T121" fmla="*/ 1002 h 1042"/>
                    <a:gd name="T122" fmla="*/ 0 w 765"/>
                    <a:gd name="T123" fmla="*/ 1042 h 104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65"/>
                    <a:gd name="T187" fmla="*/ 0 h 1042"/>
                    <a:gd name="T188" fmla="*/ 765 w 765"/>
                    <a:gd name="T189" fmla="*/ 1042 h 104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65" h="1042">
                      <a:moveTo>
                        <a:pt x="0" y="1042"/>
                      </a:moveTo>
                      <a:lnTo>
                        <a:pt x="74" y="915"/>
                      </a:lnTo>
                      <a:lnTo>
                        <a:pt x="88" y="869"/>
                      </a:lnTo>
                      <a:lnTo>
                        <a:pt x="92" y="781"/>
                      </a:lnTo>
                      <a:lnTo>
                        <a:pt x="75" y="694"/>
                      </a:lnTo>
                      <a:lnTo>
                        <a:pt x="31" y="612"/>
                      </a:lnTo>
                      <a:lnTo>
                        <a:pt x="11" y="564"/>
                      </a:lnTo>
                      <a:lnTo>
                        <a:pt x="25" y="523"/>
                      </a:lnTo>
                      <a:lnTo>
                        <a:pt x="4" y="470"/>
                      </a:lnTo>
                      <a:lnTo>
                        <a:pt x="26" y="433"/>
                      </a:lnTo>
                      <a:lnTo>
                        <a:pt x="44" y="342"/>
                      </a:lnTo>
                      <a:lnTo>
                        <a:pt x="39" y="300"/>
                      </a:lnTo>
                      <a:lnTo>
                        <a:pt x="68" y="275"/>
                      </a:lnTo>
                      <a:lnTo>
                        <a:pt x="64" y="245"/>
                      </a:lnTo>
                      <a:lnTo>
                        <a:pt x="110" y="223"/>
                      </a:lnTo>
                      <a:lnTo>
                        <a:pt x="149" y="158"/>
                      </a:lnTo>
                      <a:lnTo>
                        <a:pt x="143" y="264"/>
                      </a:lnTo>
                      <a:lnTo>
                        <a:pt x="176" y="243"/>
                      </a:lnTo>
                      <a:lnTo>
                        <a:pt x="175" y="157"/>
                      </a:lnTo>
                      <a:lnTo>
                        <a:pt x="219" y="108"/>
                      </a:lnTo>
                      <a:lnTo>
                        <a:pt x="248" y="102"/>
                      </a:lnTo>
                      <a:lnTo>
                        <a:pt x="224" y="87"/>
                      </a:lnTo>
                      <a:lnTo>
                        <a:pt x="214" y="58"/>
                      </a:lnTo>
                      <a:lnTo>
                        <a:pt x="232" y="14"/>
                      </a:lnTo>
                      <a:lnTo>
                        <a:pt x="271" y="0"/>
                      </a:lnTo>
                      <a:lnTo>
                        <a:pt x="361" y="26"/>
                      </a:lnTo>
                      <a:lnTo>
                        <a:pt x="394" y="60"/>
                      </a:lnTo>
                      <a:lnTo>
                        <a:pt x="500" y="82"/>
                      </a:lnTo>
                      <a:lnTo>
                        <a:pt x="520" y="115"/>
                      </a:lnTo>
                      <a:lnTo>
                        <a:pt x="551" y="153"/>
                      </a:lnTo>
                      <a:lnTo>
                        <a:pt x="523" y="152"/>
                      </a:lnTo>
                      <a:lnTo>
                        <a:pt x="519" y="173"/>
                      </a:lnTo>
                      <a:lnTo>
                        <a:pt x="552" y="214"/>
                      </a:lnTo>
                      <a:lnTo>
                        <a:pt x="558" y="286"/>
                      </a:lnTo>
                      <a:lnTo>
                        <a:pt x="558" y="329"/>
                      </a:lnTo>
                      <a:lnTo>
                        <a:pt x="526" y="380"/>
                      </a:lnTo>
                      <a:lnTo>
                        <a:pt x="523" y="406"/>
                      </a:lnTo>
                      <a:lnTo>
                        <a:pt x="481" y="427"/>
                      </a:lnTo>
                      <a:lnTo>
                        <a:pt x="472" y="450"/>
                      </a:lnTo>
                      <a:lnTo>
                        <a:pt x="476" y="503"/>
                      </a:lnTo>
                      <a:lnTo>
                        <a:pt x="521" y="525"/>
                      </a:lnTo>
                      <a:lnTo>
                        <a:pt x="557" y="483"/>
                      </a:lnTo>
                      <a:lnTo>
                        <a:pt x="583" y="425"/>
                      </a:lnTo>
                      <a:lnTo>
                        <a:pt x="645" y="388"/>
                      </a:lnTo>
                      <a:lnTo>
                        <a:pt x="687" y="411"/>
                      </a:lnTo>
                      <a:lnTo>
                        <a:pt x="714" y="475"/>
                      </a:lnTo>
                      <a:lnTo>
                        <a:pt x="749" y="600"/>
                      </a:lnTo>
                      <a:lnTo>
                        <a:pt x="765" y="641"/>
                      </a:lnTo>
                      <a:lnTo>
                        <a:pt x="755" y="673"/>
                      </a:lnTo>
                      <a:lnTo>
                        <a:pt x="760" y="726"/>
                      </a:lnTo>
                      <a:lnTo>
                        <a:pt x="747" y="756"/>
                      </a:lnTo>
                      <a:lnTo>
                        <a:pt x="729" y="726"/>
                      </a:lnTo>
                      <a:lnTo>
                        <a:pt x="709" y="739"/>
                      </a:lnTo>
                      <a:lnTo>
                        <a:pt x="707" y="788"/>
                      </a:lnTo>
                      <a:lnTo>
                        <a:pt x="699" y="809"/>
                      </a:lnTo>
                      <a:lnTo>
                        <a:pt x="667" y="831"/>
                      </a:lnTo>
                      <a:lnTo>
                        <a:pt x="665" y="896"/>
                      </a:lnTo>
                      <a:lnTo>
                        <a:pt x="643" y="925"/>
                      </a:lnTo>
                      <a:lnTo>
                        <a:pt x="623" y="979"/>
                      </a:lnTo>
                      <a:lnTo>
                        <a:pt x="375" y="1018"/>
                      </a:lnTo>
                      <a:lnTo>
                        <a:pt x="368" y="1002"/>
                      </a:lnTo>
                      <a:lnTo>
                        <a:pt x="0" y="1042"/>
                      </a:lnTo>
                      <a:close/>
                    </a:path>
                  </a:pathLst>
                </a:custGeom>
                <a:grpFill/>
                <a:ln w="9525">
                  <a:solidFill>
                    <a:schemeClr val="tx1"/>
                  </a:solidFill>
                  <a:round/>
                  <a:headEnd/>
                  <a:tailEnd/>
                </a:ln>
              </p:spPr>
              <p:txBody>
                <a:bodyPr/>
                <a:lstStyle/>
                <a:p>
                  <a:pPr>
                    <a:defRPr/>
                  </a:pPr>
                  <a:endParaRPr lang="en-US" sz="1100" dirty="0">
                    <a:latin typeface="+mj-lt"/>
                  </a:endParaRPr>
                </a:p>
              </p:txBody>
            </p:sp>
          </p:grpSp>
          <p:sp>
            <p:nvSpPr>
              <p:cNvPr id="99" name="Freeform 61"/>
              <p:cNvSpPr>
                <a:spLocks/>
              </p:cNvSpPr>
              <p:nvPr/>
            </p:nvSpPr>
            <p:spPr bwMode="gray">
              <a:xfrm>
                <a:off x="3052741" y="1411598"/>
                <a:ext cx="636343" cy="715276"/>
              </a:xfrm>
              <a:custGeom>
                <a:avLst/>
                <a:gdLst>
                  <a:gd name="T0" fmla="*/ 0 w 1305"/>
                  <a:gd name="T1" fmla="*/ 92 h 1467"/>
                  <a:gd name="T2" fmla="*/ 9 w 1305"/>
                  <a:gd name="T3" fmla="*/ 298 h 1467"/>
                  <a:gd name="T4" fmla="*/ 59 w 1305"/>
                  <a:gd name="T5" fmla="*/ 465 h 1467"/>
                  <a:gd name="T6" fmla="*/ 66 w 1305"/>
                  <a:gd name="T7" fmla="*/ 681 h 1467"/>
                  <a:gd name="T8" fmla="*/ 101 w 1305"/>
                  <a:gd name="T9" fmla="*/ 854 h 1467"/>
                  <a:gd name="T10" fmla="*/ 55 w 1305"/>
                  <a:gd name="T11" fmla="*/ 943 h 1467"/>
                  <a:gd name="T12" fmla="*/ 122 w 1305"/>
                  <a:gd name="T13" fmla="*/ 1008 h 1467"/>
                  <a:gd name="T14" fmla="*/ 118 w 1305"/>
                  <a:gd name="T15" fmla="*/ 1467 h 1467"/>
                  <a:gd name="T16" fmla="*/ 1061 w 1305"/>
                  <a:gd name="T17" fmla="*/ 1450 h 1467"/>
                  <a:gd name="T18" fmla="*/ 1046 w 1305"/>
                  <a:gd name="T19" fmla="*/ 1360 h 1467"/>
                  <a:gd name="T20" fmla="*/ 1017 w 1305"/>
                  <a:gd name="T21" fmla="*/ 1327 h 1467"/>
                  <a:gd name="T22" fmla="*/ 944 w 1305"/>
                  <a:gd name="T23" fmla="*/ 1280 h 1467"/>
                  <a:gd name="T24" fmla="*/ 893 w 1305"/>
                  <a:gd name="T25" fmla="*/ 1224 h 1467"/>
                  <a:gd name="T26" fmla="*/ 767 w 1305"/>
                  <a:gd name="T27" fmla="*/ 1145 h 1467"/>
                  <a:gd name="T28" fmla="*/ 770 w 1305"/>
                  <a:gd name="T29" fmla="*/ 1009 h 1467"/>
                  <a:gd name="T30" fmla="*/ 743 w 1305"/>
                  <a:gd name="T31" fmla="*/ 924 h 1467"/>
                  <a:gd name="T32" fmla="*/ 845 w 1305"/>
                  <a:gd name="T33" fmla="*/ 794 h 1467"/>
                  <a:gd name="T34" fmla="*/ 839 w 1305"/>
                  <a:gd name="T35" fmla="*/ 666 h 1467"/>
                  <a:gd name="T36" fmla="*/ 864 w 1305"/>
                  <a:gd name="T37" fmla="*/ 645 h 1467"/>
                  <a:gd name="T38" fmla="*/ 990 w 1305"/>
                  <a:gd name="T39" fmla="*/ 539 h 1467"/>
                  <a:gd name="T40" fmla="*/ 1055 w 1305"/>
                  <a:gd name="T41" fmla="*/ 461 h 1467"/>
                  <a:gd name="T42" fmla="*/ 1138 w 1305"/>
                  <a:gd name="T43" fmla="*/ 395 h 1467"/>
                  <a:gd name="T44" fmla="*/ 1305 w 1305"/>
                  <a:gd name="T45" fmla="*/ 308 h 1467"/>
                  <a:gd name="T46" fmla="*/ 1244 w 1305"/>
                  <a:gd name="T47" fmla="*/ 314 h 1467"/>
                  <a:gd name="T48" fmla="*/ 1186 w 1305"/>
                  <a:gd name="T49" fmla="*/ 287 h 1467"/>
                  <a:gd name="T50" fmla="*/ 1093 w 1305"/>
                  <a:gd name="T51" fmla="*/ 297 h 1467"/>
                  <a:gd name="T52" fmla="*/ 1073 w 1305"/>
                  <a:gd name="T53" fmla="*/ 260 h 1467"/>
                  <a:gd name="T54" fmla="*/ 1043 w 1305"/>
                  <a:gd name="T55" fmla="*/ 275 h 1467"/>
                  <a:gd name="T56" fmla="*/ 978 w 1305"/>
                  <a:gd name="T57" fmla="*/ 313 h 1467"/>
                  <a:gd name="T58" fmla="*/ 933 w 1305"/>
                  <a:gd name="T59" fmla="*/ 300 h 1467"/>
                  <a:gd name="T60" fmla="*/ 916 w 1305"/>
                  <a:gd name="T61" fmla="*/ 280 h 1467"/>
                  <a:gd name="T62" fmla="*/ 881 w 1305"/>
                  <a:gd name="T63" fmla="*/ 269 h 1467"/>
                  <a:gd name="T64" fmla="*/ 865 w 1305"/>
                  <a:gd name="T65" fmla="*/ 242 h 1467"/>
                  <a:gd name="T66" fmla="*/ 833 w 1305"/>
                  <a:gd name="T67" fmla="*/ 247 h 1467"/>
                  <a:gd name="T68" fmla="*/ 830 w 1305"/>
                  <a:gd name="T69" fmla="*/ 271 h 1467"/>
                  <a:gd name="T70" fmla="*/ 815 w 1305"/>
                  <a:gd name="T71" fmla="*/ 276 h 1467"/>
                  <a:gd name="T72" fmla="*/ 791 w 1305"/>
                  <a:gd name="T73" fmla="*/ 223 h 1467"/>
                  <a:gd name="T74" fmla="*/ 760 w 1305"/>
                  <a:gd name="T75" fmla="*/ 222 h 1467"/>
                  <a:gd name="T76" fmla="*/ 770 w 1305"/>
                  <a:gd name="T77" fmla="*/ 197 h 1467"/>
                  <a:gd name="T78" fmla="*/ 695 w 1305"/>
                  <a:gd name="T79" fmla="*/ 182 h 1467"/>
                  <a:gd name="T80" fmla="*/ 666 w 1305"/>
                  <a:gd name="T81" fmla="*/ 178 h 1467"/>
                  <a:gd name="T82" fmla="*/ 578 w 1305"/>
                  <a:gd name="T83" fmla="*/ 214 h 1467"/>
                  <a:gd name="T84" fmla="*/ 563 w 1305"/>
                  <a:gd name="T85" fmla="*/ 182 h 1467"/>
                  <a:gd name="T86" fmla="*/ 425 w 1305"/>
                  <a:gd name="T87" fmla="*/ 154 h 1467"/>
                  <a:gd name="T88" fmla="*/ 403 w 1305"/>
                  <a:gd name="T89" fmla="*/ 12 h 1467"/>
                  <a:gd name="T90" fmla="*/ 345 w 1305"/>
                  <a:gd name="T91" fmla="*/ 0 h 1467"/>
                  <a:gd name="T92" fmla="*/ 344 w 1305"/>
                  <a:gd name="T93" fmla="*/ 93 h 1467"/>
                  <a:gd name="T94" fmla="*/ 0 w 1305"/>
                  <a:gd name="T95" fmla="*/ 92 h 146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305"/>
                  <a:gd name="T145" fmla="*/ 0 h 1467"/>
                  <a:gd name="T146" fmla="*/ 1305 w 1305"/>
                  <a:gd name="T147" fmla="*/ 1467 h 146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305" h="1467">
                    <a:moveTo>
                      <a:pt x="0" y="92"/>
                    </a:moveTo>
                    <a:lnTo>
                      <a:pt x="9" y="298"/>
                    </a:lnTo>
                    <a:lnTo>
                      <a:pt x="59" y="465"/>
                    </a:lnTo>
                    <a:lnTo>
                      <a:pt x="66" y="681"/>
                    </a:lnTo>
                    <a:lnTo>
                      <a:pt x="101" y="854"/>
                    </a:lnTo>
                    <a:lnTo>
                      <a:pt x="55" y="943"/>
                    </a:lnTo>
                    <a:lnTo>
                      <a:pt x="122" y="1008"/>
                    </a:lnTo>
                    <a:lnTo>
                      <a:pt x="118" y="1467"/>
                    </a:lnTo>
                    <a:lnTo>
                      <a:pt x="1061" y="1450"/>
                    </a:lnTo>
                    <a:lnTo>
                      <a:pt x="1046" y="1360"/>
                    </a:lnTo>
                    <a:lnTo>
                      <a:pt x="1017" y="1327"/>
                    </a:lnTo>
                    <a:lnTo>
                      <a:pt x="944" y="1280"/>
                    </a:lnTo>
                    <a:lnTo>
                      <a:pt x="893" y="1224"/>
                    </a:lnTo>
                    <a:lnTo>
                      <a:pt x="767" y="1145"/>
                    </a:lnTo>
                    <a:lnTo>
                      <a:pt x="770" y="1009"/>
                    </a:lnTo>
                    <a:lnTo>
                      <a:pt x="743" y="924"/>
                    </a:lnTo>
                    <a:lnTo>
                      <a:pt x="845" y="794"/>
                    </a:lnTo>
                    <a:lnTo>
                      <a:pt x="839" y="666"/>
                    </a:lnTo>
                    <a:lnTo>
                      <a:pt x="864" y="645"/>
                    </a:lnTo>
                    <a:lnTo>
                      <a:pt x="990" y="539"/>
                    </a:lnTo>
                    <a:lnTo>
                      <a:pt x="1055" y="461"/>
                    </a:lnTo>
                    <a:lnTo>
                      <a:pt x="1138" y="395"/>
                    </a:lnTo>
                    <a:lnTo>
                      <a:pt x="1305" y="308"/>
                    </a:lnTo>
                    <a:lnTo>
                      <a:pt x="1244" y="314"/>
                    </a:lnTo>
                    <a:lnTo>
                      <a:pt x="1186" y="287"/>
                    </a:lnTo>
                    <a:lnTo>
                      <a:pt x="1093" y="297"/>
                    </a:lnTo>
                    <a:lnTo>
                      <a:pt x="1073" y="260"/>
                    </a:lnTo>
                    <a:lnTo>
                      <a:pt x="1043" y="275"/>
                    </a:lnTo>
                    <a:lnTo>
                      <a:pt x="978" y="313"/>
                    </a:lnTo>
                    <a:lnTo>
                      <a:pt x="933" y="300"/>
                    </a:lnTo>
                    <a:lnTo>
                      <a:pt x="916" y="280"/>
                    </a:lnTo>
                    <a:lnTo>
                      <a:pt x="881" y="269"/>
                    </a:lnTo>
                    <a:lnTo>
                      <a:pt x="865" y="242"/>
                    </a:lnTo>
                    <a:lnTo>
                      <a:pt x="833" y="247"/>
                    </a:lnTo>
                    <a:lnTo>
                      <a:pt x="830" y="271"/>
                    </a:lnTo>
                    <a:lnTo>
                      <a:pt x="815" y="276"/>
                    </a:lnTo>
                    <a:lnTo>
                      <a:pt x="791" y="223"/>
                    </a:lnTo>
                    <a:lnTo>
                      <a:pt x="760" y="222"/>
                    </a:lnTo>
                    <a:lnTo>
                      <a:pt x="770" y="197"/>
                    </a:lnTo>
                    <a:lnTo>
                      <a:pt x="695" y="182"/>
                    </a:lnTo>
                    <a:lnTo>
                      <a:pt x="666" y="178"/>
                    </a:lnTo>
                    <a:lnTo>
                      <a:pt x="578" y="214"/>
                    </a:lnTo>
                    <a:lnTo>
                      <a:pt x="563" y="182"/>
                    </a:lnTo>
                    <a:lnTo>
                      <a:pt x="425" y="154"/>
                    </a:lnTo>
                    <a:lnTo>
                      <a:pt x="403" y="12"/>
                    </a:lnTo>
                    <a:lnTo>
                      <a:pt x="345" y="0"/>
                    </a:lnTo>
                    <a:lnTo>
                      <a:pt x="344" y="93"/>
                    </a:lnTo>
                    <a:lnTo>
                      <a:pt x="0" y="92"/>
                    </a:lnTo>
                    <a:close/>
                  </a:path>
                </a:pathLst>
              </a:custGeom>
              <a:solidFill>
                <a:schemeClr val="accent1">
                  <a:lumMod val="40000"/>
                  <a:lumOff val="60000"/>
                </a:schemeClr>
              </a:solidFill>
              <a:ln w="9525">
                <a:solidFill>
                  <a:schemeClr val="tx1"/>
                </a:solidFill>
                <a:round/>
                <a:headEnd/>
                <a:tailEnd/>
              </a:ln>
            </p:spPr>
            <p:txBody>
              <a:bodyPr/>
              <a:lstStyle/>
              <a:p>
                <a:pPr>
                  <a:defRPr/>
                </a:pPr>
                <a:endParaRPr lang="en-US" sz="1100" dirty="0">
                  <a:latin typeface="+mj-lt"/>
                </a:endParaRPr>
              </a:p>
            </p:txBody>
          </p:sp>
          <p:sp>
            <p:nvSpPr>
              <p:cNvPr id="100" name="Freeform 62"/>
              <p:cNvSpPr>
                <a:spLocks/>
              </p:cNvSpPr>
              <p:nvPr/>
            </p:nvSpPr>
            <p:spPr bwMode="gray">
              <a:xfrm>
                <a:off x="3596506" y="3133523"/>
                <a:ext cx="343021" cy="595414"/>
              </a:xfrm>
              <a:custGeom>
                <a:avLst/>
                <a:gdLst>
                  <a:gd name="T0" fmla="*/ 0 w 703"/>
                  <a:gd name="T1" fmla="*/ 1038 h 1223"/>
                  <a:gd name="T2" fmla="*/ 3 w 703"/>
                  <a:gd name="T3" fmla="*/ 992 h 1223"/>
                  <a:gd name="T4" fmla="*/ 48 w 703"/>
                  <a:gd name="T5" fmla="*/ 853 h 1223"/>
                  <a:gd name="T6" fmla="*/ 117 w 703"/>
                  <a:gd name="T7" fmla="*/ 760 h 1223"/>
                  <a:gd name="T8" fmla="*/ 95 w 703"/>
                  <a:gd name="T9" fmla="*/ 734 h 1223"/>
                  <a:gd name="T10" fmla="*/ 103 w 703"/>
                  <a:gd name="T11" fmla="*/ 644 h 1223"/>
                  <a:gd name="T12" fmla="*/ 69 w 703"/>
                  <a:gd name="T13" fmla="*/ 539 h 1223"/>
                  <a:gd name="T14" fmla="*/ 56 w 703"/>
                  <a:gd name="T15" fmla="*/ 402 h 1223"/>
                  <a:gd name="T16" fmla="*/ 108 w 703"/>
                  <a:gd name="T17" fmla="*/ 253 h 1223"/>
                  <a:gd name="T18" fmla="*/ 182 w 703"/>
                  <a:gd name="T19" fmla="*/ 149 h 1223"/>
                  <a:gd name="T20" fmla="*/ 179 w 703"/>
                  <a:gd name="T21" fmla="*/ 120 h 1223"/>
                  <a:gd name="T22" fmla="*/ 233 w 703"/>
                  <a:gd name="T23" fmla="*/ 28 h 1223"/>
                  <a:gd name="T24" fmla="*/ 657 w 703"/>
                  <a:gd name="T25" fmla="*/ 0 h 1223"/>
                  <a:gd name="T26" fmla="*/ 676 w 703"/>
                  <a:gd name="T27" fmla="*/ 23 h 1223"/>
                  <a:gd name="T28" fmla="*/ 657 w 703"/>
                  <a:gd name="T29" fmla="*/ 783 h 1223"/>
                  <a:gd name="T30" fmla="*/ 703 w 703"/>
                  <a:gd name="T31" fmla="*/ 1150 h 1223"/>
                  <a:gd name="T32" fmla="*/ 686 w 703"/>
                  <a:gd name="T33" fmla="*/ 1167 h 1223"/>
                  <a:gd name="T34" fmla="*/ 659 w 703"/>
                  <a:gd name="T35" fmla="*/ 1150 h 1223"/>
                  <a:gd name="T36" fmla="*/ 625 w 703"/>
                  <a:gd name="T37" fmla="*/ 1167 h 1223"/>
                  <a:gd name="T38" fmla="*/ 597 w 703"/>
                  <a:gd name="T39" fmla="*/ 1147 h 1223"/>
                  <a:gd name="T40" fmla="*/ 595 w 703"/>
                  <a:gd name="T41" fmla="*/ 1159 h 1223"/>
                  <a:gd name="T42" fmla="*/ 560 w 703"/>
                  <a:gd name="T43" fmla="*/ 1163 h 1223"/>
                  <a:gd name="T44" fmla="*/ 516 w 703"/>
                  <a:gd name="T45" fmla="*/ 1184 h 1223"/>
                  <a:gd name="T46" fmla="*/ 501 w 703"/>
                  <a:gd name="T47" fmla="*/ 1172 h 1223"/>
                  <a:gd name="T48" fmla="*/ 479 w 703"/>
                  <a:gd name="T49" fmla="*/ 1214 h 1223"/>
                  <a:gd name="T50" fmla="*/ 459 w 703"/>
                  <a:gd name="T51" fmla="*/ 1223 h 1223"/>
                  <a:gd name="T52" fmla="*/ 389 w 703"/>
                  <a:gd name="T53" fmla="*/ 1106 h 1223"/>
                  <a:gd name="T54" fmla="*/ 401 w 703"/>
                  <a:gd name="T55" fmla="*/ 1022 h 1223"/>
                  <a:gd name="T56" fmla="*/ 0 w 703"/>
                  <a:gd name="T57" fmla="*/ 1038 h 122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03"/>
                  <a:gd name="T88" fmla="*/ 0 h 1223"/>
                  <a:gd name="T89" fmla="*/ 703 w 703"/>
                  <a:gd name="T90" fmla="*/ 1223 h 122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03" h="1223">
                    <a:moveTo>
                      <a:pt x="0" y="1038"/>
                    </a:moveTo>
                    <a:lnTo>
                      <a:pt x="3" y="992"/>
                    </a:lnTo>
                    <a:lnTo>
                      <a:pt x="48" y="853"/>
                    </a:lnTo>
                    <a:lnTo>
                      <a:pt x="117" y="760"/>
                    </a:lnTo>
                    <a:lnTo>
                      <a:pt x="95" y="734"/>
                    </a:lnTo>
                    <a:lnTo>
                      <a:pt x="103" y="644"/>
                    </a:lnTo>
                    <a:lnTo>
                      <a:pt x="69" y="539"/>
                    </a:lnTo>
                    <a:lnTo>
                      <a:pt x="56" y="402"/>
                    </a:lnTo>
                    <a:lnTo>
                      <a:pt x="108" y="253"/>
                    </a:lnTo>
                    <a:lnTo>
                      <a:pt x="182" y="149"/>
                    </a:lnTo>
                    <a:lnTo>
                      <a:pt x="179" y="120"/>
                    </a:lnTo>
                    <a:lnTo>
                      <a:pt x="233" y="28"/>
                    </a:lnTo>
                    <a:lnTo>
                      <a:pt x="657" y="0"/>
                    </a:lnTo>
                    <a:lnTo>
                      <a:pt x="676" y="23"/>
                    </a:lnTo>
                    <a:lnTo>
                      <a:pt x="657" y="783"/>
                    </a:lnTo>
                    <a:lnTo>
                      <a:pt x="703" y="1150"/>
                    </a:lnTo>
                    <a:lnTo>
                      <a:pt x="686" y="1167"/>
                    </a:lnTo>
                    <a:lnTo>
                      <a:pt x="659" y="1150"/>
                    </a:lnTo>
                    <a:lnTo>
                      <a:pt x="625" y="1167"/>
                    </a:lnTo>
                    <a:lnTo>
                      <a:pt x="597" y="1147"/>
                    </a:lnTo>
                    <a:lnTo>
                      <a:pt x="595" y="1159"/>
                    </a:lnTo>
                    <a:lnTo>
                      <a:pt x="560" y="1163"/>
                    </a:lnTo>
                    <a:lnTo>
                      <a:pt x="516" y="1184"/>
                    </a:lnTo>
                    <a:lnTo>
                      <a:pt x="501" y="1172"/>
                    </a:lnTo>
                    <a:lnTo>
                      <a:pt x="479" y="1214"/>
                    </a:lnTo>
                    <a:lnTo>
                      <a:pt x="459" y="1223"/>
                    </a:lnTo>
                    <a:lnTo>
                      <a:pt x="389" y="1106"/>
                    </a:lnTo>
                    <a:lnTo>
                      <a:pt x="401" y="1022"/>
                    </a:lnTo>
                    <a:lnTo>
                      <a:pt x="0" y="1038"/>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01" name="Freeform 63"/>
              <p:cNvSpPr>
                <a:spLocks/>
              </p:cNvSpPr>
              <p:nvPr/>
            </p:nvSpPr>
            <p:spPr bwMode="gray">
              <a:xfrm>
                <a:off x="3169680" y="2472818"/>
                <a:ext cx="642190" cy="559358"/>
              </a:xfrm>
              <a:custGeom>
                <a:avLst/>
                <a:gdLst>
                  <a:gd name="T0" fmla="*/ 0 w 1318"/>
                  <a:gd name="T1" fmla="*/ 16 h 1149"/>
                  <a:gd name="T2" fmla="*/ 79 w 1318"/>
                  <a:gd name="T3" fmla="*/ 165 h 1149"/>
                  <a:gd name="T4" fmla="*/ 118 w 1318"/>
                  <a:gd name="T5" fmla="*/ 200 h 1149"/>
                  <a:gd name="T6" fmla="*/ 141 w 1318"/>
                  <a:gd name="T7" fmla="*/ 193 h 1149"/>
                  <a:gd name="T8" fmla="*/ 164 w 1318"/>
                  <a:gd name="T9" fmla="*/ 212 h 1149"/>
                  <a:gd name="T10" fmla="*/ 167 w 1318"/>
                  <a:gd name="T11" fmla="*/ 232 h 1149"/>
                  <a:gd name="T12" fmla="*/ 146 w 1318"/>
                  <a:gd name="T13" fmla="*/ 233 h 1149"/>
                  <a:gd name="T14" fmla="*/ 121 w 1318"/>
                  <a:gd name="T15" fmla="*/ 286 h 1149"/>
                  <a:gd name="T16" fmla="*/ 179 w 1318"/>
                  <a:gd name="T17" fmla="*/ 369 h 1149"/>
                  <a:gd name="T18" fmla="*/ 224 w 1318"/>
                  <a:gd name="T19" fmla="*/ 382 h 1149"/>
                  <a:gd name="T20" fmla="*/ 218 w 1318"/>
                  <a:gd name="T21" fmla="*/ 920 h 1149"/>
                  <a:gd name="T22" fmla="*/ 222 w 1318"/>
                  <a:gd name="T23" fmla="*/ 1050 h 1149"/>
                  <a:gd name="T24" fmla="*/ 1100 w 1318"/>
                  <a:gd name="T25" fmla="*/ 1021 h 1149"/>
                  <a:gd name="T26" fmla="*/ 1110 w 1318"/>
                  <a:gd name="T27" fmla="*/ 1099 h 1149"/>
                  <a:gd name="T28" fmla="*/ 1074 w 1318"/>
                  <a:gd name="T29" fmla="*/ 1149 h 1149"/>
                  <a:gd name="T30" fmla="*/ 1207 w 1318"/>
                  <a:gd name="T31" fmla="*/ 1142 h 1149"/>
                  <a:gd name="T32" fmla="*/ 1230 w 1318"/>
                  <a:gd name="T33" fmla="*/ 1099 h 1149"/>
                  <a:gd name="T34" fmla="*/ 1233 w 1318"/>
                  <a:gd name="T35" fmla="*/ 1050 h 1149"/>
                  <a:gd name="T36" fmla="*/ 1263 w 1318"/>
                  <a:gd name="T37" fmla="*/ 1013 h 1149"/>
                  <a:gd name="T38" fmla="*/ 1276 w 1318"/>
                  <a:gd name="T39" fmla="*/ 978 h 1149"/>
                  <a:gd name="T40" fmla="*/ 1309 w 1318"/>
                  <a:gd name="T41" fmla="*/ 973 h 1149"/>
                  <a:gd name="T42" fmla="*/ 1318 w 1318"/>
                  <a:gd name="T43" fmla="*/ 891 h 1149"/>
                  <a:gd name="T44" fmla="*/ 1299 w 1318"/>
                  <a:gd name="T45" fmla="*/ 885 h 1149"/>
                  <a:gd name="T46" fmla="*/ 1270 w 1318"/>
                  <a:gd name="T47" fmla="*/ 883 h 1149"/>
                  <a:gd name="T48" fmla="*/ 1239 w 1318"/>
                  <a:gd name="T49" fmla="*/ 824 h 1149"/>
                  <a:gd name="T50" fmla="*/ 1223 w 1318"/>
                  <a:gd name="T51" fmla="*/ 744 h 1149"/>
                  <a:gd name="T52" fmla="*/ 1190 w 1318"/>
                  <a:gd name="T53" fmla="*/ 689 h 1149"/>
                  <a:gd name="T54" fmla="*/ 1138 w 1318"/>
                  <a:gd name="T55" fmla="*/ 668 h 1149"/>
                  <a:gd name="T56" fmla="*/ 1071 w 1318"/>
                  <a:gd name="T57" fmla="*/ 616 h 1149"/>
                  <a:gd name="T58" fmla="*/ 1050 w 1318"/>
                  <a:gd name="T59" fmla="*/ 545 h 1149"/>
                  <a:gd name="T60" fmla="*/ 1087 w 1318"/>
                  <a:gd name="T61" fmla="*/ 435 h 1149"/>
                  <a:gd name="T62" fmla="*/ 1056 w 1318"/>
                  <a:gd name="T63" fmla="*/ 414 h 1149"/>
                  <a:gd name="T64" fmla="*/ 978 w 1318"/>
                  <a:gd name="T65" fmla="*/ 415 h 1149"/>
                  <a:gd name="T66" fmla="*/ 965 w 1318"/>
                  <a:gd name="T67" fmla="*/ 344 h 1149"/>
                  <a:gd name="T68" fmla="*/ 836 w 1318"/>
                  <a:gd name="T69" fmla="*/ 213 h 1149"/>
                  <a:gd name="T70" fmla="*/ 807 w 1318"/>
                  <a:gd name="T71" fmla="*/ 102 h 1149"/>
                  <a:gd name="T72" fmla="*/ 821 w 1318"/>
                  <a:gd name="T73" fmla="*/ 58 h 1149"/>
                  <a:gd name="T74" fmla="*/ 763 w 1318"/>
                  <a:gd name="T75" fmla="*/ 0 h 1149"/>
                  <a:gd name="T76" fmla="*/ 0 w 1318"/>
                  <a:gd name="T77" fmla="*/ 16 h 114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318"/>
                  <a:gd name="T118" fmla="*/ 0 h 1149"/>
                  <a:gd name="T119" fmla="*/ 1318 w 1318"/>
                  <a:gd name="T120" fmla="*/ 1149 h 1149"/>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318" h="1149">
                    <a:moveTo>
                      <a:pt x="0" y="16"/>
                    </a:moveTo>
                    <a:lnTo>
                      <a:pt x="79" y="165"/>
                    </a:lnTo>
                    <a:lnTo>
                      <a:pt x="118" y="200"/>
                    </a:lnTo>
                    <a:lnTo>
                      <a:pt x="141" y="193"/>
                    </a:lnTo>
                    <a:lnTo>
                      <a:pt x="164" y="212"/>
                    </a:lnTo>
                    <a:lnTo>
                      <a:pt x="167" y="232"/>
                    </a:lnTo>
                    <a:lnTo>
                      <a:pt x="146" y="233"/>
                    </a:lnTo>
                    <a:lnTo>
                      <a:pt x="121" y="286"/>
                    </a:lnTo>
                    <a:lnTo>
                      <a:pt x="179" y="369"/>
                    </a:lnTo>
                    <a:lnTo>
                      <a:pt x="224" y="382"/>
                    </a:lnTo>
                    <a:lnTo>
                      <a:pt x="218" y="920"/>
                    </a:lnTo>
                    <a:lnTo>
                      <a:pt x="222" y="1050"/>
                    </a:lnTo>
                    <a:lnTo>
                      <a:pt x="1100" y="1021"/>
                    </a:lnTo>
                    <a:lnTo>
                      <a:pt x="1110" y="1099"/>
                    </a:lnTo>
                    <a:lnTo>
                      <a:pt x="1074" y="1149"/>
                    </a:lnTo>
                    <a:lnTo>
                      <a:pt x="1207" y="1142"/>
                    </a:lnTo>
                    <a:lnTo>
                      <a:pt x="1230" y="1099"/>
                    </a:lnTo>
                    <a:lnTo>
                      <a:pt x="1233" y="1050"/>
                    </a:lnTo>
                    <a:lnTo>
                      <a:pt x="1263" y="1013"/>
                    </a:lnTo>
                    <a:lnTo>
                      <a:pt x="1276" y="978"/>
                    </a:lnTo>
                    <a:lnTo>
                      <a:pt x="1309" y="973"/>
                    </a:lnTo>
                    <a:lnTo>
                      <a:pt x="1318" y="891"/>
                    </a:lnTo>
                    <a:lnTo>
                      <a:pt x="1299" y="885"/>
                    </a:lnTo>
                    <a:lnTo>
                      <a:pt x="1270" y="883"/>
                    </a:lnTo>
                    <a:lnTo>
                      <a:pt x="1239" y="824"/>
                    </a:lnTo>
                    <a:lnTo>
                      <a:pt x="1223" y="744"/>
                    </a:lnTo>
                    <a:lnTo>
                      <a:pt x="1190" y="689"/>
                    </a:lnTo>
                    <a:lnTo>
                      <a:pt x="1138" y="668"/>
                    </a:lnTo>
                    <a:lnTo>
                      <a:pt x="1071" y="616"/>
                    </a:lnTo>
                    <a:lnTo>
                      <a:pt x="1050" y="545"/>
                    </a:lnTo>
                    <a:lnTo>
                      <a:pt x="1087" y="435"/>
                    </a:lnTo>
                    <a:lnTo>
                      <a:pt x="1056" y="414"/>
                    </a:lnTo>
                    <a:lnTo>
                      <a:pt x="978" y="415"/>
                    </a:lnTo>
                    <a:lnTo>
                      <a:pt x="965" y="344"/>
                    </a:lnTo>
                    <a:lnTo>
                      <a:pt x="836" y="213"/>
                    </a:lnTo>
                    <a:lnTo>
                      <a:pt x="807" y="102"/>
                    </a:lnTo>
                    <a:lnTo>
                      <a:pt x="821" y="58"/>
                    </a:lnTo>
                    <a:lnTo>
                      <a:pt x="763" y="0"/>
                    </a:lnTo>
                    <a:lnTo>
                      <a:pt x="0" y="16"/>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02" name="Freeform 64"/>
              <p:cNvSpPr>
                <a:spLocks/>
              </p:cNvSpPr>
              <p:nvPr/>
            </p:nvSpPr>
            <p:spPr bwMode="gray">
              <a:xfrm>
                <a:off x="1511097" y="1279068"/>
                <a:ext cx="988133" cy="629521"/>
              </a:xfrm>
              <a:custGeom>
                <a:avLst/>
                <a:gdLst>
                  <a:gd name="T0" fmla="*/ 0 w 2027"/>
                  <a:gd name="T1" fmla="*/ 241 h 1293"/>
                  <a:gd name="T2" fmla="*/ 35 w 2027"/>
                  <a:gd name="T3" fmla="*/ 328 h 1293"/>
                  <a:gd name="T4" fmla="*/ 39 w 2027"/>
                  <a:gd name="T5" fmla="*/ 382 h 1293"/>
                  <a:gd name="T6" fmla="*/ 20 w 2027"/>
                  <a:gd name="T7" fmla="*/ 390 h 1293"/>
                  <a:gd name="T8" fmla="*/ 81 w 2027"/>
                  <a:gd name="T9" fmla="*/ 449 h 1293"/>
                  <a:gd name="T10" fmla="*/ 143 w 2027"/>
                  <a:gd name="T11" fmla="*/ 603 h 1293"/>
                  <a:gd name="T12" fmla="*/ 165 w 2027"/>
                  <a:gd name="T13" fmla="*/ 597 h 1293"/>
                  <a:gd name="T14" fmla="*/ 167 w 2027"/>
                  <a:gd name="T15" fmla="*/ 619 h 1293"/>
                  <a:gd name="T16" fmla="*/ 197 w 2027"/>
                  <a:gd name="T17" fmla="*/ 628 h 1293"/>
                  <a:gd name="T18" fmla="*/ 219 w 2027"/>
                  <a:gd name="T19" fmla="*/ 631 h 1293"/>
                  <a:gd name="T20" fmla="*/ 164 w 2027"/>
                  <a:gd name="T21" fmla="*/ 743 h 1293"/>
                  <a:gd name="T22" fmla="*/ 173 w 2027"/>
                  <a:gd name="T23" fmla="*/ 817 h 1293"/>
                  <a:gd name="T24" fmla="*/ 128 w 2027"/>
                  <a:gd name="T25" fmla="*/ 889 h 1293"/>
                  <a:gd name="T26" fmla="*/ 159 w 2027"/>
                  <a:gd name="T27" fmla="*/ 921 h 1293"/>
                  <a:gd name="T28" fmla="*/ 239 w 2027"/>
                  <a:gd name="T29" fmla="*/ 876 h 1293"/>
                  <a:gd name="T30" fmla="*/ 297 w 2027"/>
                  <a:gd name="T31" fmla="*/ 1119 h 1293"/>
                  <a:gd name="T32" fmla="*/ 334 w 2027"/>
                  <a:gd name="T33" fmla="*/ 1131 h 1293"/>
                  <a:gd name="T34" fmla="*/ 341 w 2027"/>
                  <a:gd name="T35" fmla="*/ 1205 h 1293"/>
                  <a:gd name="T36" fmla="*/ 372 w 2027"/>
                  <a:gd name="T37" fmla="*/ 1236 h 1293"/>
                  <a:gd name="T38" fmla="*/ 395 w 2027"/>
                  <a:gd name="T39" fmla="*/ 1209 h 1293"/>
                  <a:gd name="T40" fmla="*/ 449 w 2027"/>
                  <a:gd name="T41" fmla="*/ 1233 h 1293"/>
                  <a:gd name="T42" fmla="*/ 482 w 2027"/>
                  <a:gd name="T43" fmla="*/ 1207 h 1293"/>
                  <a:gd name="T44" fmla="*/ 590 w 2027"/>
                  <a:gd name="T45" fmla="*/ 1228 h 1293"/>
                  <a:gd name="T46" fmla="*/ 616 w 2027"/>
                  <a:gd name="T47" fmla="*/ 1234 h 1293"/>
                  <a:gd name="T48" fmla="*/ 640 w 2027"/>
                  <a:gd name="T49" fmla="*/ 1185 h 1293"/>
                  <a:gd name="T50" fmla="*/ 686 w 2027"/>
                  <a:gd name="T51" fmla="*/ 1263 h 1293"/>
                  <a:gd name="T52" fmla="*/ 708 w 2027"/>
                  <a:gd name="T53" fmla="*/ 1139 h 1293"/>
                  <a:gd name="T54" fmla="*/ 1259 w 2027"/>
                  <a:gd name="T55" fmla="*/ 1221 h 1293"/>
                  <a:gd name="T56" fmla="*/ 1937 w 2027"/>
                  <a:gd name="T57" fmla="*/ 1293 h 1293"/>
                  <a:gd name="T58" fmla="*/ 1960 w 2027"/>
                  <a:gd name="T59" fmla="*/ 1060 h 1293"/>
                  <a:gd name="T60" fmla="*/ 2027 w 2027"/>
                  <a:gd name="T61" fmla="*/ 303 h 1293"/>
                  <a:gd name="T62" fmla="*/ 1130 w 2027"/>
                  <a:gd name="T63" fmla="*/ 198 h 1293"/>
                  <a:gd name="T64" fmla="*/ 682 w 2027"/>
                  <a:gd name="T65" fmla="*/ 124 h 1293"/>
                  <a:gd name="T66" fmla="*/ 53 w 2027"/>
                  <a:gd name="T67" fmla="*/ 0 h 1293"/>
                  <a:gd name="T68" fmla="*/ 0 w 2027"/>
                  <a:gd name="T69" fmla="*/ 241 h 129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027"/>
                  <a:gd name="T106" fmla="*/ 0 h 1293"/>
                  <a:gd name="T107" fmla="*/ 2027 w 2027"/>
                  <a:gd name="T108" fmla="*/ 1293 h 129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027" h="1293">
                    <a:moveTo>
                      <a:pt x="0" y="241"/>
                    </a:moveTo>
                    <a:lnTo>
                      <a:pt x="35" y="328"/>
                    </a:lnTo>
                    <a:lnTo>
                      <a:pt x="39" y="382"/>
                    </a:lnTo>
                    <a:lnTo>
                      <a:pt x="20" y="390"/>
                    </a:lnTo>
                    <a:lnTo>
                      <a:pt x="81" y="449"/>
                    </a:lnTo>
                    <a:lnTo>
                      <a:pt x="143" y="603"/>
                    </a:lnTo>
                    <a:lnTo>
                      <a:pt x="165" y="597"/>
                    </a:lnTo>
                    <a:lnTo>
                      <a:pt x="167" y="619"/>
                    </a:lnTo>
                    <a:lnTo>
                      <a:pt x="197" y="628"/>
                    </a:lnTo>
                    <a:lnTo>
                      <a:pt x="219" y="631"/>
                    </a:lnTo>
                    <a:lnTo>
                      <a:pt x="164" y="743"/>
                    </a:lnTo>
                    <a:lnTo>
                      <a:pt x="173" y="817"/>
                    </a:lnTo>
                    <a:lnTo>
                      <a:pt x="128" y="889"/>
                    </a:lnTo>
                    <a:lnTo>
                      <a:pt x="159" y="921"/>
                    </a:lnTo>
                    <a:lnTo>
                      <a:pt x="239" y="876"/>
                    </a:lnTo>
                    <a:lnTo>
                      <a:pt x="297" y="1119"/>
                    </a:lnTo>
                    <a:lnTo>
                      <a:pt x="334" y="1131"/>
                    </a:lnTo>
                    <a:lnTo>
                      <a:pt x="341" y="1205"/>
                    </a:lnTo>
                    <a:lnTo>
                      <a:pt x="372" y="1236"/>
                    </a:lnTo>
                    <a:lnTo>
                      <a:pt x="395" y="1209"/>
                    </a:lnTo>
                    <a:lnTo>
                      <a:pt x="449" y="1233"/>
                    </a:lnTo>
                    <a:lnTo>
                      <a:pt x="482" y="1207"/>
                    </a:lnTo>
                    <a:lnTo>
                      <a:pt x="590" y="1228"/>
                    </a:lnTo>
                    <a:lnTo>
                      <a:pt x="616" y="1234"/>
                    </a:lnTo>
                    <a:lnTo>
                      <a:pt x="640" y="1185"/>
                    </a:lnTo>
                    <a:lnTo>
                      <a:pt x="686" y="1263"/>
                    </a:lnTo>
                    <a:lnTo>
                      <a:pt x="708" y="1139"/>
                    </a:lnTo>
                    <a:lnTo>
                      <a:pt x="1259" y="1221"/>
                    </a:lnTo>
                    <a:lnTo>
                      <a:pt x="1937" y="1293"/>
                    </a:lnTo>
                    <a:lnTo>
                      <a:pt x="1960" y="1060"/>
                    </a:lnTo>
                    <a:lnTo>
                      <a:pt x="2027" y="303"/>
                    </a:lnTo>
                    <a:lnTo>
                      <a:pt x="1130" y="198"/>
                    </a:lnTo>
                    <a:lnTo>
                      <a:pt x="682" y="124"/>
                    </a:lnTo>
                    <a:lnTo>
                      <a:pt x="53" y="0"/>
                    </a:lnTo>
                    <a:lnTo>
                      <a:pt x="0" y="241"/>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03" name="Freeform 65"/>
              <p:cNvSpPr>
                <a:spLocks/>
              </p:cNvSpPr>
              <p:nvPr/>
            </p:nvSpPr>
            <p:spPr bwMode="gray">
              <a:xfrm>
                <a:off x="2410552" y="2152211"/>
                <a:ext cx="797133" cy="400515"/>
              </a:xfrm>
              <a:custGeom>
                <a:avLst/>
                <a:gdLst>
                  <a:gd name="T0" fmla="*/ 0 w 1638"/>
                  <a:gd name="T1" fmla="*/ 500 h 821"/>
                  <a:gd name="T2" fmla="*/ 46 w 1638"/>
                  <a:gd name="T3" fmla="*/ 0 h 821"/>
                  <a:gd name="T4" fmla="*/ 1055 w 1638"/>
                  <a:gd name="T5" fmla="*/ 62 h 821"/>
                  <a:gd name="T6" fmla="*/ 1124 w 1638"/>
                  <a:gd name="T7" fmla="*/ 113 h 821"/>
                  <a:gd name="T8" fmla="*/ 1244 w 1638"/>
                  <a:gd name="T9" fmla="*/ 108 h 821"/>
                  <a:gd name="T10" fmla="*/ 1301 w 1638"/>
                  <a:gd name="T11" fmla="*/ 121 h 821"/>
                  <a:gd name="T12" fmla="*/ 1368 w 1638"/>
                  <a:gd name="T13" fmla="*/ 151 h 821"/>
                  <a:gd name="T14" fmla="*/ 1403 w 1638"/>
                  <a:gd name="T15" fmla="*/ 193 h 821"/>
                  <a:gd name="T16" fmla="*/ 1433 w 1638"/>
                  <a:gd name="T17" fmla="*/ 203 h 821"/>
                  <a:gd name="T18" fmla="*/ 1489 w 1638"/>
                  <a:gd name="T19" fmla="*/ 358 h 821"/>
                  <a:gd name="T20" fmla="*/ 1490 w 1638"/>
                  <a:gd name="T21" fmla="*/ 406 h 821"/>
                  <a:gd name="T22" fmla="*/ 1527 w 1638"/>
                  <a:gd name="T23" fmla="*/ 478 h 821"/>
                  <a:gd name="T24" fmla="*/ 1545 w 1638"/>
                  <a:gd name="T25" fmla="*/ 597 h 821"/>
                  <a:gd name="T26" fmla="*/ 1536 w 1638"/>
                  <a:gd name="T27" fmla="*/ 633 h 821"/>
                  <a:gd name="T28" fmla="*/ 1559 w 1638"/>
                  <a:gd name="T29" fmla="*/ 672 h 821"/>
                  <a:gd name="T30" fmla="*/ 1638 w 1638"/>
                  <a:gd name="T31" fmla="*/ 821 h 821"/>
                  <a:gd name="T32" fmla="*/ 909 w 1638"/>
                  <a:gd name="T33" fmla="*/ 812 h 821"/>
                  <a:gd name="T34" fmla="*/ 359 w 1638"/>
                  <a:gd name="T35" fmla="*/ 780 h 821"/>
                  <a:gd name="T36" fmla="*/ 375 w 1638"/>
                  <a:gd name="T37" fmla="*/ 531 h 821"/>
                  <a:gd name="T38" fmla="*/ 0 w 1638"/>
                  <a:gd name="T39" fmla="*/ 500 h 82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638"/>
                  <a:gd name="T61" fmla="*/ 0 h 821"/>
                  <a:gd name="T62" fmla="*/ 1638 w 1638"/>
                  <a:gd name="T63" fmla="*/ 821 h 82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638" h="821">
                    <a:moveTo>
                      <a:pt x="0" y="500"/>
                    </a:moveTo>
                    <a:lnTo>
                      <a:pt x="46" y="0"/>
                    </a:lnTo>
                    <a:lnTo>
                      <a:pt x="1055" y="62"/>
                    </a:lnTo>
                    <a:lnTo>
                      <a:pt x="1124" y="113"/>
                    </a:lnTo>
                    <a:lnTo>
                      <a:pt x="1244" y="108"/>
                    </a:lnTo>
                    <a:lnTo>
                      <a:pt x="1301" y="121"/>
                    </a:lnTo>
                    <a:lnTo>
                      <a:pt x="1368" y="151"/>
                    </a:lnTo>
                    <a:lnTo>
                      <a:pt x="1403" y="193"/>
                    </a:lnTo>
                    <a:lnTo>
                      <a:pt x="1433" y="203"/>
                    </a:lnTo>
                    <a:lnTo>
                      <a:pt x="1489" y="358"/>
                    </a:lnTo>
                    <a:lnTo>
                      <a:pt x="1490" y="406"/>
                    </a:lnTo>
                    <a:lnTo>
                      <a:pt x="1527" y="478"/>
                    </a:lnTo>
                    <a:lnTo>
                      <a:pt x="1545" y="597"/>
                    </a:lnTo>
                    <a:lnTo>
                      <a:pt x="1536" y="633"/>
                    </a:lnTo>
                    <a:lnTo>
                      <a:pt x="1559" y="672"/>
                    </a:lnTo>
                    <a:lnTo>
                      <a:pt x="1638" y="821"/>
                    </a:lnTo>
                    <a:lnTo>
                      <a:pt x="909" y="812"/>
                    </a:lnTo>
                    <a:lnTo>
                      <a:pt x="359" y="780"/>
                    </a:lnTo>
                    <a:lnTo>
                      <a:pt x="375" y="531"/>
                    </a:lnTo>
                    <a:lnTo>
                      <a:pt x="0" y="500"/>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04" name="Freeform 66"/>
              <p:cNvSpPr>
                <a:spLocks/>
              </p:cNvSpPr>
              <p:nvPr/>
            </p:nvSpPr>
            <p:spPr bwMode="gray">
              <a:xfrm>
                <a:off x="915683" y="2024553"/>
                <a:ext cx="614903" cy="952077"/>
              </a:xfrm>
              <a:custGeom>
                <a:avLst/>
                <a:gdLst>
                  <a:gd name="T0" fmla="*/ 0 w 1262"/>
                  <a:gd name="T1" fmla="*/ 717 h 1953"/>
                  <a:gd name="T2" fmla="*/ 58 w 1262"/>
                  <a:gd name="T3" fmla="*/ 831 h 1953"/>
                  <a:gd name="T4" fmla="*/ 802 w 1262"/>
                  <a:gd name="T5" fmla="*/ 1953 h 1953"/>
                  <a:gd name="T6" fmla="*/ 832 w 1262"/>
                  <a:gd name="T7" fmla="*/ 1692 h 1953"/>
                  <a:gd name="T8" fmla="*/ 877 w 1262"/>
                  <a:gd name="T9" fmla="*/ 1677 h 1953"/>
                  <a:gd name="T10" fmla="*/ 952 w 1262"/>
                  <a:gd name="T11" fmla="*/ 1722 h 1953"/>
                  <a:gd name="T12" fmla="*/ 1018 w 1262"/>
                  <a:gd name="T13" fmla="*/ 1489 h 1953"/>
                  <a:gd name="T14" fmla="*/ 1262 w 1262"/>
                  <a:gd name="T15" fmla="*/ 251 h 1953"/>
                  <a:gd name="T16" fmla="*/ 723 w 1262"/>
                  <a:gd name="T17" fmla="*/ 134 h 1953"/>
                  <a:gd name="T18" fmla="*/ 188 w 1262"/>
                  <a:gd name="T19" fmla="*/ 0 h 1953"/>
                  <a:gd name="T20" fmla="*/ 0 w 1262"/>
                  <a:gd name="T21" fmla="*/ 717 h 195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62"/>
                  <a:gd name="T34" fmla="*/ 0 h 1953"/>
                  <a:gd name="T35" fmla="*/ 1262 w 1262"/>
                  <a:gd name="T36" fmla="*/ 1953 h 195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62" h="1953">
                    <a:moveTo>
                      <a:pt x="0" y="717"/>
                    </a:moveTo>
                    <a:lnTo>
                      <a:pt x="58" y="831"/>
                    </a:lnTo>
                    <a:lnTo>
                      <a:pt x="802" y="1953"/>
                    </a:lnTo>
                    <a:lnTo>
                      <a:pt x="832" y="1692"/>
                    </a:lnTo>
                    <a:lnTo>
                      <a:pt x="877" y="1677"/>
                    </a:lnTo>
                    <a:lnTo>
                      <a:pt x="952" y="1722"/>
                    </a:lnTo>
                    <a:lnTo>
                      <a:pt x="1018" y="1489"/>
                    </a:lnTo>
                    <a:lnTo>
                      <a:pt x="1262" y="251"/>
                    </a:lnTo>
                    <a:lnTo>
                      <a:pt x="723" y="134"/>
                    </a:lnTo>
                    <a:lnTo>
                      <a:pt x="188" y="0"/>
                    </a:lnTo>
                    <a:lnTo>
                      <a:pt x="0" y="717"/>
                    </a:lnTo>
                    <a:close/>
                  </a:path>
                </a:pathLst>
              </a:custGeom>
              <a:solidFill>
                <a:schemeClr val="accent4">
                  <a:lumMod val="40000"/>
                  <a:lumOff val="60000"/>
                </a:schemeClr>
              </a:solidFill>
              <a:ln w="9525">
                <a:solidFill>
                  <a:schemeClr val="tx1"/>
                </a:solidFill>
                <a:round/>
                <a:headEnd/>
                <a:tailEnd/>
              </a:ln>
            </p:spPr>
            <p:txBody>
              <a:bodyPr/>
              <a:lstStyle/>
              <a:p>
                <a:pPr>
                  <a:defRPr/>
                </a:pPr>
                <a:endParaRPr lang="en-US" sz="1100" dirty="0">
                  <a:latin typeface="+mj-lt"/>
                </a:endParaRPr>
              </a:p>
            </p:txBody>
          </p:sp>
          <p:sp>
            <p:nvSpPr>
              <p:cNvPr id="105" name="Freeform 67"/>
              <p:cNvSpPr>
                <a:spLocks/>
              </p:cNvSpPr>
              <p:nvPr/>
            </p:nvSpPr>
            <p:spPr bwMode="gray">
              <a:xfrm>
                <a:off x="5213186" y="1635731"/>
                <a:ext cx="155918" cy="337174"/>
              </a:xfrm>
              <a:custGeom>
                <a:avLst/>
                <a:gdLst>
                  <a:gd name="T0" fmla="*/ 0 w 322"/>
                  <a:gd name="T1" fmla="*/ 475 h 691"/>
                  <a:gd name="T2" fmla="*/ 18 w 322"/>
                  <a:gd name="T3" fmla="*/ 322 h 691"/>
                  <a:gd name="T4" fmla="*/ 54 w 322"/>
                  <a:gd name="T5" fmla="*/ 251 h 691"/>
                  <a:gd name="T6" fmla="*/ 58 w 322"/>
                  <a:gd name="T7" fmla="*/ 92 h 691"/>
                  <a:gd name="T8" fmla="*/ 57 w 322"/>
                  <a:gd name="T9" fmla="*/ 32 h 691"/>
                  <a:gd name="T10" fmla="*/ 114 w 322"/>
                  <a:gd name="T11" fmla="*/ 0 h 691"/>
                  <a:gd name="T12" fmla="*/ 248 w 322"/>
                  <a:gd name="T13" fmla="*/ 431 h 691"/>
                  <a:gd name="T14" fmla="*/ 316 w 322"/>
                  <a:gd name="T15" fmla="*/ 526 h 691"/>
                  <a:gd name="T16" fmla="*/ 322 w 322"/>
                  <a:gd name="T17" fmla="*/ 544 h 691"/>
                  <a:gd name="T18" fmla="*/ 312 w 322"/>
                  <a:gd name="T19" fmla="*/ 585 h 691"/>
                  <a:gd name="T20" fmla="*/ 249 w 322"/>
                  <a:gd name="T21" fmla="*/ 634 h 691"/>
                  <a:gd name="T22" fmla="*/ 30 w 322"/>
                  <a:gd name="T23" fmla="*/ 691 h 691"/>
                  <a:gd name="T24" fmla="*/ 0 w 322"/>
                  <a:gd name="T25" fmla="*/ 475 h 69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22"/>
                  <a:gd name="T40" fmla="*/ 0 h 691"/>
                  <a:gd name="T41" fmla="*/ 322 w 322"/>
                  <a:gd name="T42" fmla="*/ 691 h 69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22" h="691">
                    <a:moveTo>
                      <a:pt x="0" y="475"/>
                    </a:moveTo>
                    <a:lnTo>
                      <a:pt x="18" y="322"/>
                    </a:lnTo>
                    <a:lnTo>
                      <a:pt x="54" y="251"/>
                    </a:lnTo>
                    <a:lnTo>
                      <a:pt x="58" y="92"/>
                    </a:lnTo>
                    <a:lnTo>
                      <a:pt x="57" y="32"/>
                    </a:lnTo>
                    <a:lnTo>
                      <a:pt x="114" y="0"/>
                    </a:lnTo>
                    <a:lnTo>
                      <a:pt x="248" y="431"/>
                    </a:lnTo>
                    <a:lnTo>
                      <a:pt x="316" y="526"/>
                    </a:lnTo>
                    <a:lnTo>
                      <a:pt x="322" y="544"/>
                    </a:lnTo>
                    <a:lnTo>
                      <a:pt x="312" y="585"/>
                    </a:lnTo>
                    <a:lnTo>
                      <a:pt x="249" y="634"/>
                    </a:lnTo>
                    <a:lnTo>
                      <a:pt x="30" y="691"/>
                    </a:lnTo>
                    <a:lnTo>
                      <a:pt x="0" y="475"/>
                    </a:lnTo>
                    <a:close/>
                  </a:path>
                </a:pathLst>
              </a:custGeom>
              <a:grpFill/>
              <a:ln w="9525">
                <a:solidFill>
                  <a:schemeClr val="tx1"/>
                </a:solidFill>
                <a:round/>
                <a:headEnd/>
                <a:tailEnd/>
              </a:ln>
            </p:spPr>
            <p:txBody>
              <a:bodyPr/>
              <a:lstStyle/>
              <a:p>
                <a:pPr>
                  <a:defRPr/>
                </a:pPr>
                <a:endParaRPr lang="en-US" sz="1100" dirty="0">
                  <a:solidFill>
                    <a:srgbClr val="FF0000"/>
                  </a:solidFill>
                  <a:latin typeface="+mj-lt"/>
                </a:endParaRPr>
              </a:p>
            </p:txBody>
          </p:sp>
          <p:sp>
            <p:nvSpPr>
              <p:cNvPr id="106" name="Freeform 68"/>
              <p:cNvSpPr>
                <a:spLocks/>
              </p:cNvSpPr>
              <p:nvPr/>
            </p:nvSpPr>
            <p:spPr bwMode="gray">
              <a:xfrm>
                <a:off x="5039727" y="2181446"/>
                <a:ext cx="127658" cy="295270"/>
              </a:xfrm>
              <a:custGeom>
                <a:avLst/>
                <a:gdLst>
                  <a:gd name="T0" fmla="*/ 0 w 262"/>
                  <a:gd name="T1" fmla="*/ 448 h 606"/>
                  <a:gd name="T2" fmla="*/ 14 w 262"/>
                  <a:gd name="T3" fmla="*/ 412 h 606"/>
                  <a:gd name="T4" fmla="*/ 59 w 262"/>
                  <a:gd name="T5" fmla="*/ 381 h 606"/>
                  <a:gd name="T6" fmla="*/ 82 w 262"/>
                  <a:gd name="T7" fmla="*/ 332 h 606"/>
                  <a:gd name="T8" fmla="*/ 121 w 262"/>
                  <a:gd name="T9" fmla="*/ 295 h 606"/>
                  <a:gd name="T10" fmla="*/ 9 w 262"/>
                  <a:gd name="T11" fmla="*/ 203 h 606"/>
                  <a:gd name="T12" fmla="*/ 6 w 262"/>
                  <a:gd name="T13" fmla="*/ 116 h 606"/>
                  <a:gd name="T14" fmla="*/ 58 w 262"/>
                  <a:gd name="T15" fmla="*/ 0 h 606"/>
                  <a:gd name="T16" fmla="*/ 228 w 262"/>
                  <a:gd name="T17" fmla="*/ 57 h 606"/>
                  <a:gd name="T18" fmla="*/ 230 w 262"/>
                  <a:gd name="T19" fmla="*/ 80 h 606"/>
                  <a:gd name="T20" fmla="*/ 211 w 262"/>
                  <a:gd name="T21" fmla="*/ 146 h 606"/>
                  <a:gd name="T22" fmla="*/ 191 w 262"/>
                  <a:gd name="T23" fmla="*/ 164 h 606"/>
                  <a:gd name="T24" fmla="*/ 188 w 262"/>
                  <a:gd name="T25" fmla="*/ 197 h 606"/>
                  <a:gd name="T26" fmla="*/ 206 w 262"/>
                  <a:gd name="T27" fmla="*/ 207 h 606"/>
                  <a:gd name="T28" fmla="*/ 224 w 262"/>
                  <a:gd name="T29" fmla="*/ 203 h 606"/>
                  <a:gd name="T30" fmla="*/ 242 w 262"/>
                  <a:gd name="T31" fmla="*/ 205 h 606"/>
                  <a:gd name="T32" fmla="*/ 238 w 262"/>
                  <a:gd name="T33" fmla="*/ 191 h 606"/>
                  <a:gd name="T34" fmla="*/ 247 w 262"/>
                  <a:gd name="T35" fmla="*/ 197 h 606"/>
                  <a:gd name="T36" fmla="*/ 260 w 262"/>
                  <a:gd name="T37" fmla="*/ 237 h 606"/>
                  <a:gd name="T38" fmla="*/ 262 w 262"/>
                  <a:gd name="T39" fmla="*/ 364 h 606"/>
                  <a:gd name="T40" fmla="*/ 258 w 262"/>
                  <a:gd name="T41" fmla="*/ 331 h 606"/>
                  <a:gd name="T42" fmla="*/ 248 w 262"/>
                  <a:gd name="T43" fmla="*/ 301 h 606"/>
                  <a:gd name="T44" fmla="*/ 245 w 262"/>
                  <a:gd name="T45" fmla="*/ 319 h 606"/>
                  <a:gd name="T46" fmla="*/ 251 w 262"/>
                  <a:gd name="T47" fmla="*/ 347 h 606"/>
                  <a:gd name="T48" fmla="*/ 245 w 262"/>
                  <a:gd name="T49" fmla="*/ 364 h 606"/>
                  <a:gd name="T50" fmla="*/ 248 w 262"/>
                  <a:gd name="T51" fmla="*/ 398 h 606"/>
                  <a:gd name="T52" fmla="*/ 234 w 262"/>
                  <a:gd name="T53" fmla="*/ 433 h 606"/>
                  <a:gd name="T54" fmla="*/ 218 w 262"/>
                  <a:gd name="T55" fmla="*/ 435 h 606"/>
                  <a:gd name="T56" fmla="*/ 224 w 262"/>
                  <a:gd name="T57" fmla="*/ 464 h 606"/>
                  <a:gd name="T58" fmla="*/ 198 w 262"/>
                  <a:gd name="T59" fmla="*/ 507 h 606"/>
                  <a:gd name="T60" fmla="*/ 163 w 262"/>
                  <a:gd name="T61" fmla="*/ 605 h 606"/>
                  <a:gd name="T62" fmla="*/ 145 w 262"/>
                  <a:gd name="T63" fmla="*/ 606 h 606"/>
                  <a:gd name="T64" fmla="*/ 151 w 262"/>
                  <a:gd name="T65" fmla="*/ 567 h 606"/>
                  <a:gd name="T66" fmla="*/ 140 w 262"/>
                  <a:gd name="T67" fmla="*/ 549 h 606"/>
                  <a:gd name="T68" fmla="*/ 97 w 262"/>
                  <a:gd name="T69" fmla="*/ 553 h 606"/>
                  <a:gd name="T70" fmla="*/ 33 w 262"/>
                  <a:gd name="T71" fmla="*/ 513 h 606"/>
                  <a:gd name="T72" fmla="*/ 11 w 262"/>
                  <a:gd name="T73" fmla="*/ 496 h 606"/>
                  <a:gd name="T74" fmla="*/ 0 w 262"/>
                  <a:gd name="T75" fmla="*/ 448 h 60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62"/>
                  <a:gd name="T115" fmla="*/ 0 h 606"/>
                  <a:gd name="T116" fmla="*/ 262 w 262"/>
                  <a:gd name="T117" fmla="*/ 606 h 60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62" h="606">
                    <a:moveTo>
                      <a:pt x="0" y="448"/>
                    </a:moveTo>
                    <a:lnTo>
                      <a:pt x="14" y="412"/>
                    </a:lnTo>
                    <a:lnTo>
                      <a:pt x="59" y="381"/>
                    </a:lnTo>
                    <a:lnTo>
                      <a:pt x="82" y="332"/>
                    </a:lnTo>
                    <a:lnTo>
                      <a:pt x="121" y="295"/>
                    </a:lnTo>
                    <a:lnTo>
                      <a:pt x="9" y="203"/>
                    </a:lnTo>
                    <a:lnTo>
                      <a:pt x="6" y="116"/>
                    </a:lnTo>
                    <a:lnTo>
                      <a:pt x="58" y="0"/>
                    </a:lnTo>
                    <a:lnTo>
                      <a:pt x="228" y="57"/>
                    </a:lnTo>
                    <a:lnTo>
                      <a:pt x="230" y="80"/>
                    </a:lnTo>
                    <a:lnTo>
                      <a:pt x="211" y="146"/>
                    </a:lnTo>
                    <a:lnTo>
                      <a:pt x="191" y="164"/>
                    </a:lnTo>
                    <a:lnTo>
                      <a:pt x="188" y="197"/>
                    </a:lnTo>
                    <a:lnTo>
                      <a:pt x="206" y="207"/>
                    </a:lnTo>
                    <a:lnTo>
                      <a:pt x="224" y="203"/>
                    </a:lnTo>
                    <a:lnTo>
                      <a:pt x="242" y="205"/>
                    </a:lnTo>
                    <a:lnTo>
                      <a:pt x="238" y="191"/>
                    </a:lnTo>
                    <a:lnTo>
                      <a:pt x="247" y="197"/>
                    </a:lnTo>
                    <a:lnTo>
                      <a:pt x="260" y="237"/>
                    </a:lnTo>
                    <a:lnTo>
                      <a:pt x="262" y="364"/>
                    </a:lnTo>
                    <a:lnTo>
                      <a:pt x="258" y="331"/>
                    </a:lnTo>
                    <a:lnTo>
                      <a:pt x="248" y="301"/>
                    </a:lnTo>
                    <a:lnTo>
                      <a:pt x="245" y="319"/>
                    </a:lnTo>
                    <a:lnTo>
                      <a:pt x="251" y="347"/>
                    </a:lnTo>
                    <a:lnTo>
                      <a:pt x="245" y="364"/>
                    </a:lnTo>
                    <a:lnTo>
                      <a:pt x="248" y="398"/>
                    </a:lnTo>
                    <a:lnTo>
                      <a:pt x="234" y="433"/>
                    </a:lnTo>
                    <a:lnTo>
                      <a:pt x="218" y="435"/>
                    </a:lnTo>
                    <a:lnTo>
                      <a:pt x="224" y="464"/>
                    </a:lnTo>
                    <a:lnTo>
                      <a:pt x="198" y="507"/>
                    </a:lnTo>
                    <a:lnTo>
                      <a:pt x="163" y="605"/>
                    </a:lnTo>
                    <a:lnTo>
                      <a:pt x="145" y="606"/>
                    </a:lnTo>
                    <a:lnTo>
                      <a:pt x="151" y="567"/>
                    </a:lnTo>
                    <a:lnTo>
                      <a:pt x="140" y="549"/>
                    </a:lnTo>
                    <a:lnTo>
                      <a:pt x="97" y="553"/>
                    </a:lnTo>
                    <a:lnTo>
                      <a:pt x="33" y="513"/>
                    </a:lnTo>
                    <a:lnTo>
                      <a:pt x="11" y="496"/>
                    </a:lnTo>
                    <a:lnTo>
                      <a:pt x="0" y="448"/>
                    </a:lnTo>
                    <a:close/>
                  </a:path>
                </a:pathLst>
              </a:custGeom>
              <a:pattFill prst="wdUpDiag">
                <a:fgClr>
                  <a:schemeClr val="accent1">
                    <a:lumMod val="40000"/>
                    <a:lumOff val="60000"/>
                  </a:schemeClr>
                </a:fgClr>
                <a:bgClr>
                  <a:schemeClr val="accent6">
                    <a:lumMod val="40000"/>
                    <a:lumOff val="60000"/>
                  </a:schemeClr>
                </a:bgClr>
              </a:pattFill>
              <a:ln w="9525">
                <a:solidFill>
                  <a:schemeClr val="tx1"/>
                </a:solidFill>
                <a:round/>
                <a:headEnd/>
                <a:tailEnd/>
              </a:ln>
            </p:spPr>
            <p:txBody>
              <a:bodyPr/>
              <a:lstStyle/>
              <a:p>
                <a:pPr>
                  <a:defRPr/>
                </a:pPr>
                <a:endParaRPr lang="en-US" sz="1100" dirty="0">
                  <a:latin typeface="+mj-lt"/>
                </a:endParaRPr>
              </a:p>
            </p:txBody>
          </p:sp>
          <p:sp>
            <p:nvSpPr>
              <p:cNvPr id="107" name="Freeform 69"/>
              <p:cNvSpPr>
                <a:spLocks/>
              </p:cNvSpPr>
              <p:nvPr/>
            </p:nvSpPr>
            <p:spPr bwMode="gray">
              <a:xfrm>
                <a:off x="1788827" y="2831431"/>
                <a:ext cx="679220" cy="695786"/>
              </a:xfrm>
              <a:custGeom>
                <a:avLst/>
                <a:gdLst>
                  <a:gd name="T0" fmla="*/ 0 w 1396"/>
                  <a:gd name="T1" fmla="*/ 1402 h 1427"/>
                  <a:gd name="T2" fmla="*/ 174 w 1396"/>
                  <a:gd name="T3" fmla="*/ 1427 h 1427"/>
                  <a:gd name="T4" fmla="*/ 191 w 1396"/>
                  <a:gd name="T5" fmla="*/ 1319 h 1427"/>
                  <a:gd name="T6" fmla="*/ 544 w 1396"/>
                  <a:gd name="T7" fmla="*/ 1364 h 1427"/>
                  <a:gd name="T8" fmla="*/ 528 w 1396"/>
                  <a:gd name="T9" fmla="*/ 1312 h 1427"/>
                  <a:gd name="T10" fmla="*/ 583 w 1396"/>
                  <a:gd name="T11" fmla="*/ 1317 h 1427"/>
                  <a:gd name="T12" fmla="*/ 1281 w 1396"/>
                  <a:gd name="T13" fmla="*/ 1384 h 1427"/>
                  <a:gd name="T14" fmla="*/ 1385 w 1396"/>
                  <a:gd name="T15" fmla="*/ 261 h 1427"/>
                  <a:gd name="T16" fmla="*/ 1396 w 1396"/>
                  <a:gd name="T17" fmla="*/ 130 h 1427"/>
                  <a:gd name="T18" fmla="*/ 802 w 1396"/>
                  <a:gd name="T19" fmla="*/ 78 h 1427"/>
                  <a:gd name="T20" fmla="*/ 206 w 1396"/>
                  <a:gd name="T21" fmla="*/ 0 h 1427"/>
                  <a:gd name="T22" fmla="*/ 0 w 1396"/>
                  <a:gd name="T23" fmla="*/ 1402 h 14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396"/>
                  <a:gd name="T37" fmla="*/ 0 h 1427"/>
                  <a:gd name="T38" fmla="*/ 1396 w 1396"/>
                  <a:gd name="T39" fmla="*/ 1427 h 142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396" h="1427">
                    <a:moveTo>
                      <a:pt x="0" y="1402"/>
                    </a:moveTo>
                    <a:lnTo>
                      <a:pt x="174" y="1427"/>
                    </a:lnTo>
                    <a:lnTo>
                      <a:pt x="191" y="1319"/>
                    </a:lnTo>
                    <a:lnTo>
                      <a:pt x="544" y="1364"/>
                    </a:lnTo>
                    <a:lnTo>
                      <a:pt x="528" y="1312"/>
                    </a:lnTo>
                    <a:lnTo>
                      <a:pt x="583" y="1317"/>
                    </a:lnTo>
                    <a:lnTo>
                      <a:pt x="1281" y="1384"/>
                    </a:lnTo>
                    <a:lnTo>
                      <a:pt x="1385" y="261"/>
                    </a:lnTo>
                    <a:lnTo>
                      <a:pt x="1396" y="130"/>
                    </a:lnTo>
                    <a:lnTo>
                      <a:pt x="802" y="78"/>
                    </a:lnTo>
                    <a:lnTo>
                      <a:pt x="206" y="0"/>
                    </a:lnTo>
                    <a:lnTo>
                      <a:pt x="0" y="1402"/>
                    </a:lnTo>
                    <a:close/>
                  </a:path>
                </a:pathLst>
              </a:custGeom>
              <a:pattFill prst="wdUpDiag">
                <a:fgClr>
                  <a:schemeClr val="accent1">
                    <a:lumMod val="40000"/>
                    <a:lumOff val="60000"/>
                  </a:schemeClr>
                </a:fgClr>
                <a:bgClr>
                  <a:schemeClr val="accent3">
                    <a:lumMod val="40000"/>
                    <a:lumOff val="60000"/>
                  </a:schemeClr>
                </a:bgClr>
              </a:pattFill>
              <a:ln w="9525">
                <a:solidFill>
                  <a:schemeClr val="tx1"/>
                </a:solidFill>
                <a:round/>
                <a:headEnd/>
                <a:tailEnd/>
              </a:ln>
            </p:spPr>
            <p:txBody>
              <a:bodyPr/>
              <a:lstStyle/>
              <a:p>
                <a:pPr>
                  <a:defRPr/>
                </a:pPr>
                <a:endParaRPr lang="en-US" sz="1100" dirty="0">
                  <a:latin typeface="+mj-lt"/>
                </a:endParaRPr>
              </a:p>
            </p:txBody>
          </p:sp>
          <p:sp>
            <p:nvSpPr>
              <p:cNvPr id="108" name="Freeform 71"/>
              <p:cNvSpPr>
                <a:spLocks/>
              </p:cNvSpPr>
              <p:nvPr/>
            </p:nvSpPr>
            <p:spPr bwMode="gray">
              <a:xfrm>
                <a:off x="5131329" y="2253558"/>
                <a:ext cx="16566" cy="24362"/>
              </a:xfrm>
              <a:custGeom>
                <a:avLst/>
                <a:gdLst>
                  <a:gd name="T0" fmla="*/ 0 w 33"/>
                  <a:gd name="T1" fmla="*/ 51 h 51"/>
                  <a:gd name="T2" fmla="*/ 3 w 33"/>
                  <a:gd name="T3" fmla="*/ 18 h 51"/>
                  <a:gd name="T4" fmla="*/ 23 w 33"/>
                  <a:gd name="T5" fmla="*/ 0 h 51"/>
                  <a:gd name="T6" fmla="*/ 33 w 33"/>
                  <a:gd name="T7" fmla="*/ 11 h 51"/>
                  <a:gd name="T8" fmla="*/ 15 w 33"/>
                  <a:gd name="T9" fmla="*/ 42 h 51"/>
                  <a:gd name="T10" fmla="*/ 0 w 33"/>
                  <a:gd name="T11" fmla="*/ 51 h 51"/>
                  <a:gd name="T12" fmla="*/ 0 60000 65536"/>
                  <a:gd name="T13" fmla="*/ 0 60000 65536"/>
                  <a:gd name="T14" fmla="*/ 0 60000 65536"/>
                  <a:gd name="T15" fmla="*/ 0 60000 65536"/>
                  <a:gd name="T16" fmla="*/ 0 60000 65536"/>
                  <a:gd name="T17" fmla="*/ 0 60000 65536"/>
                  <a:gd name="T18" fmla="*/ 0 w 33"/>
                  <a:gd name="T19" fmla="*/ 0 h 51"/>
                  <a:gd name="T20" fmla="*/ 33 w 33"/>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33" h="51">
                    <a:moveTo>
                      <a:pt x="0" y="51"/>
                    </a:moveTo>
                    <a:lnTo>
                      <a:pt x="3" y="18"/>
                    </a:lnTo>
                    <a:lnTo>
                      <a:pt x="23" y="0"/>
                    </a:lnTo>
                    <a:lnTo>
                      <a:pt x="33" y="11"/>
                    </a:lnTo>
                    <a:lnTo>
                      <a:pt x="15" y="42"/>
                    </a:lnTo>
                    <a:lnTo>
                      <a:pt x="0" y="51"/>
                    </a:lnTo>
                    <a:close/>
                  </a:path>
                </a:pathLst>
              </a:custGeom>
              <a:grpFill/>
              <a:ln w="9525">
                <a:solidFill>
                  <a:schemeClr val="tx1"/>
                </a:solidFill>
                <a:round/>
                <a:headEnd/>
                <a:tailEnd/>
              </a:ln>
            </p:spPr>
            <p:txBody>
              <a:bodyPr/>
              <a:lstStyle/>
              <a:p>
                <a:pPr>
                  <a:defRPr/>
                </a:pPr>
                <a:endParaRPr lang="en-US" sz="1100" dirty="0">
                  <a:latin typeface="+mj-lt"/>
                </a:endParaRPr>
              </a:p>
            </p:txBody>
          </p:sp>
          <p:grpSp>
            <p:nvGrpSpPr>
              <p:cNvPr id="109" name="Group 195"/>
              <p:cNvGrpSpPr/>
              <p:nvPr/>
            </p:nvGrpSpPr>
            <p:grpSpPr bwMode="gray">
              <a:xfrm>
                <a:off x="4599257" y="1719537"/>
                <a:ext cx="729893" cy="542791"/>
                <a:chOff x="4599257" y="1719537"/>
                <a:chExt cx="729893" cy="542791"/>
              </a:xfrm>
              <a:grpFill/>
            </p:grpSpPr>
            <p:sp>
              <p:nvSpPr>
                <p:cNvPr id="133" name="Freeform 70"/>
                <p:cNvSpPr>
                  <a:spLocks/>
                </p:cNvSpPr>
                <p:nvPr/>
              </p:nvSpPr>
              <p:spPr bwMode="gray">
                <a:xfrm>
                  <a:off x="4599257" y="1719537"/>
                  <a:ext cx="572026" cy="512582"/>
                </a:xfrm>
                <a:custGeom>
                  <a:avLst/>
                  <a:gdLst>
                    <a:gd name="T0" fmla="*/ 0 w 1173"/>
                    <a:gd name="T1" fmla="*/ 906 h 1052"/>
                    <a:gd name="T2" fmla="*/ 38 w 1173"/>
                    <a:gd name="T3" fmla="*/ 965 h 1052"/>
                    <a:gd name="T4" fmla="*/ 803 w 1173"/>
                    <a:gd name="T5" fmla="*/ 819 h 1052"/>
                    <a:gd name="T6" fmla="*/ 856 w 1173"/>
                    <a:gd name="T7" fmla="*/ 847 h 1052"/>
                    <a:gd name="T8" fmla="*/ 887 w 1173"/>
                    <a:gd name="T9" fmla="*/ 906 h 1052"/>
                    <a:gd name="T10" fmla="*/ 962 w 1173"/>
                    <a:gd name="T11" fmla="*/ 949 h 1052"/>
                    <a:gd name="T12" fmla="*/ 1132 w 1173"/>
                    <a:gd name="T13" fmla="*/ 1006 h 1052"/>
                    <a:gd name="T14" fmla="*/ 1134 w 1173"/>
                    <a:gd name="T15" fmla="*/ 1029 h 1052"/>
                    <a:gd name="T16" fmla="*/ 1145 w 1173"/>
                    <a:gd name="T17" fmla="*/ 1052 h 1052"/>
                    <a:gd name="T18" fmla="*/ 1156 w 1173"/>
                    <a:gd name="T19" fmla="*/ 1039 h 1052"/>
                    <a:gd name="T20" fmla="*/ 1172 w 1173"/>
                    <a:gd name="T21" fmla="*/ 989 h 1052"/>
                    <a:gd name="T22" fmla="*/ 1173 w 1173"/>
                    <a:gd name="T23" fmla="*/ 900 h 1052"/>
                    <a:gd name="T24" fmla="*/ 1145 w 1173"/>
                    <a:gd name="T25" fmla="*/ 730 h 1052"/>
                    <a:gd name="T26" fmla="*/ 1143 w 1173"/>
                    <a:gd name="T27" fmla="*/ 551 h 1052"/>
                    <a:gd name="T28" fmla="*/ 1113 w 1173"/>
                    <a:gd name="T29" fmla="*/ 410 h 1052"/>
                    <a:gd name="T30" fmla="*/ 1062 w 1173"/>
                    <a:gd name="T31" fmla="*/ 294 h 1052"/>
                    <a:gd name="T32" fmla="*/ 1047 w 1173"/>
                    <a:gd name="T33" fmla="*/ 178 h 1052"/>
                    <a:gd name="T34" fmla="*/ 998 w 1173"/>
                    <a:gd name="T35" fmla="*/ 0 h 1052"/>
                    <a:gd name="T36" fmla="*/ 763 w 1173"/>
                    <a:gd name="T37" fmla="*/ 59 h 1052"/>
                    <a:gd name="T38" fmla="*/ 748 w 1173"/>
                    <a:gd name="T39" fmla="*/ 57 h 1052"/>
                    <a:gd name="T40" fmla="*/ 673 w 1173"/>
                    <a:gd name="T41" fmla="*/ 115 h 1052"/>
                    <a:gd name="T42" fmla="*/ 609 w 1173"/>
                    <a:gd name="T43" fmla="*/ 209 h 1052"/>
                    <a:gd name="T44" fmla="*/ 604 w 1173"/>
                    <a:gd name="T45" fmla="*/ 248 h 1052"/>
                    <a:gd name="T46" fmla="*/ 573 w 1173"/>
                    <a:gd name="T47" fmla="*/ 290 h 1052"/>
                    <a:gd name="T48" fmla="*/ 522 w 1173"/>
                    <a:gd name="T49" fmla="*/ 337 h 1052"/>
                    <a:gd name="T50" fmla="*/ 544 w 1173"/>
                    <a:gd name="T51" fmla="*/ 370 h 1052"/>
                    <a:gd name="T52" fmla="*/ 550 w 1173"/>
                    <a:gd name="T53" fmla="*/ 346 h 1052"/>
                    <a:gd name="T54" fmla="*/ 567 w 1173"/>
                    <a:gd name="T55" fmla="*/ 353 h 1052"/>
                    <a:gd name="T56" fmla="*/ 557 w 1173"/>
                    <a:gd name="T57" fmla="*/ 364 h 1052"/>
                    <a:gd name="T58" fmla="*/ 568 w 1173"/>
                    <a:gd name="T59" fmla="*/ 370 h 1052"/>
                    <a:gd name="T60" fmla="*/ 560 w 1173"/>
                    <a:gd name="T61" fmla="*/ 394 h 1052"/>
                    <a:gd name="T62" fmla="*/ 550 w 1173"/>
                    <a:gd name="T63" fmla="*/ 391 h 1052"/>
                    <a:gd name="T64" fmla="*/ 548 w 1173"/>
                    <a:gd name="T65" fmla="*/ 402 h 1052"/>
                    <a:gd name="T66" fmla="*/ 572 w 1173"/>
                    <a:gd name="T67" fmla="*/ 437 h 1052"/>
                    <a:gd name="T68" fmla="*/ 574 w 1173"/>
                    <a:gd name="T69" fmla="*/ 467 h 1052"/>
                    <a:gd name="T70" fmla="*/ 537 w 1173"/>
                    <a:gd name="T71" fmla="*/ 484 h 1052"/>
                    <a:gd name="T72" fmla="*/ 500 w 1173"/>
                    <a:gd name="T73" fmla="*/ 541 h 1052"/>
                    <a:gd name="T74" fmla="*/ 458 w 1173"/>
                    <a:gd name="T75" fmla="*/ 570 h 1052"/>
                    <a:gd name="T76" fmla="*/ 385 w 1173"/>
                    <a:gd name="T77" fmla="*/ 575 h 1052"/>
                    <a:gd name="T78" fmla="*/ 359 w 1173"/>
                    <a:gd name="T79" fmla="*/ 596 h 1052"/>
                    <a:gd name="T80" fmla="*/ 315 w 1173"/>
                    <a:gd name="T81" fmla="*/ 577 h 1052"/>
                    <a:gd name="T82" fmla="*/ 188 w 1173"/>
                    <a:gd name="T83" fmla="*/ 592 h 1052"/>
                    <a:gd name="T84" fmla="*/ 93 w 1173"/>
                    <a:gd name="T85" fmla="*/ 631 h 1052"/>
                    <a:gd name="T86" fmla="*/ 98 w 1173"/>
                    <a:gd name="T87" fmla="*/ 663 h 1052"/>
                    <a:gd name="T88" fmla="*/ 93 w 1173"/>
                    <a:gd name="T89" fmla="*/ 679 h 1052"/>
                    <a:gd name="T90" fmla="*/ 99 w 1173"/>
                    <a:gd name="T91" fmla="*/ 679 h 1052"/>
                    <a:gd name="T92" fmla="*/ 113 w 1173"/>
                    <a:gd name="T93" fmla="*/ 711 h 1052"/>
                    <a:gd name="T94" fmla="*/ 127 w 1173"/>
                    <a:gd name="T95" fmla="*/ 710 h 1052"/>
                    <a:gd name="T96" fmla="*/ 142 w 1173"/>
                    <a:gd name="T97" fmla="*/ 742 h 1052"/>
                    <a:gd name="T98" fmla="*/ 140 w 1173"/>
                    <a:gd name="T99" fmla="*/ 754 h 1052"/>
                    <a:gd name="T100" fmla="*/ 114 w 1173"/>
                    <a:gd name="T101" fmla="*/ 772 h 1052"/>
                    <a:gd name="T102" fmla="*/ 104 w 1173"/>
                    <a:gd name="T103" fmla="*/ 808 h 1052"/>
                    <a:gd name="T104" fmla="*/ 0 w 1173"/>
                    <a:gd name="T105" fmla="*/ 906 h 105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173"/>
                    <a:gd name="T160" fmla="*/ 0 h 1052"/>
                    <a:gd name="T161" fmla="*/ 1173 w 1173"/>
                    <a:gd name="T162" fmla="*/ 1052 h 105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173" h="1052">
                      <a:moveTo>
                        <a:pt x="0" y="906"/>
                      </a:moveTo>
                      <a:lnTo>
                        <a:pt x="38" y="965"/>
                      </a:lnTo>
                      <a:lnTo>
                        <a:pt x="803" y="819"/>
                      </a:lnTo>
                      <a:lnTo>
                        <a:pt x="856" y="847"/>
                      </a:lnTo>
                      <a:lnTo>
                        <a:pt x="887" y="906"/>
                      </a:lnTo>
                      <a:lnTo>
                        <a:pt x="962" y="949"/>
                      </a:lnTo>
                      <a:lnTo>
                        <a:pt x="1132" y="1006"/>
                      </a:lnTo>
                      <a:lnTo>
                        <a:pt x="1134" y="1029"/>
                      </a:lnTo>
                      <a:lnTo>
                        <a:pt x="1145" y="1052"/>
                      </a:lnTo>
                      <a:lnTo>
                        <a:pt x="1156" y="1039"/>
                      </a:lnTo>
                      <a:lnTo>
                        <a:pt x="1172" y="989"/>
                      </a:lnTo>
                      <a:lnTo>
                        <a:pt x="1173" y="900"/>
                      </a:lnTo>
                      <a:lnTo>
                        <a:pt x="1145" y="730"/>
                      </a:lnTo>
                      <a:lnTo>
                        <a:pt x="1143" y="551"/>
                      </a:lnTo>
                      <a:lnTo>
                        <a:pt x="1113" y="410"/>
                      </a:lnTo>
                      <a:lnTo>
                        <a:pt x="1062" y="294"/>
                      </a:lnTo>
                      <a:lnTo>
                        <a:pt x="1047" y="178"/>
                      </a:lnTo>
                      <a:lnTo>
                        <a:pt x="998" y="0"/>
                      </a:lnTo>
                      <a:lnTo>
                        <a:pt x="763" y="59"/>
                      </a:lnTo>
                      <a:lnTo>
                        <a:pt x="748" y="57"/>
                      </a:lnTo>
                      <a:lnTo>
                        <a:pt x="673" y="115"/>
                      </a:lnTo>
                      <a:lnTo>
                        <a:pt x="609" y="209"/>
                      </a:lnTo>
                      <a:lnTo>
                        <a:pt x="604" y="248"/>
                      </a:lnTo>
                      <a:lnTo>
                        <a:pt x="573" y="290"/>
                      </a:lnTo>
                      <a:lnTo>
                        <a:pt x="522" y="337"/>
                      </a:lnTo>
                      <a:lnTo>
                        <a:pt x="544" y="370"/>
                      </a:lnTo>
                      <a:lnTo>
                        <a:pt x="550" y="346"/>
                      </a:lnTo>
                      <a:lnTo>
                        <a:pt x="567" y="353"/>
                      </a:lnTo>
                      <a:lnTo>
                        <a:pt x="557" y="364"/>
                      </a:lnTo>
                      <a:lnTo>
                        <a:pt x="568" y="370"/>
                      </a:lnTo>
                      <a:lnTo>
                        <a:pt x="560" y="394"/>
                      </a:lnTo>
                      <a:lnTo>
                        <a:pt x="550" y="391"/>
                      </a:lnTo>
                      <a:lnTo>
                        <a:pt x="548" y="402"/>
                      </a:lnTo>
                      <a:lnTo>
                        <a:pt x="572" y="437"/>
                      </a:lnTo>
                      <a:lnTo>
                        <a:pt x="574" y="467"/>
                      </a:lnTo>
                      <a:lnTo>
                        <a:pt x="537" y="484"/>
                      </a:lnTo>
                      <a:lnTo>
                        <a:pt x="500" y="541"/>
                      </a:lnTo>
                      <a:lnTo>
                        <a:pt x="458" y="570"/>
                      </a:lnTo>
                      <a:lnTo>
                        <a:pt x="385" y="575"/>
                      </a:lnTo>
                      <a:lnTo>
                        <a:pt x="359" y="596"/>
                      </a:lnTo>
                      <a:lnTo>
                        <a:pt x="315" y="577"/>
                      </a:lnTo>
                      <a:lnTo>
                        <a:pt x="188" y="592"/>
                      </a:lnTo>
                      <a:lnTo>
                        <a:pt x="93" y="631"/>
                      </a:lnTo>
                      <a:lnTo>
                        <a:pt x="98" y="663"/>
                      </a:lnTo>
                      <a:lnTo>
                        <a:pt x="93" y="679"/>
                      </a:lnTo>
                      <a:lnTo>
                        <a:pt x="99" y="679"/>
                      </a:lnTo>
                      <a:lnTo>
                        <a:pt x="113" y="711"/>
                      </a:lnTo>
                      <a:lnTo>
                        <a:pt x="127" y="710"/>
                      </a:lnTo>
                      <a:lnTo>
                        <a:pt x="142" y="742"/>
                      </a:lnTo>
                      <a:lnTo>
                        <a:pt x="140" y="754"/>
                      </a:lnTo>
                      <a:lnTo>
                        <a:pt x="114" y="772"/>
                      </a:lnTo>
                      <a:lnTo>
                        <a:pt x="104" y="808"/>
                      </a:lnTo>
                      <a:lnTo>
                        <a:pt x="0" y="906"/>
                      </a:lnTo>
                      <a:close/>
                    </a:path>
                  </a:pathLst>
                </a:custGeom>
                <a:solidFill>
                  <a:schemeClr val="accent1">
                    <a:lumMod val="40000"/>
                    <a:lumOff val="60000"/>
                  </a:schemeClr>
                </a:solidFill>
                <a:ln w="9525">
                  <a:solidFill>
                    <a:schemeClr val="tx1"/>
                  </a:solidFill>
                  <a:round/>
                  <a:headEnd/>
                  <a:tailEnd/>
                </a:ln>
              </p:spPr>
              <p:txBody>
                <a:bodyPr/>
                <a:lstStyle/>
                <a:p>
                  <a:pPr>
                    <a:defRPr/>
                  </a:pPr>
                  <a:endParaRPr lang="en-US" sz="1100" dirty="0">
                    <a:latin typeface="+mj-lt"/>
                  </a:endParaRPr>
                </a:p>
              </p:txBody>
            </p:sp>
            <p:sp>
              <p:nvSpPr>
                <p:cNvPr id="134" name="Freeform 72"/>
                <p:cNvSpPr>
                  <a:spLocks/>
                </p:cNvSpPr>
                <p:nvPr/>
              </p:nvSpPr>
              <p:spPr bwMode="gray">
                <a:xfrm>
                  <a:off x="5149844" y="2156109"/>
                  <a:ext cx="179306" cy="106219"/>
                </a:xfrm>
                <a:custGeom>
                  <a:avLst/>
                  <a:gdLst>
                    <a:gd name="T0" fmla="*/ 0 w 369"/>
                    <a:gd name="T1" fmla="*/ 197 h 218"/>
                    <a:gd name="T2" fmla="*/ 8 w 369"/>
                    <a:gd name="T3" fmla="*/ 215 h 218"/>
                    <a:gd name="T4" fmla="*/ 18 w 369"/>
                    <a:gd name="T5" fmla="*/ 216 h 218"/>
                    <a:gd name="T6" fmla="*/ 31 w 369"/>
                    <a:gd name="T7" fmla="*/ 198 h 218"/>
                    <a:gd name="T8" fmla="*/ 43 w 369"/>
                    <a:gd name="T9" fmla="*/ 193 h 218"/>
                    <a:gd name="T10" fmla="*/ 47 w 369"/>
                    <a:gd name="T11" fmla="*/ 198 h 218"/>
                    <a:gd name="T12" fmla="*/ 27 w 369"/>
                    <a:gd name="T13" fmla="*/ 218 h 218"/>
                    <a:gd name="T14" fmla="*/ 62 w 369"/>
                    <a:gd name="T15" fmla="*/ 204 h 218"/>
                    <a:gd name="T16" fmla="*/ 65 w 369"/>
                    <a:gd name="T17" fmla="*/ 196 h 218"/>
                    <a:gd name="T18" fmla="*/ 115 w 369"/>
                    <a:gd name="T19" fmla="*/ 173 h 218"/>
                    <a:gd name="T20" fmla="*/ 156 w 369"/>
                    <a:gd name="T21" fmla="*/ 144 h 218"/>
                    <a:gd name="T22" fmla="*/ 203 w 369"/>
                    <a:gd name="T23" fmla="*/ 125 h 218"/>
                    <a:gd name="T24" fmla="*/ 242 w 369"/>
                    <a:gd name="T25" fmla="*/ 101 h 218"/>
                    <a:gd name="T26" fmla="*/ 240 w 369"/>
                    <a:gd name="T27" fmla="*/ 106 h 218"/>
                    <a:gd name="T28" fmla="*/ 164 w 369"/>
                    <a:gd name="T29" fmla="*/ 163 h 218"/>
                    <a:gd name="T30" fmla="*/ 150 w 369"/>
                    <a:gd name="T31" fmla="*/ 167 h 218"/>
                    <a:gd name="T32" fmla="*/ 161 w 369"/>
                    <a:gd name="T33" fmla="*/ 171 h 218"/>
                    <a:gd name="T34" fmla="*/ 180 w 369"/>
                    <a:gd name="T35" fmla="*/ 158 h 218"/>
                    <a:gd name="T36" fmla="*/ 296 w 369"/>
                    <a:gd name="T37" fmla="*/ 74 h 218"/>
                    <a:gd name="T38" fmla="*/ 312 w 369"/>
                    <a:gd name="T39" fmla="*/ 58 h 218"/>
                    <a:gd name="T40" fmla="*/ 365 w 369"/>
                    <a:gd name="T41" fmla="*/ 14 h 218"/>
                    <a:gd name="T42" fmla="*/ 369 w 369"/>
                    <a:gd name="T43" fmla="*/ 2 h 218"/>
                    <a:gd name="T44" fmla="*/ 359 w 369"/>
                    <a:gd name="T45" fmla="*/ 3 h 218"/>
                    <a:gd name="T46" fmla="*/ 332 w 369"/>
                    <a:gd name="T47" fmla="*/ 28 h 218"/>
                    <a:gd name="T48" fmla="*/ 318 w 369"/>
                    <a:gd name="T49" fmla="*/ 22 h 218"/>
                    <a:gd name="T50" fmla="*/ 294 w 369"/>
                    <a:gd name="T51" fmla="*/ 39 h 218"/>
                    <a:gd name="T52" fmla="*/ 288 w 369"/>
                    <a:gd name="T53" fmla="*/ 34 h 218"/>
                    <a:gd name="T54" fmla="*/ 267 w 369"/>
                    <a:gd name="T55" fmla="*/ 84 h 218"/>
                    <a:gd name="T56" fmla="*/ 259 w 369"/>
                    <a:gd name="T57" fmla="*/ 74 h 218"/>
                    <a:gd name="T58" fmla="*/ 240 w 369"/>
                    <a:gd name="T59" fmla="*/ 74 h 218"/>
                    <a:gd name="T60" fmla="*/ 273 w 369"/>
                    <a:gd name="T61" fmla="*/ 36 h 218"/>
                    <a:gd name="T62" fmla="*/ 268 w 369"/>
                    <a:gd name="T63" fmla="*/ 27 h 218"/>
                    <a:gd name="T64" fmla="*/ 294 w 369"/>
                    <a:gd name="T65" fmla="*/ 0 h 218"/>
                    <a:gd name="T66" fmla="*/ 285 w 369"/>
                    <a:gd name="T67" fmla="*/ 1 h 218"/>
                    <a:gd name="T68" fmla="*/ 235 w 369"/>
                    <a:gd name="T69" fmla="*/ 56 h 218"/>
                    <a:gd name="T70" fmla="*/ 176 w 369"/>
                    <a:gd name="T71" fmla="*/ 79 h 218"/>
                    <a:gd name="T72" fmla="*/ 145 w 369"/>
                    <a:gd name="T73" fmla="*/ 82 h 218"/>
                    <a:gd name="T74" fmla="*/ 140 w 369"/>
                    <a:gd name="T75" fmla="*/ 97 h 218"/>
                    <a:gd name="T76" fmla="*/ 102 w 369"/>
                    <a:gd name="T77" fmla="*/ 108 h 218"/>
                    <a:gd name="T78" fmla="*/ 86 w 369"/>
                    <a:gd name="T79" fmla="*/ 106 h 218"/>
                    <a:gd name="T80" fmla="*/ 86 w 369"/>
                    <a:gd name="T81" fmla="*/ 117 h 218"/>
                    <a:gd name="T82" fmla="*/ 71 w 369"/>
                    <a:gd name="T83" fmla="*/ 117 h 218"/>
                    <a:gd name="T84" fmla="*/ 60 w 369"/>
                    <a:gd name="T85" fmla="*/ 126 h 218"/>
                    <a:gd name="T86" fmla="*/ 57 w 369"/>
                    <a:gd name="T87" fmla="*/ 144 h 218"/>
                    <a:gd name="T88" fmla="*/ 49 w 369"/>
                    <a:gd name="T89" fmla="*/ 138 h 218"/>
                    <a:gd name="T90" fmla="*/ 41 w 369"/>
                    <a:gd name="T91" fmla="*/ 157 h 218"/>
                    <a:gd name="T92" fmla="*/ 15 w 369"/>
                    <a:gd name="T93" fmla="*/ 165 h 218"/>
                    <a:gd name="T94" fmla="*/ 12 w 369"/>
                    <a:gd name="T95" fmla="*/ 179 h 218"/>
                    <a:gd name="T96" fmla="*/ 0 w 369"/>
                    <a:gd name="T97" fmla="*/ 197 h 21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69"/>
                    <a:gd name="T148" fmla="*/ 0 h 218"/>
                    <a:gd name="T149" fmla="*/ 369 w 369"/>
                    <a:gd name="T150" fmla="*/ 218 h 21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69" h="218">
                      <a:moveTo>
                        <a:pt x="0" y="197"/>
                      </a:moveTo>
                      <a:lnTo>
                        <a:pt x="8" y="215"/>
                      </a:lnTo>
                      <a:lnTo>
                        <a:pt x="18" y="216"/>
                      </a:lnTo>
                      <a:lnTo>
                        <a:pt x="31" y="198"/>
                      </a:lnTo>
                      <a:lnTo>
                        <a:pt x="43" y="193"/>
                      </a:lnTo>
                      <a:lnTo>
                        <a:pt x="47" y="198"/>
                      </a:lnTo>
                      <a:lnTo>
                        <a:pt x="27" y="218"/>
                      </a:lnTo>
                      <a:lnTo>
                        <a:pt x="62" y="204"/>
                      </a:lnTo>
                      <a:lnTo>
                        <a:pt x="65" y="196"/>
                      </a:lnTo>
                      <a:lnTo>
                        <a:pt x="115" y="173"/>
                      </a:lnTo>
                      <a:lnTo>
                        <a:pt x="156" y="144"/>
                      </a:lnTo>
                      <a:lnTo>
                        <a:pt x="203" y="125"/>
                      </a:lnTo>
                      <a:lnTo>
                        <a:pt x="242" y="101"/>
                      </a:lnTo>
                      <a:lnTo>
                        <a:pt x="240" y="106"/>
                      </a:lnTo>
                      <a:lnTo>
                        <a:pt x="164" y="163"/>
                      </a:lnTo>
                      <a:lnTo>
                        <a:pt x="150" y="167"/>
                      </a:lnTo>
                      <a:lnTo>
                        <a:pt x="161" y="171"/>
                      </a:lnTo>
                      <a:lnTo>
                        <a:pt x="180" y="158"/>
                      </a:lnTo>
                      <a:lnTo>
                        <a:pt x="296" y="74"/>
                      </a:lnTo>
                      <a:lnTo>
                        <a:pt x="312" y="58"/>
                      </a:lnTo>
                      <a:lnTo>
                        <a:pt x="365" y="14"/>
                      </a:lnTo>
                      <a:lnTo>
                        <a:pt x="369" y="2"/>
                      </a:lnTo>
                      <a:lnTo>
                        <a:pt x="359" y="3"/>
                      </a:lnTo>
                      <a:lnTo>
                        <a:pt x="332" y="28"/>
                      </a:lnTo>
                      <a:lnTo>
                        <a:pt x="318" y="22"/>
                      </a:lnTo>
                      <a:lnTo>
                        <a:pt x="294" y="39"/>
                      </a:lnTo>
                      <a:lnTo>
                        <a:pt x="288" y="34"/>
                      </a:lnTo>
                      <a:lnTo>
                        <a:pt x="267" y="84"/>
                      </a:lnTo>
                      <a:lnTo>
                        <a:pt x="259" y="74"/>
                      </a:lnTo>
                      <a:lnTo>
                        <a:pt x="240" y="74"/>
                      </a:lnTo>
                      <a:lnTo>
                        <a:pt x="273" y="36"/>
                      </a:lnTo>
                      <a:lnTo>
                        <a:pt x="268" y="27"/>
                      </a:lnTo>
                      <a:lnTo>
                        <a:pt x="294" y="0"/>
                      </a:lnTo>
                      <a:lnTo>
                        <a:pt x="285" y="1"/>
                      </a:lnTo>
                      <a:lnTo>
                        <a:pt x="235" y="56"/>
                      </a:lnTo>
                      <a:lnTo>
                        <a:pt x="176" y="79"/>
                      </a:lnTo>
                      <a:lnTo>
                        <a:pt x="145" y="82"/>
                      </a:lnTo>
                      <a:lnTo>
                        <a:pt x="140" y="97"/>
                      </a:lnTo>
                      <a:lnTo>
                        <a:pt x="102" y="108"/>
                      </a:lnTo>
                      <a:lnTo>
                        <a:pt x="86" y="106"/>
                      </a:lnTo>
                      <a:lnTo>
                        <a:pt x="86" y="117"/>
                      </a:lnTo>
                      <a:lnTo>
                        <a:pt x="71" y="117"/>
                      </a:lnTo>
                      <a:lnTo>
                        <a:pt x="60" y="126"/>
                      </a:lnTo>
                      <a:lnTo>
                        <a:pt x="57" y="144"/>
                      </a:lnTo>
                      <a:lnTo>
                        <a:pt x="49" y="138"/>
                      </a:lnTo>
                      <a:lnTo>
                        <a:pt x="41" y="157"/>
                      </a:lnTo>
                      <a:lnTo>
                        <a:pt x="15" y="165"/>
                      </a:lnTo>
                      <a:lnTo>
                        <a:pt x="12" y="179"/>
                      </a:lnTo>
                      <a:lnTo>
                        <a:pt x="0" y="197"/>
                      </a:lnTo>
                      <a:close/>
                    </a:path>
                  </a:pathLst>
                </a:custGeom>
                <a:grpFill/>
                <a:ln w="9525">
                  <a:solidFill>
                    <a:schemeClr val="tx1"/>
                  </a:solidFill>
                  <a:round/>
                  <a:headEnd/>
                  <a:tailEnd/>
                </a:ln>
              </p:spPr>
              <p:txBody>
                <a:bodyPr/>
                <a:lstStyle/>
                <a:p>
                  <a:pPr>
                    <a:defRPr/>
                  </a:pPr>
                  <a:endParaRPr lang="en-US" sz="1100" dirty="0">
                    <a:latin typeface="+mj-lt"/>
                  </a:endParaRPr>
                </a:p>
              </p:txBody>
            </p:sp>
          </p:grpSp>
          <p:sp>
            <p:nvSpPr>
              <p:cNvPr id="110" name="Freeform 73"/>
              <p:cNvSpPr>
                <a:spLocks/>
              </p:cNvSpPr>
              <p:nvPr/>
            </p:nvSpPr>
            <p:spPr bwMode="gray">
              <a:xfrm>
                <a:off x="4298140" y="2786604"/>
                <a:ext cx="825394" cy="369332"/>
              </a:xfrm>
              <a:custGeom>
                <a:avLst/>
                <a:gdLst>
                  <a:gd name="T0" fmla="*/ 1 w 1693"/>
                  <a:gd name="T1" fmla="*/ 652 h 757"/>
                  <a:gd name="T2" fmla="*/ 390 w 1693"/>
                  <a:gd name="T3" fmla="*/ 551 h 757"/>
                  <a:gd name="T4" fmla="*/ 770 w 1693"/>
                  <a:gd name="T5" fmla="*/ 591 h 757"/>
                  <a:gd name="T6" fmla="*/ 1212 w 1693"/>
                  <a:gd name="T7" fmla="*/ 757 h 757"/>
                  <a:gd name="T8" fmla="*/ 1315 w 1693"/>
                  <a:gd name="T9" fmla="*/ 732 h 757"/>
                  <a:gd name="T10" fmla="*/ 1341 w 1693"/>
                  <a:gd name="T11" fmla="*/ 708 h 757"/>
                  <a:gd name="T12" fmla="*/ 1394 w 1693"/>
                  <a:gd name="T13" fmla="*/ 573 h 757"/>
                  <a:gd name="T14" fmla="*/ 1409 w 1693"/>
                  <a:gd name="T15" fmla="*/ 538 h 757"/>
                  <a:gd name="T16" fmla="*/ 1399 w 1693"/>
                  <a:gd name="T17" fmla="*/ 498 h 757"/>
                  <a:gd name="T18" fmla="*/ 1418 w 1693"/>
                  <a:gd name="T19" fmla="*/ 530 h 757"/>
                  <a:gd name="T20" fmla="*/ 1454 w 1693"/>
                  <a:gd name="T21" fmla="*/ 517 h 757"/>
                  <a:gd name="T22" fmla="*/ 1455 w 1693"/>
                  <a:gd name="T23" fmla="*/ 480 h 757"/>
                  <a:gd name="T24" fmla="*/ 1476 w 1693"/>
                  <a:gd name="T25" fmla="*/ 500 h 757"/>
                  <a:gd name="T26" fmla="*/ 1584 w 1693"/>
                  <a:gd name="T27" fmla="*/ 467 h 757"/>
                  <a:gd name="T28" fmla="*/ 1607 w 1693"/>
                  <a:gd name="T29" fmla="*/ 387 h 757"/>
                  <a:gd name="T30" fmla="*/ 1581 w 1693"/>
                  <a:gd name="T31" fmla="*/ 380 h 757"/>
                  <a:gd name="T32" fmla="*/ 1569 w 1693"/>
                  <a:gd name="T33" fmla="*/ 419 h 757"/>
                  <a:gd name="T34" fmla="*/ 1545 w 1693"/>
                  <a:gd name="T35" fmla="*/ 427 h 757"/>
                  <a:gd name="T36" fmla="*/ 1452 w 1693"/>
                  <a:gd name="T37" fmla="*/ 399 h 757"/>
                  <a:gd name="T38" fmla="*/ 1512 w 1693"/>
                  <a:gd name="T39" fmla="*/ 417 h 757"/>
                  <a:gd name="T40" fmla="*/ 1536 w 1693"/>
                  <a:gd name="T41" fmla="*/ 362 h 757"/>
                  <a:gd name="T42" fmla="*/ 1533 w 1693"/>
                  <a:gd name="T43" fmla="*/ 332 h 757"/>
                  <a:gd name="T44" fmla="*/ 1489 w 1693"/>
                  <a:gd name="T45" fmla="*/ 290 h 757"/>
                  <a:gd name="T46" fmla="*/ 1533 w 1693"/>
                  <a:gd name="T47" fmla="*/ 297 h 757"/>
                  <a:gd name="T48" fmla="*/ 1530 w 1693"/>
                  <a:gd name="T49" fmla="*/ 274 h 757"/>
                  <a:gd name="T50" fmla="*/ 1541 w 1693"/>
                  <a:gd name="T51" fmla="*/ 282 h 757"/>
                  <a:gd name="T52" fmla="*/ 1571 w 1693"/>
                  <a:gd name="T53" fmla="*/ 285 h 757"/>
                  <a:gd name="T54" fmla="*/ 1602 w 1693"/>
                  <a:gd name="T55" fmla="*/ 304 h 757"/>
                  <a:gd name="T56" fmla="*/ 1650 w 1693"/>
                  <a:gd name="T57" fmla="*/ 274 h 757"/>
                  <a:gd name="T58" fmla="*/ 1693 w 1693"/>
                  <a:gd name="T59" fmla="*/ 219 h 757"/>
                  <a:gd name="T60" fmla="*/ 1675 w 1693"/>
                  <a:gd name="T61" fmla="*/ 151 h 757"/>
                  <a:gd name="T62" fmla="*/ 1623 w 1693"/>
                  <a:gd name="T63" fmla="*/ 219 h 757"/>
                  <a:gd name="T64" fmla="*/ 1607 w 1693"/>
                  <a:gd name="T65" fmla="*/ 140 h 757"/>
                  <a:gd name="T66" fmla="*/ 1483 w 1693"/>
                  <a:gd name="T67" fmla="*/ 181 h 757"/>
                  <a:gd name="T68" fmla="*/ 1528 w 1693"/>
                  <a:gd name="T69" fmla="*/ 129 h 757"/>
                  <a:gd name="T70" fmla="*/ 1575 w 1693"/>
                  <a:gd name="T71" fmla="*/ 64 h 757"/>
                  <a:gd name="T72" fmla="*/ 1609 w 1693"/>
                  <a:gd name="T73" fmla="*/ 57 h 757"/>
                  <a:gd name="T74" fmla="*/ 1620 w 1693"/>
                  <a:gd name="T75" fmla="*/ 29 h 757"/>
                  <a:gd name="T76" fmla="*/ 982 w 1693"/>
                  <a:gd name="T77" fmla="*/ 116 h 757"/>
                  <a:gd name="T78" fmla="*/ 475 w 1693"/>
                  <a:gd name="T79" fmla="*/ 237 h 757"/>
                  <a:gd name="T80" fmla="*/ 413 w 1693"/>
                  <a:gd name="T81" fmla="*/ 317 h 757"/>
                  <a:gd name="T82" fmla="*/ 355 w 1693"/>
                  <a:gd name="T83" fmla="*/ 330 h 757"/>
                  <a:gd name="T84" fmla="*/ 305 w 1693"/>
                  <a:gd name="T85" fmla="*/ 341 h 757"/>
                  <a:gd name="T86" fmla="*/ 254 w 1693"/>
                  <a:gd name="T87" fmla="*/ 413 h 757"/>
                  <a:gd name="T88" fmla="*/ 51 w 1693"/>
                  <a:gd name="T89" fmla="*/ 570 h 75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693"/>
                  <a:gd name="T136" fmla="*/ 0 h 757"/>
                  <a:gd name="T137" fmla="*/ 1693 w 1693"/>
                  <a:gd name="T138" fmla="*/ 757 h 757"/>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693" h="757">
                    <a:moveTo>
                      <a:pt x="0" y="595"/>
                    </a:moveTo>
                    <a:lnTo>
                      <a:pt x="1" y="652"/>
                    </a:lnTo>
                    <a:lnTo>
                      <a:pt x="246" y="622"/>
                    </a:lnTo>
                    <a:lnTo>
                      <a:pt x="390" y="551"/>
                    </a:lnTo>
                    <a:lnTo>
                      <a:pt x="659" y="519"/>
                    </a:lnTo>
                    <a:lnTo>
                      <a:pt x="770" y="591"/>
                    </a:lnTo>
                    <a:lnTo>
                      <a:pt x="946" y="565"/>
                    </a:lnTo>
                    <a:lnTo>
                      <a:pt x="1212" y="757"/>
                    </a:lnTo>
                    <a:lnTo>
                      <a:pt x="1248" y="736"/>
                    </a:lnTo>
                    <a:lnTo>
                      <a:pt x="1315" y="732"/>
                    </a:lnTo>
                    <a:lnTo>
                      <a:pt x="1328" y="681"/>
                    </a:lnTo>
                    <a:lnTo>
                      <a:pt x="1341" y="708"/>
                    </a:lnTo>
                    <a:lnTo>
                      <a:pt x="1359" y="621"/>
                    </a:lnTo>
                    <a:lnTo>
                      <a:pt x="1394" y="573"/>
                    </a:lnTo>
                    <a:lnTo>
                      <a:pt x="1426" y="549"/>
                    </a:lnTo>
                    <a:lnTo>
                      <a:pt x="1409" y="538"/>
                    </a:lnTo>
                    <a:lnTo>
                      <a:pt x="1415" y="518"/>
                    </a:lnTo>
                    <a:lnTo>
                      <a:pt x="1399" y="498"/>
                    </a:lnTo>
                    <a:lnTo>
                      <a:pt x="1424" y="521"/>
                    </a:lnTo>
                    <a:lnTo>
                      <a:pt x="1418" y="530"/>
                    </a:lnTo>
                    <a:lnTo>
                      <a:pt x="1435" y="539"/>
                    </a:lnTo>
                    <a:lnTo>
                      <a:pt x="1454" y="517"/>
                    </a:lnTo>
                    <a:lnTo>
                      <a:pt x="1463" y="515"/>
                    </a:lnTo>
                    <a:lnTo>
                      <a:pt x="1455" y="480"/>
                    </a:lnTo>
                    <a:lnTo>
                      <a:pt x="1463" y="479"/>
                    </a:lnTo>
                    <a:lnTo>
                      <a:pt x="1476" y="500"/>
                    </a:lnTo>
                    <a:lnTo>
                      <a:pt x="1536" y="469"/>
                    </a:lnTo>
                    <a:lnTo>
                      <a:pt x="1584" y="467"/>
                    </a:lnTo>
                    <a:lnTo>
                      <a:pt x="1619" y="404"/>
                    </a:lnTo>
                    <a:lnTo>
                      <a:pt x="1607" y="387"/>
                    </a:lnTo>
                    <a:lnTo>
                      <a:pt x="1588" y="411"/>
                    </a:lnTo>
                    <a:lnTo>
                      <a:pt x="1581" y="380"/>
                    </a:lnTo>
                    <a:lnTo>
                      <a:pt x="1559" y="401"/>
                    </a:lnTo>
                    <a:lnTo>
                      <a:pt x="1569" y="419"/>
                    </a:lnTo>
                    <a:lnTo>
                      <a:pt x="1549" y="409"/>
                    </a:lnTo>
                    <a:lnTo>
                      <a:pt x="1545" y="427"/>
                    </a:lnTo>
                    <a:lnTo>
                      <a:pt x="1490" y="425"/>
                    </a:lnTo>
                    <a:lnTo>
                      <a:pt x="1452" y="399"/>
                    </a:lnTo>
                    <a:lnTo>
                      <a:pt x="1454" y="382"/>
                    </a:lnTo>
                    <a:lnTo>
                      <a:pt x="1512" y="417"/>
                    </a:lnTo>
                    <a:lnTo>
                      <a:pt x="1559" y="366"/>
                    </a:lnTo>
                    <a:lnTo>
                      <a:pt x="1536" y="362"/>
                    </a:lnTo>
                    <a:lnTo>
                      <a:pt x="1562" y="324"/>
                    </a:lnTo>
                    <a:lnTo>
                      <a:pt x="1533" y="332"/>
                    </a:lnTo>
                    <a:lnTo>
                      <a:pt x="1445" y="298"/>
                    </a:lnTo>
                    <a:lnTo>
                      <a:pt x="1489" y="290"/>
                    </a:lnTo>
                    <a:lnTo>
                      <a:pt x="1531" y="307"/>
                    </a:lnTo>
                    <a:lnTo>
                      <a:pt x="1533" y="297"/>
                    </a:lnTo>
                    <a:lnTo>
                      <a:pt x="1512" y="274"/>
                    </a:lnTo>
                    <a:lnTo>
                      <a:pt x="1530" y="274"/>
                    </a:lnTo>
                    <a:lnTo>
                      <a:pt x="1556" y="261"/>
                    </a:lnTo>
                    <a:lnTo>
                      <a:pt x="1541" y="282"/>
                    </a:lnTo>
                    <a:lnTo>
                      <a:pt x="1551" y="304"/>
                    </a:lnTo>
                    <a:lnTo>
                      <a:pt x="1571" y="285"/>
                    </a:lnTo>
                    <a:lnTo>
                      <a:pt x="1583" y="307"/>
                    </a:lnTo>
                    <a:lnTo>
                      <a:pt x="1602" y="304"/>
                    </a:lnTo>
                    <a:lnTo>
                      <a:pt x="1627" y="302"/>
                    </a:lnTo>
                    <a:lnTo>
                      <a:pt x="1650" y="274"/>
                    </a:lnTo>
                    <a:lnTo>
                      <a:pt x="1666" y="225"/>
                    </a:lnTo>
                    <a:lnTo>
                      <a:pt x="1693" y="219"/>
                    </a:lnTo>
                    <a:lnTo>
                      <a:pt x="1693" y="194"/>
                    </a:lnTo>
                    <a:lnTo>
                      <a:pt x="1675" y="151"/>
                    </a:lnTo>
                    <a:lnTo>
                      <a:pt x="1649" y="151"/>
                    </a:lnTo>
                    <a:lnTo>
                      <a:pt x="1623" y="219"/>
                    </a:lnTo>
                    <a:lnTo>
                      <a:pt x="1613" y="185"/>
                    </a:lnTo>
                    <a:lnTo>
                      <a:pt x="1607" y="140"/>
                    </a:lnTo>
                    <a:lnTo>
                      <a:pt x="1552" y="166"/>
                    </a:lnTo>
                    <a:lnTo>
                      <a:pt x="1483" y="181"/>
                    </a:lnTo>
                    <a:lnTo>
                      <a:pt x="1490" y="148"/>
                    </a:lnTo>
                    <a:lnTo>
                      <a:pt x="1528" y="129"/>
                    </a:lnTo>
                    <a:lnTo>
                      <a:pt x="1601" y="100"/>
                    </a:lnTo>
                    <a:lnTo>
                      <a:pt x="1575" y="64"/>
                    </a:lnTo>
                    <a:lnTo>
                      <a:pt x="1624" y="89"/>
                    </a:lnTo>
                    <a:lnTo>
                      <a:pt x="1609" y="57"/>
                    </a:lnTo>
                    <a:lnTo>
                      <a:pt x="1655" y="100"/>
                    </a:lnTo>
                    <a:lnTo>
                      <a:pt x="1620" y="29"/>
                    </a:lnTo>
                    <a:lnTo>
                      <a:pt x="1585" y="0"/>
                    </a:lnTo>
                    <a:lnTo>
                      <a:pt x="982" y="116"/>
                    </a:lnTo>
                    <a:lnTo>
                      <a:pt x="483" y="181"/>
                    </a:lnTo>
                    <a:lnTo>
                      <a:pt x="475" y="237"/>
                    </a:lnTo>
                    <a:lnTo>
                      <a:pt x="448" y="255"/>
                    </a:lnTo>
                    <a:lnTo>
                      <a:pt x="413" y="317"/>
                    </a:lnTo>
                    <a:lnTo>
                      <a:pt x="386" y="313"/>
                    </a:lnTo>
                    <a:lnTo>
                      <a:pt x="355" y="330"/>
                    </a:lnTo>
                    <a:lnTo>
                      <a:pt x="334" y="361"/>
                    </a:lnTo>
                    <a:lnTo>
                      <a:pt x="305" y="341"/>
                    </a:lnTo>
                    <a:lnTo>
                      <a:pt x="260" y="380"/>
                    </a:lnTo>
                    <a:lnTo>
                      <a:pt x="254" y="413"/>
                    </a:lnTo>
                    <a:lnTo>
                      <a:pt x="62" y="526"/>
                    </a:lnTo>
                    <a:lnTo>
                      <a:pt x="51" y="570"/>
                    </a:lnTo>
                    <a:lnTo>
                      <a:pt x="0" y="595"/>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11" name="Freeform 74"/>
              <p:cNvSpPr>
                <a:spLocks/>
              </p:cNvSpPr>
              <p:nvPr/>
            </p:nvSpPr>
            <p:spPr bwMode="gray">
              <a:xfrm>
                <a:off x="2466097" y="1426215"/>
                <a:ext cx="636343" cy="401490"/>
              </a:xfrm>
              <a:custGeom>
                <a:avLst/>
                <a:gdLst>
                  <a:gd name="T0" fmla="*/ 0 w 1305"/>
                  <a:gd name="T1" fmla="*/ 757 h 823"/>
                  <a:gd name="T2" fmla="*/ 67 w 1305"/>
                  <a:gd name="T3" fmla="*/ 0 h 823"/>
                  <a:gd name="T4" fmla="*/ 710 w 1305"/>
                  <a:gd name="T5" fmla="*/ 45 h 823"/>
                  <a:gd name="T6" fmla="*/ 1204 w 1305"/>
                  <a:gd name="T7" fmla="*/ 61 h 823"/>
                  <a:gd name="T8" fmla="*/ 1213 w 1305"/>
                  <a:gd name="T9" fmla="*/ 267 h 823"/>
                  <a:gd name="T10" fmla="*/ 1263 w 1305"/>
                  <a:gd name="T11" fmla="*/ 434 h 823"/>
                  <a:gd name="T12" fmla="*/ 1270 w 1305"/>
                  <a:gd name="T13" fmla="*/ 650 h 823"/>
                  <a:gd name="T14" fmla="*/ 1305 w 1305"/>
                  <a:gd name="T15" fmla="*/ 823 h 823"/>
                  <a:gd name="T16" fmla="*/ 618 w 1305"/>
                  <a:gd name="T17" fmla="*/ 802 h 823"/>
                  <a:gd name="T18" fmla="*/ 0 w 1305"/>
                  <a:gd name="T19" fmla="*/ 757 h 8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05"/>
                  <a:gd name="T31" fmla="*/ 0 h 823"/>
                  <a:gd name="T32" fmla="*/ 1305 w 1305"/>
                  <a:gd name="T33" fmla="*/ 823 h 8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05" h="823">
                    <a:moveTo>
                      <a:pt x="0" y="757"/>
                    </a:moveTo>
                    <a:lnTo>
                      <a:pt x="67" y="0"/>
                    </a:lnTo>
                    <a:lnTo>
                      <a:pt x="710" y="45"/>
                    </a:lnTo>
                    <a:lnTo>
                      <a:pt x="1204" y="61"/>
                    </a:lnTo>
                    <a:lnTo>
                      <a:pt x="1213" y="267"/>
                    </a:lnTo>
                    <a:lnTo>
                      <a:pt x="1263" y="434"/>
                    </a:lnTo>
                    <a:lnTo>
                      <a:pt x="1270" y="650"/>
                    </a:lnTo>
                    <a:lnTo>
                      <a:pt x="1305" y="823"/>
                    </a:lnTo>
                    <a:lnTo>
                      <a:pt x="618" y="802"/>
                    </a:lnTo>
                    <a:lnTo>
                      <a:pt x="0" y="757"/>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12" name="Freeform 75"/>
              <p:cNvSpPr>
                <a:spLocks/>
              </p:cNvSpPr>
              <p:nvPr/>
            </p:nvSpPr>
            <p:spPr bwMode="gray">
              <a:xfrm>
                <a:off x="4158788" y="2207757"/>
                <a:ext cx="405388" cy="457036"/>
              </a:xfrm>
              <a:custGeom>
                <a:avLst/>
                <a:gdLst>
                  <a:gd name="T0" fmla="*/ 0 w 830"/>
                  <a:gd name="T1" fmla="*/ 170 h 938"/>
                  <a:gd name="T2" fmla="*/ 70 w 830"/>
                  <a:gd name="T3" fmla="*/ 821 h 938"/>
                  <a:gd name="T4" fmla="*/ 130 w 830"/>
                  <a:gd name="T5" fmla="*/ 818 h 938"/>
                  <a:gd name="T6" fmla="*/ 170 w 830"/>
                  <a:gd name="T7" fmla="*/ 832 h 938"/>
                  <a:gd name="T8" fmla="*/ 191 w 830"/>
                  <a:gd name="T9" fmla="*/ 875 h 938"/>
                  <a:gd name="T10" fmla="*/ 256 w 830"/>
                  <a:gd name="T11" fmla="*/ 886 h 938"/>
                  <a:gd name="T12" fmla="*/ 296 w 830"/>
                  <a:gd name="T13" fmla="*/ 909 h 938"/>
                  <a:gd name="T14" fmla="*/ 385 w 830"/>
                  <a:gd name="T15" fmla="*/ 904 h 938"/>
                  <a:gd name="T16" fmla="*/ 428 w 830"/>
                  <a:gd name="T17" fmla="*/ 875 h 938"/>
                  <a:gd name="T18" fmla="*/ 523 w 830"/>
                  <a:gd name="T19" fmla="*/ 938 h 938"/>
                  <a:gd name="T20" fmla="*/ 586 w 830"/>
                  <a:gd name="T21" fmla="*/ 885 h 938"/>
                  <a:gd name="T22" fmla="*/ 597 w 830"/>
                  <a:gd name="T23" fmla="*/ 783 h 938"/>
                  <a:gd name="T24" fmla="*/ 637 w 830"/>
                  <a:gd name="T25" fmla="*/ 805 h 938"/>
                  <a:gd name="T26" fmla="*/ 656 w 830"/>
                  <a:gd name="T27" fmla="*/ 717 h 938"/>
                  <a:gd name="T28" fmla="*/ 761 w 830"/>
                  <a:gd name="T29" fmla="*/ 640 h 938"/>
                  <a:gd name="T30" fmla="*/ 795 w 830"/>
                  <a:gd name="T31" fmla="*/ 595 h 938"/>
                  <a:gd name="T32" fmla="*/ 820 w 830"/>
                  <a:gd name="T33" fmla="*/ 390 h 938"/>
                  <a:gd name="T34" fmla="*/ 803 w 830"/>
                  <a:gd name="T35" fmla="*/ 347 h 938"/>
                  <a:gd name="T36" fmla="*/ 830 w 830"/>
                  <a:gd name="T37" fmla="*/ 327 h 938"/>
                  <a:gd name="T38" fmla="*/ 776 w 830"/>
                  <a:gd name="T39" fmla="*/ 0 h 938"/>
                  <a:gd name="T40" fmla="*/ 693 w 830"/>
                  <a:gd name="T41" fmla="*/ 40 h 938"/>
                  <a:gd name="T42" fmla="*/ 637 w 830"/>
                  <a:gd name="T43" fmla="*/ 73 h 938"/>
                  <a:gd name="T44" fmla="*/ 613 w 830"/>
                  <a:gd name="T45" fmla="*/ 107 h 938"/>
                  <a:gd name="T46" fmla="*/ 565 w 830"/>
                  <a:gd name="T47" fmla="*/ 151 h 938"/>
                  <a:gd name="T48" fmla="*/ 513 w 830"/>
                  <a:gd name="T49" fmla="*/ 156 h 938"/>
                  <a:gd name="T50" fmla="*/ 461 w 830"/>
                  <a:gd name="T51" fmla="*/ 182 h 938"/>
                  <a:gd name="T52" fmla="*/ 435 w 830"/>
                  <a:gd name="T53" fmla="*/ 196 h 938"/>
                  <a:gd name="T54" fmla="*/ 400 w 830"/>
                  <a:gd name="T55" fmla="*/ 177 h 938"/>
                  <a:gd name="T56" fmla="*/ 353 w 830"/>
                  <a:gd name="T57" fmla="*/ 198 h 938"/>
                  <a:gd name="T58" fmla="*/ 345 w 830"/>
                  <a:gd name="T59" fmla="*/ 189 h 938"/>
                  <a:gd name="T60" fmla="*/ 390 w 830"/>
                  <a:gd name="T61" fmla="*/ 164 h 938"/>
                  <a:gd name="T62" fmla="*/ 387 w 830"/>
                  <a:gd name="T63" fmla="*/ 162 h 938"/>
                  <a:gd name="T64" fmla="*/ 365 w 830"/>
                  <a:gd name="T65" fmla="*/ 155 h 938"/>
                  <a:gd name="T66" fmla="*/ 348 w 830"/>
                  <a:gd name="T67" fmla="*/ 171 h 938"/>
                  <a:gd name="T68" fmla="*/ 273 w 830"/>
                  <a:gd name="T69" fmla="*/ 137 h 938"/>
                  <a:gd name="T70" fmla="*/ 242 w 830"/>
                  <a:gd name="T71" fmla="*/ 151 h 938"/>
                  <a:gd name="T72" fmla="*/ 248 w 830"/>
                  <a:gd name="T73" fmla="*/ 131 h 938"/>
                  <a:gd name="T74" fmla="*/ 0 w 830"/>
                  <a:gd name="T75" fmla="*/ 170 h 93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830"/>
                  <a:gd name="T115" fmla="*/ 0 h 938"/>
                  <a:gd name="T116" fmla="*/ 830 w 830"/>
                  <a:gd name="T117" fmla="*/ 938 h 93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830" h="938">
                    <a:moveTo>
                      <a:pt x="0" y="170"/>
                    </a:moveTo>
                    <a:lnTo>
                      <a:pt x="70" y="821"/>
                    </a:lnTo>
                    <a:lnTo>
                      <a:pt x="130" y="818"/>
                    </a:lnTo>
                    <a:lnTo>
                      <a:pt x="170" y="832"/>
                    </a:lnTo>
                    <a:lnTo>
                      <a:pt x="191" y="875"/>
                    </a:lnTo>
                    <a:lnTo>
                      <a:pt x="256" y="886"/>
                    </a:lnTo>
                    <a:lnTo>
                      <a:pt x="296" y="909"/>
                    </a:lnTo>
                    <a:lnTo>
                      <a:pt x="385" y="904"/>
                    </a:lnTo>
                    <a:lnTo>
                      <a:pt x="428" y="875"/>
                    </a:lnTo>
                    <a:lnTo>
                      <a:pt x="523" y="938"/>
                    </a:lnTo>
                    <a:lnTo>
                      <a:pt x="586" y="885"/>
                    </a:lnTo>
                    <a:lnTo>
                      <a:pt x="597" y="783"/>
                    </a:lnTo>
                    <a:lnTo>
                      <a:pt x="637" y="805"/>
                    </a:lnTo>
                    <a:lnTo>
                      <a:pt x="656" y="717"/>
                    </a:lnTo>
                    <a:lnTo>
                      <a:pt x="761" y="640"/>
                    </a:lnTo>
                    <a:lnTo>
                      <a:pt x="795" y="595"/>
                    </a:lnTo>
                    <a:lnTo>
                      <a:pt x="820" y="390"/>
                    </a:lnTo>
                    <a:lnTo>
                      <a:pt x="803" y="347"/>
                    </a:lnTo>
                    <a:lnTo>
                      <a:pt x="830" y="327"/>
                    </a:lnTo>
                    <a:lnTo>
                      <a:pt x="776" y="0"/>
                    </a:lnTo>
                    <a:lnTo>
                      <a:pt x="693" y="40"/>
                    </a:lnTo>
                    <a:lnTo>
                      <a:pt x="637" y="73"/>
                    </a:lnTo>
                    <a:lnTo>
                      <a:pt x="613" y="107"/>
                    </a:lnTo>
                    <a:lnTo>
                      <a:pt x="565" y="151"/>
                    </a:lnTo>
                    <a:lnTo>
                      <a:pt x="513" y="156"/>
                    </a:lnTo>
                    <a:lnTo>
                      <a:pt x="461" y="182"/>
                    </a:lnTo>
                    <a:lnTo>
                      <a:pt x="435" y="196"/>
                    </a:lnTo>
                    <a:lnTo>
                      <a:pt x="400" y="177"/>
                    </a:lnTo>
                    <a:lnTo>
                      <a:pt x="353" y="198"/>
                    </a:lnTo>
                    <a:lnTo>
                      <a:pt x="345" y="189"/>
                    </a:lnTo>
                    <a:lnTo>
                      <a:pt x="390" y="164"/>
                    </a:lnTo>
                    <a:lnTo>
                      <a:pt x="387" y="162"/>
                    </a:lnTo>
                    <a:lnTo>
                      <a:pt x="365" y="155"/>
                    </a:lnTo>
                    <a:lnTo>
                      <a:pt x="348" y="171"/>
                    </a:lnTo>
                    <a:lnTo>
                      <a:pt x="273" y="137"/>
                    </a:lnTo>
                    <a:lnTo>
                      <a:pt x="242" y="151"/>
                    </a:lnTo>
                    <a:lnTo>
                      <a:pt x="248" y="131"/>
                    </a:lnTo>
                    <a:lnTo>
                      <a:pt x="0" y="170"/>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13" name="Freeform 76"/>
              <p:cNvSpPr>
                <a:spLocks/>
              </p:cNvSpPr>
              <p:nvPr/>
            </p:nvSpPr>
            <p:spPr bwMode="gray">
              <a:xfrm>
                <a:off x="2463174" y="2894773"/>
                <a:ext cx="834164" cy="437546"/>
              </a:xfrm>
              <a:custGeom>
                <a:avLst/>
                <a:gdLst>
                  <a:gd name="T0" fmla="*/ 0 w 1712"/>
                  <a:gd name="T1" fmla="*/ 131 h 896"/>
                  <a:gd name="T2" fmla="*/ 11 w 1712"/>
                  <a:gd name="T3" fmla="*/ 0 h 896"/>
                  <a:gd name="T4" fmla="*/ 200 w 1712"/>
                  <a:gd name="T5" fmla="*/ 14 h 896"/>
                  <a:gd name="T6" fmla="*/ 1038 w 1712"/>
                  <a:gd name="T7" fmla="*/ 54 h 896"/>
                  <a:gd name="T8" fmla="*/ 1668 w 1712"/>
                  <a:gd name="T9" fmla="*/ 52 h 896"/>
                  <a:gd name="T10" fmla="*/ 1672 w 1712"/>
                  <a:gd name="T11" fmla="*/ 182 h 896"/>
                  <a:gd name="T12" fmla="*/ 1712 w 1712"/>
                  <a:gd name="T13" fmla="*/ 462 h 896"/>
                  <a:gd name="T14" fmla="*/ 1705 w 1712"/>
                  <a:gd name="T15" fmla="*/ 896 h 896"/>
                  <a:gd name="T16" fmla="*/ 1652 w 1712"/>
                  <a:gd name="T17" fmla="*/ 877 h 896"/>
                  <a:gd name="T18" fmla="*/ 1567 w 1712"/>
                  <a:gd name="T19" fmla="*/ 820 h 896"/>
                  <a:gd name="T20" fmla="*/ 1534 w 1712"/>
                  <a:gd name="T21" fmla="*/ 836 h 896"/>
                  <a:gd name="T22" fmla="*/ 1423 w 1712"/>
                  <a:gd name="T23" fmla="*/ 847 h 896"/>
                  <a:gd name="T24" fmla="*/ 1313 w 1712"/>
                  <a:gd name="T25" fmla="*/ 882 h 896"/>
                  <a:gd name="T26" fmla="*/ 1270 w 1712"/>
                  <a:gd name="T27" fmla="*/ 841 h 896"/>
                  <a:gd name="T28" fmla="*/ 1216 w 1712"/>
                  <a:gd name="T29" fmla="*/ 850 h 896"/>
                  <a:gd name="T30" fmla="*/ 1205 w 1712"/>
                  <a:gd name="T31" fmla="*/ 821 h 896"/>
                  <a:gd name="T32" fmla="*/ 1165 w 1712"/>
                  <a:gd name="T33" fmla="*/ 848 h 896"/>
                  <a:gd name="T34" fmla="*/ 1158 w 1712"/>
                  <a:gd name="T35" fmla="*/ 883 h 896"/>
                  <a:gd name="T36" fmla="*/ 1144 w 1712"/>
                  <a:gd name="T37" fmla="*/ 836 h 896"/>
                  <a:gd name="T38" fmla="*/ 1106 w 1712"/>
                  <a:gd name="T39" fmla="*/ 861 h 896"/>
                  <a:gd name="T40" fmla="*/ 1043 w 1712"/>
                  <a:gd name="T41" fmla="*/ 811 h 896"/>
                  <a:gd name="T42" fmla="*/ 1009 w 1712"/>
                  <a:gd name="T43" fmla="*/ 848 h 896"/>
                  <a:gd name="T44" fmla="*/ 986 w 1712"/>
                  <a:gd name="T45" fmla="*/ 829 h 896"/>
                  <a:gd name="T46" fmla="*/ 956 w 1712"/>
                  <a:gd name="T47" fmla="*/ 768 h 896"/>
                  <a:gd name="T48" fmla="*/ 903 w 1712"/>
                  <a:gd name="T49" fmla="*/ 764 h 896"/>
                  <a:gd name="T50" fmla="*/ 896 w 1712"/>
                  <a:gd name="T51" fmla="*/ 783 h 896"/>
                  <a:gd name="T52" fmla="*/ 858 w 1712"/>
                  <a:gd name="T53" fmla="*/ 758 h 896"/>
                  <a:gd name="T54" fmla="*/ 828 w 1712"/>
                  <a:gd name="T55" fmla="*/ 769 h 896"/>
                  <a:gd name="T56" fmla="*/ 787 w 1712"/>
                  <a:gd name="T57" fmla="*/ 749 h 896"/>
                  <a:gd name="T58" fmla="*/ 738 w 1712"/>
                  <a:gd name="T59" fmla="*/ 744 h 896"/>
                  <a:gd name="T60" fmla="*/ 740 w 1712"/>
                  <a:gd name="T61" fmla="*/ 712 h 896"/>
                  <a:gd name="T62" fmla="*/ 706 w 1712"/>
                  <a:gd name="T63" fmla="*/ 683 h 896"/>
                  <a:gd name="T64" fmla="*/ 695 w 1712"/>
                  <a:gd name="T65" fmla="*/ 703 h 896"/>
                  <a:gd name="T66" fmla="*/ 637 w 1712"/>
                  <a:gd name="T67" fmla="*/ 700 h 896"/>
                  <a:gd name="T68" fmla="*/ 578 w 1712"/>
                  <a:gd name="T69" fmla="*/ 651 h 896"/>
                  <a:gd name="T70" fmla="*/ 598 w 1712"/>
                  <a:gd name="T71" fmla="*/ 165 h 896"/>
                  <a:gd name="T72" fmla="*/ 0 w 1712"/>
                  <a:gd name="T73" fmla="*/ 131 h 89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712"/>
                  <a:gd name="T112" fmla="*/ 0 h 896"/>
                  <a:gd name="T113" fmla="*/ 1712 w 1712"/>
                  <a:gd name="T114" fmla="*/ 896 h 89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712" h="896">
                    <a:moveTo>
                      <a:pt x="0" y="131"/>
                    </a:moveTo>
                    <a:lnTo>
                      <a:pt x="11" y="0"/>
                    </a:lnTo>
                    <a:lnTo>
                      <a:pt x="200" y="14"/>
                    </a:lnTo>
                    <a:lnTo>
                      <a:pt x="1038" y="54"/>
                    </a:lnTo>
                    <a:lnTo>
                      <a:pt x="1668" y="52"/>
                    </a:lnTo>
                    <a:lnTo>
                      <a:pt x="1672" y="182"/>
                    </a:lnTo>
                    <a:lnTo>
                      <a:pt x="1712" y="462"/>
                    </a:lnTo>
                    <a:lnTo>
                      <a:pt x="1705" y="896"/>
                    </a:lnTo>
                    <a:lnTo>
                      <a:pt x="1652" y="877"/>
                    </a:lnTo>
                    <a:lnTo>
                      <a:pt x="1567" y="820"/>
                    </a:lnTo>
                    <a:lnTo>
                      <a:pt x="1534" y="836"/>
                    </a:lnTo>
                    <a:lnTo>
                      <a:pt x="1423" y="847"/>
                    </a:lnTo>
                    <a:lnTo>
                      <a:pt x="1313" y="882"/>
                    </a:lnTo>
                    <a:lnTo>
                      <a:pt x="1270" y="841"/>
                    </a:lnTo>
                    <a:lnTo>
                      <a:pt x="1216" y="850"/>
                    </a:lnTo>
                    <a:lnTo>
                      <a:pt x="1205" y="821"/>
                    </a:lnTo>
                    <a:lnTo>
                      <a:pt x="1165" y="848"/>
                    </a:lnTo>
                    <a:lnTo>
                      <a:pt x="1158" y="883"/>
                    </a:lnTo>
                    <a:lnTo>
                      <a:pt x="1144" y="836"/>
                    </a:lnTo>
                    <a:lnTo>
                      <a:pt x="1106" y="861"/>
                    </a:lnTo>
                    <a:lnTo>
                      <a:pt x="1043" y="811"/>
                    </a:lnTo>
                    <a:lnTo>
                      <a:pt x="1009" y="848"/>
                    </a:lnTo>
                    <a:lnTo>
                      <a:pt x="986" y="829"/>
                    </a:lnTo>
                    <a:lnTo>
                      <a:pt x="956" y="768"/>
                    </a:lnTo>
                    <a:lnTo>
                      <a:pt x="903" y="764"/>
                    </a:lnTo>
                    <a:lnTo>
                      <a:pt x="896" y="783"/>
                    </a:lnTo>
                    <a:lnTo>
                      <a:pt x="858" y="758"/>
                    </a:lnTo>
                    <a:lnTo>
                      <a:pt x="828" y="769"/>
                    </a:lnTo>
                    <a:lnTo>
                      <a:pt x="787" y="749"/>
                    </a:lnTo>
                    <a:lnTo>
                      <a:pt x="738" y="744"/>
                    </a:lnTo>
                    <a:lnTo>
                      <a:pt x="740" y="712"/>
                    </a:lnTo>
                    <a:lnTo>
                      <a:pt x="706" y="683"/>
                    </a:lnTo>
                    <a:lnTo>
                      <a:pt x="695" y="703"/>
                    </a:lnTo>
                    <a:lnTo>
                      <a:pt x="637" y="700"/>
                    </a:lnTo>
                    <a:lnTo>
                      <a:pt x="578" y="651"/>
                    </a:lnTo>
                    <a:lnTo>
                      <a:pt x="598" y="165"/>
                    </a:lnTo>
                    <a:lnTo>
                      <a:pt x="0" y="131"/>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14" name="Freeform 77"/>
              <p:cNvSpPr>
                <a:spLocks/>
              </p:cNvSpPr>
              <p:nvPr/>
            </p:nvSpPr>
            <p:spPr bwMode="gray">
              <a:xfrm>
                <a:off x="644775" y="1433037"/>
                <a:ext cx="769848" cy="656807"/>
              </a:xfrm>
              <a:custGeom>
                <a:avLst/>
                <a:gdLst>
                  <a:gd name="T0" fmla="*/ 0 w 1580"/>
                  <a:gd name="T1" fmla="*/ 1004 h 1348"/>
                  <a:gd name="T2" fmla="*/ 25 w 1580"/>
                  <a:gd name="T3" fmla="*/ 761 h 1348"/>
                  <a:gd name="T4" fmla="*/ 148 w 1580"/>
                  <a:gd name="T5" fmla="*/ 564 h 1348"/>
                  <a:gd name="T6" fmla="*/ 343 w 1580"/>
                  <a:gd name="T7" fmla="*/ 0 h 1348"/>
                  <a:gd name="T8" fmla="*/ 440 w 1580"/>
                  <a:gd name="T9" fmla="*/ 30 h 1348"/>
                  <a:gd name="T10" fmla="*/ 445 w 1580"/>
                  <a:gd name="T11" fmla="*/ 55 h 1348"/>
                  <a:gd name="T12" fmla="*/ 471 w 1580"/>
                  <a:gd name="T13" fmla="*/ 59 h 1348"/>
                  <a:gd name="T14" fmla="*/ 520 w 1580"/>
                  <a:gd name="T15" fmla="*/ 156 h 1348"/>
                  <a:gd name="T16" fmla="*/ 512 w 1580"/>
                  <a:gd name="T17" fmla="*/ 188 h 1348"/>
                  <a:gd name="T18" fmla="*/ 589 w 1580"/>
                  <a:gd name="T19" fmla="*/ 254 h 1348"/>
                  <a:gd name="T20" fmla="*/ 724 w 1580"/>
                  <a:gd name="T21" fmla="*/ 249 h 1348"/>
                  <a:gd name="T22" fmla="*/ 824 w 1580"/>
                  <a:gd name="T23" fmla="*/ 294 h 1348"/>
                  <a:gd name="T24" fmla="*/ 872 w 1580"/>
                  <a:gd name="T25" fmla="*/ 284 h 1348"/>
                  <a:gd name="T26" fmla="*/ 1175 w 1580"/>
                  <a:gd name="T27" fmla="*/ 294 h 1348"/>
                  <a:gd name="T28" fmla="*/ 1521 w 1580"/>
                  <a:gd name="T29" fmla="*/ 375 h 1348"/>
                  <a:gd name="T30" fmla="*/ 1539 w 1580"/>
                  <a:gd name="T31" fmla="*/ 418 h 1348"/>
                  <a:gd name="T32" fmla="*/ 1580 w 1580"/>
                  <a:gd name="T33" fmla="*/ 481 h 1348"/>
                  <a:gd name="T34" fmla="*/ 1525 w 1580"/>
                  <a:gd name="T35" fmla="*/ 564 h 1348"/>
                  <a:gd name="T36" fmla="*/ 1464 w 1580"/>
                  <a:gd name="T37" fmla="*/ 660 h 1348"/>
                  <a:gd name="T38" fmla="*/ 1389 w 1580"/>
                  <a:gd name="T39" fmla="*/ 731 h 1348"/>
                  <a:gd name="T40" fmla="*/ 1378 w 1580"/>
                  <a:gd name="T41" fmla="*/ 778 h 1348"/>
                  <a:gd name="T42" fmla="*/ 1421 w 1580"/>
                  <a:gd name="T43" fmla="*/ 830 h 1348"/>
                  <a:gd name="T44" fmla="*/ 1373 w 1580"/>
                  <a:gd name="T45" fmla="*/ 939 h 1348"/>
                  <a:gd name="T46" fmla="*/ 1279 w 1580"/>
                  <a:gd name="T47" fmla="*/ 1348 h 1348"/>
                  <a:gd name="T48" fmla="*/ 744 w 1580"/>
                  <a:gd name="T49" fmla="*/ 1214 h 1348"/>
                  <a:gd name="T50" fmla="*/ 0 w 1580"/>
                  <a:gd name="T51" fmla="*/ 1004 h 134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80"/>
                  <a:gd name="T79" fmla="*/ 0 h 1348"/>
                  <a:gd name="T80" fmla="*/ 1580 w 1580"/>
                  <a:gd name="T81" fmla="*/ 1348 h 134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80" h="1348">
                    <a:moveTo>
                      <a:pt x="0" y="1004"/>
                    </a:moveTo>
                    <a:lnTo>
                      <a:pt x="25" y="761"/>
                    </a:lnTo>
                    <a:lnTo>
                      <a:pt x="148" y="564"/>
                    </a:lnTo>
                    <a:lnTo>
                      <a:pt x="343" y="0"/>
                    </a:lnTo>
                    <a:lnTo>
                      <a:pt x="440" y="30"/>
                    </a:lnTo>
                    <a:lnTo>
                      <a:pt x="445" y="55"/>
                    </a:lnTo>
                    <a:lnTo>
                      <a:pt x="471" y="59"/>
                    </a:lnTo>
                    <a:lnTo>
                      <a:pt x="520" y="156"/>
                    </a:lnTo>
                    <a:lnTo>
                      <a:pt x="512" y="188"/>
                    </a:lnTo>
                    <a:lnTo>
                      <a:pt x="589" y="254"/>
                    </a:lnTo>
                    <a:lnTo>
                      <a:pt x="724" y="249"/>
                    </a:lnTo>
                    <a:lnTo>
                      <a:pt x="824" y="294"/>
                    </a:lnTo>
                    <a:lnTo>
                      <a:pt x="872" y="284"/>
                    </a:lnTo>
                    <a:lnTo>
                      <a:pt x="1175" y="294"/>
                    </a:lnTo>
                    <a:lnTo>
                      <a:pt x="1521" y="375"/>
                    </a:lnTo>
                    <a:lnTo>
                      <a:pt x="1539" y="418"/>
                    </a:lnTo>
                    <a:lnTo>
                      <a:pt x="1580" y="481"/>
                    </a:lnTo>
                    <a:lnTo>
                      <a:pt x="1525" y="564"/>
                    </a:lnTo>
                    <a:lnTo>
                      <a:pt x="1464" y="660"/>
                    </a:lnTo>
                    <a:lnTo>
                      <a:pt x="1389" y="731"/>
                    </a:lnTo>
                    <a:lnTo>
                      <a:pt x="1378" y="778"/>
                    </a:lnTo>
                    <a:lnTo>
                      <a:pt x="1421" y="830"/>
                    </a:lnTo>
                    <a:lnTo>
                      <a:pt x="1373" y="939"/>
                    </a:lnTo>
                    <a:lnTo>
                      <a:pt x="1279" y="1348"/>
                    </a:lnTo>
                    <a:lnTo>
                      <a:pt x="744" y="1214"/>
                    </a:lnTo>
                    <a:lnTo>
                      <a:pt x="0" y="1004"/>
                    </a:lnTo>
                    <a:close/>
                  </a:path>
                </a:pathLst>
              </a:custGeom>
              <a:pattFill prst="wdUpDiag">
                <a:fgClr>
                  <a:schemeClr val="accent1">
                    <a:lumMod val="40000"/>
                    <a:lumOff val="60000"/>
                  </a:schemeClr>
                </a:fgClr>
                <a:bgClr>
                  <a:schemeClr val="bg1"/>
                </a:bgClr>
              </a:pattFill>
              <a:ln w="9525">
                <a:solidFill>
                  <a:schemeClr val="tx1"/>
                </a:solidFill>
                <a:round/>
                <a:headEnd/>
                <a:tailEnd/>
              </a:ln>
            </p:spPr>
            <p:txBody>
              <a:bodyPr/>
              <a:lstStyle/>
              <a:p>
                <a:pPr>
                  <a:defRPr/>
                </a:pPr>
                <a:endParaRPr lang="en-US" sz="1100" dirty="0">
                  <a:latin typeface="+mj-lt"/>
                </a:endParaRPr>
              </a:p>
            </p:txBody>
          </p:sp>
          <p:sp>
            <p:nvSpPr>
              <p:cNvPr id="115" name="Freeform 78"/>
              <p:cNvSpPr>
                <a:spLocks/>
              </p:cNvSpPr>
              <p:nvPr/>
            </p:nvSpPr>
            <p:spPr bwMode="gray">
              <a:xfrm>
                <a:off x="4537864" y="2118104"/>
                <a:ext cx="561307" cy="361536"/>
              </a:xfrm>
              <a:custGeom>
                <a:avLst/>
                <a:gdLst>
                  <a:gd name="T0" fmla="*/ 0 w 1153"/>
                  <a:gd name="T1" fmla="*/ 183 h 741"/>
                  <a:gd name="T2" fmla="*/ 54 w 1153"/>
                  <a:gd name="T3" fmla="*/ 510 h 741"/>
                  <a:gd name="T4" fmla="*/ 92 w 1153"/>
                  <a:gd name="T5" fmla="*/ 741 h 741"/>
                  <a:gd name="T6" fmla="*/ 284 w 1153"/>
                  <a:gd name="T7" fmla="*/ 709 h 741"/>
                  <a:gd name="T8" fmla="*/ 977 w 1153"/>
                  <a:gd name="T9" fmla="*/ 576 h 741"/>
                  <a:gd name="T10" fmla="*/ 1006 w 1153"/>
                  <a:gd name="T11" fmla="*/ 542 h 741"/>
                  <a:gd name="T12" fmla="*/ 1046 w 1153"/>
                  <a:gd name="T13" fmla="*/ 542 h 741"/>
                  <a:gd name="T14" fmla="*/ 1091 w 1153"/>
                  <a:gd name="T15" fmla="*/ 511 h 741"/>
                  <a:gd name="T16" fmla="*/ 1114 w 1153"/>
                  <a:gd name="T17" fmla="*/ 462 h 741"/>
                  <a:gd name="T18" fmla="*/ 1153 w 1153"/>
                  <a:gd name="T19" fmla="*/ 425 h 741"/>
                  <a:gd name="T20" fmla="*/ 1041 w 1153"/>
                  <a:gd name="T21" fmla="*/ 333 h 741"/>
                  <a:gd name="T22" fmla="*/ 1038 w 1153"/>
                  <a:gd name="T23" fmla="*/ 246 h 741"/>
                  <a:gd name="T24" fmla="*/ 1090 w 1153"/>
                  <a:gd name="T25" fmla="*/ 130 h 741"/>
                  <a:gd name="T26" fmla="*/ 1015 w 1153"/>
                  <a:gd name="T27" fmla="*/ 87 h 741"/>
                  <a:gd name="T28" fmla="*/ 984 w 1153"/>
                  <a:gd name="T29" fmla="*/ 28 h 741"/>
                  <a:gd name="T30" fmla="*/ 931 w 1153"/>
                  <a:gd name="T31" fmla="*/ 0 h 741"/>
                  <a:gd name="T32" fmla="*/ 166 w 1153"/>
                  <a:gd name="T33" fmla="*/ 146 h 741"/>
                  <a:gd name="T34" fmla="*/ 128 w 1153"/>
                  <a:gd name="T35" fmla="*/ 87 h 741"/>
                  <a:gd name="T36" fmla="*/ 0 w 1153"/>
                  <a:gd name="T37" fmla="*/ 183 h 74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153"/>
                  <a:gd name="T58" fmla="*/ 0 h 741"/>
                  <a:gd name="T59" fmla="*/ 1153 w 1153"/>
                  <a:gd name="T60" fmla="*/ 741 h 74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153" h="741">
                    <a:moveTo>
                      <a:pt x="0" y="183"/>
                    </a:moveTo>
                    <a:lnTo>
                      <a:pt x="54" y="510"/>
                    </a:lnTo>
                    <a:lnTo>
                      <a:pt x="92" y="741"/>
                    </a:lnTo>
                    <a:lnTo>
                      <a:pt x="284" y="709"/>
                    </a:lnTo>
                    <a:lnTo>
                      <a:pt x="977" y="576"/>
                    </a:lnTo>
                    <a:lnTo>
                      <a:pt x="1006" y="542"/>
                    </a:lnTo>
                    <a:lnTo>
                      <a:pt x="1046" y="542"/>
                    </a:lnTo>
                    <a:lnTo>
                      <a:pt x="1091" y="511"/>
                    </a:lnTo>
                    <a:lnTo>
                      <a:pt x="1114" y="462"/>
                    </a:lnTo>
                    <a:lnTo>
                      <a:pt x="1153" y="425"/>
                    </a:lnTo>
                    <a:lnTo>
                      <a:pt x="1041" y="333"/>
                    </a:lnTo>
                    <a:lnTo>
                      <a:pt x="1038" y="246"/>
                    </a:lnTo>
                    <a:lnTo>
                      <a:pt x="1090" y="130"/>
                    </a:lnTo>
                    <a:lnTo>
                      <a:pt x="1015" y="87"/>
                    </a:lnTo>
                    <a:lnTo>
                      <a:pt x="984" y="28"/>
                    </a:lnTo>
                    <a:lnTo>
                      <a:pt x="931" y="0"/>
                    </a:lnTo>
                    <a:lnTo>
                      <a:pt x="166" y="146"/>
                    </a:lnTo>
                    <a:lnTo>
                      <a:pt x="128" y="87"/>
                    </a:lnTo>
                    <a:lnTo>
                      <a:pt x="0" y="183"/>
                    </a:lnTo>
                    <a:close/>
                  </a:path>
                </a:pathLst>
              </a:custGeom>
              <a:pattFill prst="wdUpDiag">
                <a:fgClr>
                  <a:schemeClr val="accent1">
                    <a:lumMod val="40000"/>
                    <a:lumOff val="60000"/>
                  </a:schemeClr>
                </a:fgClr>
                <a:bgClr>
                  <a:schemeClr val="accent6">
                    <a:lumMod val="40000"/>
                    <a:lumOff val="60000"/>
                  </a:schemeClr>
                </a:bgClr>
              </a:pattFill>
              <a:ln w="9525">
                <a:solidFill>
                  <a:schemeClr val="tx1"/>
                </a:solidFill>
                <a:round/>
                <a:headEnd/>
                <a:tailEnd/>
              </a:ln>
            </p:spPr>
            <p:txBody>
              <a:bodyPr/>
              <a:lstStyle/>
              <a:p>
                <a:pPr>
                  <a:defRPr/>
                </a:pPr>
                <a:endParaRPr lang="en-US" sz="1100" dirty="0">
                  <a:latin typeface="+mj-lt"/>
                </a:endParaRPr>
              </a:p>
            </p:txBody>
          </p:sp>
          <p:sp>
            <p:nvSpPr>
              <p:cNvPr id="116" name="Freeform 79"/>
              <p:cNvSpPr>
                <a:spLocks/>
              </p:cNvSpPr>
              <p:nvPr/>
            </p:nvSpPr>
            <p:spPr bwMode="gray">
              <a:xfrm>
                <a:off x="5307712" y="2034297"/>
                <a:ext cx="75036" cy="93551"/>
              </a:xfrm>
              <a:custGeom>
                <a:avLst/>
                <a:gdLst>
                  <a:gd name="T0" fmla="*/ 0 w 154"/>
                  <a:gd name="T1" fmla="*/ 19 h 192"/>
                  <a:gd name="T2" fmla="*/ 33 w 154"/>
                  <a:gd name="T3" fmla="*/ 183 h 192"/>
                  <a:gd name="T4" fmla="*/ 39 w 154"/>
                  <a:gd name="T5" fmla="*/ 192 h 192"/>
                  <a:gd name="T6" fmla="*/ 97 w 154"/>
                  <a:gd name="T7" fmla="*/ 159 h 192"/>
                  <a:gd name="T8" fmla="*/ 89 w 154"/>
                  <a:gd name="T9" fmla="*/ 109 h 192"/>
                  <a:gd name="T10" fmla="*/ 99 w 154"/>
                  <a:gd name="T11" fmla="*/ 85 h 192"/>
                  <a:gd name="T12" fmla="*/ 115 w 154"/>
                  <a:gd name="T13" fmla="*/ 102 h 192"/>
                  <a:gd name="T14" fmla="*/ 121 w 154"/>
                  <a:gd name="T15" fmla="*/ 137 h 192"/>
                  <a:gd name="T16" fmla="*/ 132 w 154"/>
                  <a:gd name="T17" fmla="*/ 135 h 192"/>
                  <a:gd name="T18" fmla="*/ 154 w 154"/>
                  <a:gd name="T19" fmla="*/ 102 h 192"/>
                  <a:gd name="T20" fmla="*/ 132 w 154"/>
                  <a:gd name="T21" fmla="*/ 61 h 192"/>
                  <a:gd name="T22" fmla="*/ 98 w 154"/>
                  <a:gd name="T23" fmla="*/ 55 h 192"/>
                  <a:gd name="T24" fmla="*/ 76 w 154"/>
                  <a:gd name="T25" fmla="*/ 5 h 192"/>
                  <a:gd name="T26" fmla="*/ 53 w 154"/>
                  <a:gd name="T27" fmla="*/ 0 h 192"/>
                  <a:gd name="T28" fmla="*/ 0 w 154"/>
                  <a:gd name="T29" fmla="*/ 19 h 19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54"/>
                  <a:gd name="T46" fmla="*/ 0 h 192"/>
                  <a:gd name="T47" fmla="*/ 154 w 154"/>
                  <a:gd name="T48" fmla="*/ 192 h 19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54" h="192">
                    <a:moveTo>
                      <a:pt x="0" y="19"/>
                    </a:moveTo>
                    <a:lnTo>
                      <a:pt x="33" y="183"/>
                    </a:lnTo>
                    <a:lnTo>
                      <a:pt x="39" y="192"/>
                    </a:lnTo>
                    <a:lnTo>
                      <a:pt x="97" y="159"/>
                    </a:lnTo>
                    <a:lnTo>
                      <a:pt x="89" y="109"/>
                    </a:lnTo>
                    <a:lnTo>
                      <a:pt x="99" y="85"/>
                    </a:lnTo>
                    <a:lnTo>
                      <a:pt x="115" y="102"/>
                    </a:lnTo>
                    <a:lnTo>
                      <a:pt x="121" y="137"/>
                    </a:lnTo>
                    <a:lnTo>
                      <a:pt x="132" y="135"/>
                    </a:lnTo>
                    <a:lnTo>
                      <a:pt x="154" y="102"/>
                    </a:lnTo>
                    <a:lnTo>
                      <a:pt x="132" y="61"/>
                    </a:lnTo>
                    <a:lnTo>
                      <a:pt x="98" y="55"/>
                    </a:lnTo>
                    <a:lnTo>
                      <a:pt x="76" y="5"/>
                    </a:lnTo>
                    <a:lnTo>
                      <a:pt x="53" y="0"/>
                    </a:lnTo>
                    <a:lnTo>
                      <a:pt x="0" y="19"/>
                    </a:lnTo>
                    <a:close/>
                  </a:path>
                </a:pathLst>
              </a:custGeom>
              <a:solidFill>
                <a:schemeClr val="accent1">
                  <a:lumMod val="40000"/>
                  <a:lumOff val="60000"/>
                </a:schemeClr>
              </a:solidFill>
              <a:ln w="9525">
                <a:solidFill>
                  <a:schemeClr val="tx1"/>
                </a:solidFill>
                <a:round/>
                <a:headEnd/>
                <a:tailEnd/>
              </a:ln>
            </p:spPr>
            <p:txBody>
              <a:bodyPr/>
              <a:lstStyle/>
              <a:p>
                <a:pPr>
                  <a:defRPr/>
                </a:pPr>
                <a:endParaRPr lang="en-US" sz="1100" dirty="0">
                  <a:latin typeface="+mj-lt"/>
                </a:endParaRPr>
              </a:p>
            </p:txBody>
          </p:sp>
          <p:sp>
            <p:nvSpPr>
              <p:cNvPr id="117" name="Freeform 80"/>
              <p:cNvSpPr>
                <a:spLocks/>
              </p:cNvSpPr>
              <p:nvPr/>
            </p:nvSpPr>
            <p:spPr bwMode="gray">
              <a:xfrm>
                <a:off x="4398512" y="3039972"/>
                <a:ext cx="491143" cy="376153"/>
              </a:xfrm>
              <a:custGeom>
                <a:avLst/>
                <a:gdLst>
                  <a:gd name="T0" fmla="*/ 0 w 1008"/>
                  <a:gd name="T1" fmla="*/ 181 h 772"/>
                  <a:gd name="T2" fmla="*/ 42 w 1008"/>
                  <a:gd name="T3" fmla="*/ 103 h 772"/>
                  <a:gd name="T4" fmla="*/ 186 w 1008"/>
                  <a:gd name="T5" fmla="*/ 32 h 772"/>
                  <a:gd name="T6" fmla="*/ 455 w 1008"/>
                  <a:gd name="T7" fmla="*/ 0 h 772"/>
                  <a:gd name="T8" fmla="*/ 566 w 1008"/>
                  <a:gd name="T9" fmla="*/ 72 h 772"/>
                  <a:gd name="T10" fmla="*/ 742 w 1008"/>
                  <a:gd name="T11" fmla="*/ 46 h 772"/>
                  <a:gd name="T12" fmla="*/ 1008 w 1008"/>
                  <a:gd name="T13" fmla="*/ 238 h 772"/>
                  <a:gd name="T14" fmla="*/ 931 w 1008"/>
                  <a:gd name="T15" fmla="*/ 326 h 772"/>
                  <a:gd name="T16" fmla="*/ 890 w 1008"/>
                  <a:gd name="T17" fmla="*/ 387 h 772"/>
                  <a:gd name="T18" fmla="*/ 895 w 1008"/>
                  <a:gd name="T19" fmla="*/ 448 h 772"/>
                  <a:gd name="T20" fmla="*/ 825 w 1008"/>
                  <a:gd name="T21" fmla="*/ 506 h 772"/>
                  <a:gd name="T22" fmla="*/ 771 w 1008"/>
                  <a:gd name="T23" fmla="*/ 591 h 772"/>
                  <a:gd name="T24" fmla="*/ 694 w 1008"/>
                  <a:gd name="T25" fmla="*/ 637 h 772"/>
                  <a:gd name="T26" fmla="*/ 661 w 1008"/>
                  <a:gd name="T27" fmla="*/ 643 h 772"/>
                  <a:gd name="T28" fmla="*/ 646 w 1008"/>
                  <a:gd name="T29" fmla="*/ 699 h 772"/>
                  <a:gd name="T30" fmla="*/ 602 w 1008"/>
                  <a:gd name="T31" fmla="*/ 669 h 772"/>
                  <a:gd name="T32" fmla="*/ 641 w 1008"/>
                  <a:gd name="T33" fmla="*/ 720 h 772"/>
                  <a:gd name="T34" fmla="*/ 604 w 1008"/>
                  <a:gd name="T35" fmla="*/ 772 h 772"/>
                  <a:gd name="T36" fmla="*/ 567 w 1008"/>
                  <a:gd name="T37" fmla="*/ 765 h 772"/>
                  <a:gd name="T38" fmla="*/ 543 w 1008"/>
                  <a:gd name="T39" fmla="*/ 734 h 772"/>
                  <a:gd name="T40" fmla="*/ 500 w 1008"/>
                  <a:gd name="T41" fmla="*/ 657 h 772"/>
                  <a:gd name="T42" fmla="*/ 476 w 1008"/>
                  <a:gd name="T43" fmla="*/ 647 h 772"/>
                  <a:gd name="T44" fmla="*/ 428 w 1008"/>
                  <a:gd name="T45" fmla="*/ 545 h 772"/>
                  <a:gd name="T46" fmla="*/ 358 w 1008"/>
                  <a:gd name="T47" fmla="*/ 502 h 772"/>
                  <a:gd name="T48" fmla="*/ 309 w 1008"/>
                  <a:gd name="T49" fmla="*/ 433 h 772"/>
                  <a:gd name="T50" fmla="*/ 188 w 1008"/>
                  <a:gd name="T51" fmla="*/ 345 h 772"/>
                  <a:gd name="T52" fmla="*/ 130 w 1008"/>
                  <a:gd name="T53" fmla="*/ 266 h 772"/>
                  <a:gd name="T54" fmla="*/ 0 w 1008"/>
                  <a:gd name="T55" fmla="*/ 181 h 77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008"/>
                  <a:gd name="T85" fmla="*/ 0 h 772"/>
                  <a:gd name="T86" fmla="*/ 1008 w 1008"/>
                  <a:gd name="T87" fmla="*/ 772 h 77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008" h="772">
                    <a:moveTo>
                      <a:pt x="0" y="181"/>
                    </a:moveTo>
                    <a:lnTo>
                      <a:pt x="42" y="103"/>
                    </a:lnTo>
                    <a:lnTo>
                      <a:pt x="186" y="32"/>
                    </a:lnTo>
                    <a:lnTo>
                      <a:pt x="455" y="0"/>
                    </a:lnTo>
                    <a:lnTo>
                      <a:pt x="566" y="72"/>
                    </a:lnTo>
                    <a:lnTo>
                      <a:pt x="742" y="46"/>
                    </a:lnTo>
                    <a:lnTo>
                      <a:pt x="1008" y="238"/>
                    </a:lnTo>
                    <a:lnTo>
                      <a:pt x="931" y="326"/>
                    </a:lnTo>
                    <a:lnTo>
                      <a:pt x="890" y="387"/>
                    </a:lnTo>
                    <a:lnTo>
                      <a:pt x="895" y="448"/>
                    </a:lnTo>
                    <a:lnTo>
                      <a:pt x="825" y="506"/>
                    </a:lnTo>
                    <a:lnTo>
                      <a:pt x="771" y="591"/>
                    </a:lnTo>
                    <a:lnTo>
                      <a:pt x="694" y="637"/>
                    </a:lnTo>
                    <a:lnTo>
                      <a:pt x="661" y="643"/>
                    </a:lnTo>
                    <a:lnTo>
                      <a:pt x="646" y="699"/>
                    </a:lnTo>
                    <a:lnTo>
                      <a:pt x="602" y="669"/>
                    </a:lnTo>
                    <a:lnTo>
                      <a:pt x="641" y="720"/>
                    </a:lnTo>
                    <a:lnTo>
                      <a:pt x="604" y="772"/>
                    </a:lnTo>
                    <a:lnTo>
                      <a:pt x="567" y="765"/>
                    </a:lnTo>
                    <a:lnTo>
                      <a:pt x="543" y="734"/>
                    </a:lnTo>
                    <a:lnTo>
                      <a:pt x="500" y="657"/>
                    </a:lnTo>
                    <a:lnTo>
                      <a:pt x="476" y="647"/>
                    </a:lnTo>
                    <a:lnTo>
                      <a:pt x="428" y="545"/>
                    </a:lnTo>
                    <a:lnTo>
                      <a:pt x="358" y="502"/>
                    </a:lnTo>
                    <a:lnTo>
                      <a:pt x="309" y="433"/>
                    </a:lnTo>
                    <a:lnTo>
                      <a:pt x="188" y="345"/>
                    </a:lnTo>
                    <a:lnTo>
                      <a:pt x="130" y="266"/>
                    </a:lnTo>
                    <a:lnTo>
                      <a:pt x="0" y="181"/>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18" name="Freeform 81"/>
              <p:cNvSpPr>
                <a:spLocks/>
              </p:cNvSpPr>
              <p:nvPr/>
            </p:nvSpPr>
            <p:spPr bwMode="gray">
              <a:xfrm>
                <a:off x="2432965" y="1795548"/>
                <a:ext cx="679220" cy="456062"/>
              </a:xfrm>
              <a:custGeom>
                <a:avLst/>
                <a:gdLst>
                  <a:gd name="T0" fmla="*/ 0 w 1395"/>
                  <a:gd name="T1" fmla="*/ 733 h 936"/>
                  <a:gd name="T2" fmla="*/ 46 w 1395"/>
                  <a:gd name="T3" fmla="*/ 233 h 936"/>
                  <a:gd name="T4" fmla="*/ 69 w 1395"/>
                  <a:gd name="T5" fmla="*/ 0 h 936"/>
                  <a:gd name="T6" fmla="*/ 687 w 1395"/>
                  <a:gd name="T7" fmla="*/ 45 h 936"/>
                  <a:gd name="T8" fmla="*/ 1374 w 1395"/>
                  <a:gd name="T9" fmla="*/ 66 h 936"/>
                  <a:gd name="T10" fmla="*/ 1328 w 1395"/>
                  <a:gd name="T11" fmla="*/ 155 h 936"/>
                  <a:gd name="T12" fmla="*/ 1395 w 1395"/>
                  <a:gd name="T13" fmla="*/ 220 h 936"/>
                  <a:gd name="T14" fmla="*/ 1391 w 1395"/>
                  <a:gd name="T15" fmla="*/ 679 h 936"/>
                  <a:gd name="T16" fmla="*/ 1364 w 1395"/>
                  <a:gd name="T17" fmla="*/ 677 h 936"/>
                  <a:gd name="T18" fmla="*/ 1367 w 1395"/>
                  <a:gd name="T19" fmla="*/ 738 h 936"/>
                  <a:gd name="T20" fmla="*/ 1389 w 1395"/>
                  <a:gd name="T21" fmla="*/ 783 h 936"/>
                  <a:gd name="T22" fmla="*/ 1374 w 1395"/>
                  <a:gd name="T23" fmla="*/ 827 h 936"/>
                  <a:gd name="T24" fmla="*/ 1387 w 1395"/>
                  <a:gd name="T25" fmla="*/ 936 h 936"/>
                  <a:gd name="T26" fmla="*/ 1357 w 1395"/>
                  <a:gd name="T27" fmla="*/ 926 h 936"/>
                  <a:gd name="T28" fmla="*/ 1322 w 1395"/>
                  <a:gd name="T29" fmla="*/ 884 h 936"/>
                  <a:gd name="T30" fmla="*/ 1255 w 1395"/>
                  <a:gd name="T31" fmla="*/ 854 h 936"/>
                  <a:gd name="T32" fmla="*/ 1198 w 1395"/>
                  <a:gd name="T33" fmla="*/ 841 h 936"/>
                  <a:gd name="T34" fmla="*/ 1078 w 1395"/>
                  <a:gd name="T35" fmla="*/ 846 h 936"/>
                  <a:gd name="T36" fmla="*/ 1009 w 1395"/>
                  <a:gd name="T37" fmla="*/ 795 h 936"/>
                  <a:gd name="T38" fmla="*/ 0 w 1395"/>
                  <a:gd name="T39" fmla="*/ 733 h 9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395"/>
                  <a:gd name="T61" fmla="*/ 0 h 936"/>
                  <a:gd name="T62" fmla="*/ 1395 w 1395"/>
                  <a:gd name="T63" fmla="*/ 936 h 9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395" h="936">
                    <a:moveTo>
                      <a:pt x="0" y="733"/>
                    </a:moveTo>
                    <a:lnTo>
                      <a:pt x="46" y="233"/>
                    </a:lnTo>
                    <a:lnTo>
                      <a:pt x="69" y="0"/>
                    </a:lnTo>
                    <a:lnTo>
                      <a:pt x="687" y="45"/>
                    </a:lnTo>
                    <a:lnTo>
                      <a:pt x="1374" y="66"/>
                    </a:lnTo>
                    <a:lnTo>
                      <a:pt x="1328" y="155"/>
                    </a:lnTo>
                    <a:lnTo>
                      <a:pt x="1395" y="220"/>
                    </a:lnTo>
                    <a:lnTo>
                      <a:pt x="1391" y="679"/>
                    </a:lnTo>
                    <a:lnTo>
                      <a:pt x="1364" y="677"/>
                    </a:lnTo>
                    <a:lnTo>
                      <a:pt x="1367" y="738"/>
                    </a:lnTo>
                    <a:lnTo>
                      <a:pt x="1389" y="783"/>
                    </a:lnTo>
                    <a:lnTo>
                      <a:pt x="1374" y="827"/>
                    </a:lnTo>
                    <a:lnTo>
                      <a:pt x="1387" y="936"/>
                    </a:lnTo>
                    <a:lnTo>
                      <a:pt x="1357" y="926"/>
                    </a:lnTo>
                    <a:lnTo>
                      <a:pt x="1322" y="884"/>
                    </a:lnTo>
                    <a:lnTo>
                      <a:pt x="1255" y="854"/>
                    </a:lnTo>
                    <a:lnTo>
                      <a:pt x="1198" y="841"/>
                    </a:lnTo>
                    <a:lnTo>
                      <a:pt x="1078" y="846"/>
                    </a:lnTo>
                    <a:lnTo>
                      <a:pt x="1009" y="795"/>
                    </a:lnTo>
                    <a:lnTo>
                      <a:pt x="0" y="733"/>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19" name="Freeform 82"/>
              <p:cNvSpPr>
                <a:spLocks/>
              </p:cNvSpPr>
              <p:nvPr/>
            </p:nvSpPr>
            <p:spPr bwMode="gray">
              <a:xfrm>
                <a:off x="3710522" y="2875283"/>
                <a:ext cx="823444" cy="279678"/>
              </a:xfrm>
              <a:custGeom>
                <a:avLst/>
                <a:gdLst>
                  <a:gd name="T0" fmla="*/ 0 w 1691"/>
                  <a:gd name="T1" fmla="*/ 575 h 575"/>
                  <a:gd name="T2" fmla="*/ 30 w 1691"/>
                  <a:gd name="T3" fmla="*/ 473 h 575"/>
                  <a:gd name="T4" fmla="*/ 18 w 1691"/>
                  <a:gd name="T5" fmla="*/ 465 h 575"/>
                  <a:gd name="T6" fmla="*/ 69 w 1691"/>
                  <a:gd name="T7" fmla="*/ 426 h 575"/>
                  <a:gd name="T8" fmla="*/ 114 w 1691"/>
                  <a:gd name="T9" fmla="*/ 335 h 575"/>
                  <a:gd name="T10" fmla="*/ 98 w 1691"/>
                  <a:gd name="T11" fmla="*/ 315 h 575"/>
                  <a:gd name="T12" fmla="*/ 121 w 1691"/>
                  <a:gd name="T13" fmla="*/ 272 h 575"/>
                  <a:gd name="T14" fmla="*/ 124 w 1691"/>
                  <a:gd name="T15" fmla="*/ 223 h 575"/>
                  <a:gd name="T16" fmla="*/ 154 w 1691"/>
                  <a:gd name="T17" fmla="*/ 186 h 575"/>
                  <a:gd name="T18" fmla="*/ 421 w 1691"/>
                  <a:gd name="T19" fmla="*/ 167 h 575"/>
                  <a:gd name="T20" fmla="*/ 417 w 1691"/>
                  <a:gd name="T21" fmla="*/ 123 h 575"/>
                  <a:gd name="T22" fmla="*/ 502 w 1691"/>
                  <a:gd name="T23" fmla="*/ 127 h 575"/>
                  <a:gd name="T24" fmla="*/ 1295 w 1691"/>
                  <a:gd name="T25" fmla="*/ 54 h 575"/>
                  <a:gd name="T26" fmla="*/ 1691 w 1691"/>
                  <a:gd name="T27" fmla="*/ 0 h 575"/>
                  <a:gd name="T28" fmla="*/ 1683 w 1691"/>
                  <a:gd name="T29" fmla="*/ 56 h 575"/>
                  <a:gd name="T30" fmla="*/ 1656 w 1691"/>
                  <a:gd name="T31" fmla="*/ 74 h 575"/>
                  <a:gd name="T32" fmla="*/ 1621 w 1691"/>
                  <a:gd name="T33" fmla="*/ 136 h 575"/>
                  <a:gd name="T34" fmla="*/ 1594 w 1691"/>
                  <a:gd name="T35" fmla="*/ 132 h 575"/>
                  <a:gd name="T36" fmla="*/ 1563 w 1691"/>
                  <a:gd name="T37" fmla="*/ 149 h 575"/>
                  <a:gd name="T38" fmla="*/ 1542 w 1691"/>
                  <a:gd name="T39" fmla="*/ 180 h 575"/>
                  <a:gd name="T40" fmla="*/ 1513 w 1691"/>
                  <a:gd name="T41" fmla="*/ 160 h 575"/>
                  <a:gd name="T42" fmla="*/ 1468 w 1691"/>
                  <a:gd name="T43" fmla="*/ 199 h 575"/>
                  <a:gd name="T44" fmla="*/ 1462 w 1691"/>
                  <a:gd name="T45" fmla="*/ 232 h 575"/>
                  <a:gd name="T46" fmla="*/ 1270 w 1691"/>
                  <a:gd name="T47" fmla="*/ 345 h 575"/>
                  <a:gd name="T48" fmla="*/ 1259 w 1691"/>
                  <a:gd name="T49" fmla="*/ 389 h 575"/>
                  <a:gd name="T50" fmla="*/ 1208 w 1691"/>
                  <a:gd name="T51" fmla="*/ 414 h 575"/>
                  <a:gd name="T52" fmla="*/ 1209 w 1691"/>
                  <a:gd name="T53" fmla="*/ 471 h 575"/>
                  <a:gd name="T54" fmla="*/ 949 w 1691"/>
                  <a:gd name="T55" fmla="*/ 504 h 575"/>
                  <a:gd name="T56" fmla="*/ 424 w 1691"/>
                  <a:gd name="T57" fmla="*/ 547 h 575"/>
                  <a:gd name="T58" fmla="*/ 0 w 1691"/>
                  <a:gd name="T59" fmla="*/ 575 h 57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691"/>
                  <a:gd name="T91" fmla="*/ 0 h 575"/>
                  <a:gd name="T92" fmla="*/ 1691 w 1691"/>
                  <a:gd name="T93" fmla="*/ 575 h 57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691" h="575">
                    <a:moveTo>
                      <a:pt x="0" y="575"/>
                    </a:moveTo>
                    <a:lnTo>
                      <a:pt x="30" y="473"/>
                    </a:lnTo>
                    <a:lnTo>
                      <a:pt x="18" y="465"/>
                    </a:lnTo>
                    <a:lnTo>
                      <a:pt x="69" y="426"/>
                    </a:lnTo>
                    <a:lnTo>
                      <a:pt x="114" y="335"/>
                    </a:lnTo>
                    <a:lnTo>
                      <a:pt x="98" y="315"/>
                    </a:lnTo>
                    <a:lnTo>
                      <a:pt x="121" y="272"/>
                    </a:lnTo>
                    <a:lnTo>
                      <a:pt x="124" y="223"/>
                    </a:lnTo>
                    <a:lnTo>
                      <a:pt x="154" y="186"/>
                    </a:lnTo>
                    <a:lnTo>
                      <a:pt x="421" y="167"/>
                    </a:lnTo>
                    <a:lnTo>
                      <a:pt x="417" y="123"/>
                    </a:lnTo>
                    <a:lnTo>
                      <a:pt x="502" y="127"/>
                    </a:lnTo>
                    <a:lnTo>
                      <a:pt x="1295" y="54"/>
                    </a:lnTo>
                    <a:lnTo>
                      <a:pt x="1691" y="0"/>
                    </a:lnTo>
                    <a:lnTo>
                      <a:pt x="1683" y="56"/>
                    </a:lnTo>
                    <a:lnTo>
                      <a:pt x="1656" y="74"/>
                    </a:lnTo>
                    <a:lnTo>
                      <a:pt x="1621" y="136"/>
                    </a:lnTo>
                    <a:lnTo>
                      <a:pt x="1594" y="132"/>
                    </a:lnTo>
                    <a:lnTo>
                      <a:pt x="1563" y="149"/>
                    </a:lnTo>
                    <a:lnTo>
                      <a:pt x="1542" y="180"/>
                    </a:lnTo>
                    <a:lnTo>
                      <a:pt x="1513" y="160"/>
                    </a:lnTo>
                    <a:lnTo>
                      <a:pt x="1468" y="199"/>
                    </a:lnTo>
                    <a:lnTo>
                      <a:pt x="1462" y="232"/>
                    </a:lnTo>
                    <a:lnTo>
                      <a:pt x="1270" y="345"/>
                    </a:lnTo>
                    <a:lnTo>
                      <a:pt x="1259" y="389"/>
                    </a:lnTo>
                    <a:lnTo>
                      <a:pt x="1208" y="414"/>
                    </a:lnTo>
                    <a:lnTo>
                      <a:pt x="1209" y="471"/>
                    </a:lnTo>
                    <a:lnTo>
                      <a:pt x="949" y="504"/>
                    </a:lnTo>
                    <a:lnTo>
                      <a:pt x="424" y="547"/>
                    </a:lnTo>
                    <a:lnTo>
                      <a:pt x="0" y="575"/>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20" name="Freeform 83"/>
              <p:cNvSpPr>
                <a:spLocks/>
              </p:cNvSpPr>
              <p:nvPr/>
            </p:nvSpPr>
            <p:spPr bwMode="gray">
              <a:xfrm>
                <a:off x="2046092" y="2950318"/>
                <a:ext cx="1349669" cy="1310690"/>
              </a:xfrm>
              <a:custGeom>
                <a:avLst/>
                <a:gdLst>
                  <a:gd name="T0" fmla="*/ 55 w 2771"/>
                  <a:gd name="T1" fmla="*/ 1056 h 2690"/>
                  <a:gd name="T2" fmla="*/ 1455 w 2771"/>
                  <a:gd name="T3" fmla="*/ 34 h 2690"/>
                  <a:gd name="T4" fmla="*/ 1552 w 2771"/>
                  <a:gd name="T5" fmla="*/ 572 h 2690"/>
                  <a:gd name="T6" fmla="*/ 1595 w 2771"/>
                  <a:gd name="T7" fmla="*/ 613 h 2690"/>
                  <a:gd name="T8" fmla="*/ 1715 w 2771"/>
                  <a:gd name="T9" fmla="*/ 627 h 2690"/>
                  <a:gd name="T10" fmla="*/ 1813 w 2771"/>
                  <a:gd name="T11" fmla="*/ 637 h 2690"/>
                  <a:gd name="T12" fmla="*/ 1900 w 2771"/>
                  <a:gd name="T13" fmla="*/ 680 h 2690"/>
                  <a:gd name="T14" fmla="*/ 2015 w 2771"/>
                  <a:gd name="T15" fmla="*/ 752 h 2690"/>
                  <a:gd name="T16" fmla="*/ 2073 w 2771"/>
                  <a:gd name="T17" fmla="*/ 719 h 2690"/>
                  <a:gd name="T18" fmla="*/ 2280 w 2771"/>
                  <a:gd name="T19" fmla="*/ 716 h 2690"/>
                  <a:gd name="T20" fmla="*/ 2509 w 2771"/>
                  <a:gd name="T21" fmla="*/ 746 h 2690"/>
                  <a:gd name="T22" fmla="*/ 2653 w 2771"/>
                  <a:gd name="T23" fmla="*/ 788 h 2690"/>
                  <a:gd name="T24" fmla="*/ 2699 w 2771"/>
                  <a:gd name="T25" fmla="*/ 1219 h 2690"/>
                  <a:gd name="T26" fmla="*/ 2769 w 2771"/>
                  <a:gd name="T27" fmla="*/ 1460 h 2690"/>
                  <a:gd name="T28" fmla="*/ 2747 w 2771"/>
                  <a:gd name="T29" fmla="*/ 1621 h 2690"/>
                  <a:gd name="T30" fmla="*/ 2694 w 2771"/>
                  <a:gd name="T31" fmla="*/ 1726 h 2690"/>
                  <a:gd name="T32" fmla="*/ 2513 w 2771"/>
                  <a:gd name="T33" fmla="*/ 1835 h 2690"/>
                  <a:gd name="T34" fmla="*/ 2526 w 2771"/>
                  <a:gd name="T35" fmla="*/ 1724 h 2690"/>
                  <a:gd name="T36" fmla="*/ 2458 w 2771"/>
                  <a:gd name="T37" fmla="*/ 1796 h 2690"/>
                  <a:gd name="T38" fmla="*/ 2446 w 2771"/>
                  <a:gd name="T39" fmla="*/ 1878 h 2690"/>
                  <a:gd name="T40" fmla="*/ 2163 w 2771"/>
                  <a:gd name="T41" fmla="*/ 2080 h 2690"/>
                  <a:gd name="T42" fmla="*/ 2192 w 2771"/>
                  <a:gd name="T43" fmla="*/ 2037 h 2690"/>
                  <a:gd name="T44" fmla="*/ 2147 w 2771"/>
                  <a:gd name="T45" fmla="*/ 2001 h 2690"/>
                  <a:gd name="T46" fmla="*/ 2099 w 2771"/>
                  <a:gd name="T47" fmla="*/ 2035 h 2690"/>
                  <a:gd name="T48" fmla="*/ 2067 w 2771"/>
                  <a:gd name="T49" fmla="*/ 2057 h 2690"/>
                  <a:gd name="T50" fmla="*/ 1975 w 2771"/>
                  <a:gd name="T51" fmla="*/ 2135 h 2690"/>
                  <a:gd name="T52" fmla="*/ 1898 w 2771"/>
                  <a:gd name="T53" fmla="*/ 2213 h 2690"/>
                  <a:gd name="T54" fmla="*/ 1952 w 2771"/>
                  <a:gd name="T55" fmla="*/ 2256 h 2690"/>
                  <a:gd name="T56" fmla="*/ 1904 w 2771"/>
                  <a:gd name="T57" fmla="*/ 2323 h 2690"/>
                  <a:gd name="T58" fmla="*/ 1848 w 2771"/>
                  <a:gd name="T59" fmla="*/ 2357 h 2690"/>
                  <a:gd name="T60" fmla="*/ 1912 w 2771"/>
                  <a:gd name="T61" fmla="*/ 2571 h 2690"/>
                  <a:gd name="T62" fmla="*/ 1816 w 2771"/>
                  <a:gd name="T63" fmla="*/ 2655 h 2690"/>
                  <a:gd name="T64" fmla="*/ 1540 w 2771"/>
                  <a:gd name="T65" fmla="*/ 2562 h 2690"/>
                  <a:gd name="T66" fmla="*/ 1467 w 2771"/>
                  <a:gd name="T67" fmla="*/ 2405 h 2690"/>
                  <a:gd name="T68" fmla="*/ 1451 w 2771"/>
                  <a:gd name="T69" fmla="*/ 2267 h 2690"/>
                  <a:gd name="T70" fmla="*/ 1194 w 2771"/>
                  <a:gd name="T71" fmla="*/ 1840 h 2690"/>
                  <a:gd name="T72" fmla="*/ 995 w 2771"/>
                  <a:gd name="T73" fmla="*/ 1699 h 2690"/>
                  <a:gd name="T74" fmla="*/ 855 w 2771"/>
                  <a:gd name="T75" fmla="*/ 1692 h 2690"/>
                  <a:gd name="T76" fmla="*/ 681 w 2771"/>
                  <a:gd name="T77" fmla="*/ 1874 h 2690"/>
                  <a:gd name="T78" fmla="*/ 495 w 2771"/>
                  <a:gd name="T79" fmla="*/ 1777 h 2690"/>
                  <a:gd name="T80" fmla="*/ 368 w 2771"/>
                  <a:gd name="T81" fmla="*/ 1537 h 2690"/>
                  <a:gd name="T82" fmla="*/ 121 w 2771"/>
                  <a:gd name="T83" fmla="*/ 1217 h 2690"/>
                  <a:gd name="T84" fmla="*/ 16 w 2771"/>
                  <a:gd name="T85" fmla="*/ 1103 h 269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771"/>
                  <a:gd name="T130" fmla="*/ 0 h 2690"/>
                  <a:gd name="T131" fmla="*/ 2771 w 2771"/>
                  <a:gd name="T132" fmla="*/ 2690 h 269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771" h="2690">
                    <a:moveTo>
                      <a:pt x="16" y="1103"/>
                    </a:moveTo>
                    <a:lnTo>
                      <a:pt x="0" y="1051"/>
                    </a:lnTo>
                    <a:lnTo>
                      <a:pt x="55" y="1056"/>
                    </a:lnTo>
                    <a:lnTo>
                      <a:pt x="753" y="1123"/>
                    </a:lnTo>
                    <a:lnTo>
                      <a:pt x="857" y="0"/>
                    </a:lnTo>
                    <a:lnTo>
                      <a:pt x="1455" y="34"/>
                    </a:lnTo>
                    <a:lnTo>
                      <a:pt x="1435" y="520"/>
                    </a:lnTo>
                    <a:lnTo>
                      <a:pt x="1494" y="569"/>
                    </a:lnTo>
                    <a:lnTo>
                      <a:pt x="1552" y="572"/>
                    </a:lnTo>
                    <a:lnTo>
                      <a:pt x="1563" y="552"/>
                    </a:lnTo>
                    <a:lnTo>
                      <a:pt x="1597" y="581"/>
                    </a:lnTo>
                    <a:lnTo>
                      <a:pt x="1595" y="613"/>
                    </a:lnTo>
                    <a:lnTo>
                      <a:pt x="1644" y="618"/>
                    </a:lnTo>
                    <a:lnTo>
                      <a:pt x="1685" y="638"/>
                    </a:lnTo>
                    <a:lnTo>
                      <a:pt x="1715" y="627"/>
                    </a:lnTo>
                    <a:lnTo>
                      <a:pt x="1753" y="652"/>
                    </a:lnTo>
                    <a:lnTo>
                      <a:pt x="1760" y="633"/>
                    </a:lnTo>
                    <a:lnTo>
                      <a:pt x="1813" y="637"/>
                    </a:lnTo>
                    <a:lnTo>
                      <a:pt x="1843" y="698"/>
                    </a:lnTo>
                    <a:lnTo>
                      <a:pt x="1866" y="717"/>
                    </a:lnTo>
                    <a:lnTo>
                      <a:pt x="1900" y="680"/>
                    </a:lnTo>
                    <a:lnTo>
                      <a:pt x="1963" y="730"/>
                    </a:lnTo>
                    <a:lnTo>
                      <a:pt x="2001" y="705"/>
                    </a:lnTo>
                    <a:lnTo>
                      <a:pt x="2015" y="752"/>
                    </a:lnTo>
                    <a:lnTo>
                      <a:pt x="2022" y="717"/>
                    </a:lnTo>
                    <a:lnTo>
                      <a:pt x="2062" y="690"/>
                    </a:lnTo>
                    <a:lnTo>
                      <a:pt x="2073" y="719"/>
                    </a:lnTo>
                    <a:lnTo>
                      <a:pt x="2127" y="710"/>
                    </a:lnTo>
                    <a:lnTo>
                      <a:pt x="2170" y="751"/>
                    </a:lnTo>
                    <a:lnTo>
                      <a:pt x="2280" y="716"/>
                    </a:lnTo>
                    <a:lnTo>
                      <a:pt x="2391" y="705"/>
                    </a:lnTo>
                    <a:lnTo>
                      <a:pt x="2424" y="689"/>
                    </a:lnTo>
                    <a:lnTo>
                      <a:pt x="2509" y="746"/>
                    </a:lnTo>
                    <a:lnTo>
                      <a:pt x="2562" y="765"/>
                    </a:lnTo>
                    <a:lnTo>
                      <a:pt x="2582" y="790"/>
                    </a:lnTo>
                    <a:lnTo>
                      <a:pt x="2653" y="788"/>
                    </a:lnTo>
                    <a:lnTo>
                      <a:pt x="2656" y="922"/>
                    </a:lnTo>
                    <a:lnTo>
                      <a:pt x="2669" y="1185"/>
                    </a:lnTo>
                    <a:lnTo>
                      <a:pt x="2699" y="1219"/>
                    </a:lnTo>
                    <a:lnTo>
                      <a:pt x="2711" y="1286"/>
                    </a:lnTo>
                    <a:lnTo>
                      <a:pt x="2771" y="1380"/>
                    </a:lnTo>
                    <a:lnTo>
                      <a:pt x="2769" y="1460"/>
                    </a:lnTo>
                    <a:lnTo>
                      <a:pt x="2733" y="1536"/>
                    </a:lnTo>
                    <a:lnTo>
                      <a:pt x="2736" y="1577"/>
                    </a:lnTo>
                    <a:lnTo>
                      <a:pt x="2747" y="1621"/>
                    </a:lnTo>
                    <a:lnTo>
                      <a:pt x="2742" y="1664"/>
                    </a:lnTo>
                    <a:lnTo>
                      <a:pt x="2721" y="1692"/>
                    </a:lnTo>
                    <a:lnTo>
                      <a:pt x="2694" y="1726"/>
                    </a:lnTo>
                    <a:lnTo>
                      <a:pt x="2713" y="1747"/>
                    </a:lnTo>
                    <a:lnTo>
                      <a:pt x="2602" y="1784"/>
                    </a:lnTo>
                    <a:lnTo>
                      <a:pt x="2513" y="1835"/>
                    </a:lnTo>
                    <a:lnTo>
                      <a:pt x="2567" y="1793"/>
                    </a:lnTo>
                    <a:lnTo>
                      <a:pt x="2509" y="1792"/>
                    </a:lnTo>
                    <a:lnTo>
                      <a:pt x="2526" y="1724"/>
                    </a:lnTo>
                    <a:lnTo>
                      <a:pt x="2479" y="1763"/>
                    </a:lnTo>
                    <a:lnTo>
                      <a:pt x="2456" y="1750"/>
                    </a:lnTo>
                    <a:lnTo>
                      <a:pt x="2458" y="1796"/>
                    </a:lnTo>
                    <a:lnTo>
                      <a:pt x="2478" y="1804"/>
                    </a:lnTo>
                    <a:lnTo>
                      <a:pt x="2482" y="1846"/>
                    </a:lnTo>
                    <a:lnTo>
                      <a:pt x="2446" y="1878"/>
                    </a:lnTo>
                    <a:lnTo>
                      <a:pt x="2425" y="1876"/>
                    </a:lnTo>
                    <a:lnTo>
                      <a:pt x="2419" y="1923"/>
                    </a:lnTo>
                    <a:lnTo>
                      <a:pt x="2163" y="2080"/>
                    </a:lnTo>
                    <a:lnTo>
                      <a:pt x="2166" y="2064"/>
                    </a:lnTo>
                    <a:lnTo>
                      <a:pt x="2284" y="1988"/>
                    </a:lnTo>
                    <a:lnTo>
                      <a:pt x="2192" y="2037"/>
                    </a:lnTo>
                    <a:lnTo>
                      <a:pt x="2198" y="1992"/>
                    </a:lnTo>
                    <a:lnTo>
                      <a:pt x="2173" y="2014"/>
                    </a:lnTo>
                    <a:lnTo>
                      <a:pt x="2147" y="2001"/>
                    </a:lnTo>
                    <a:lnTo>
                      <a:pt x="2137" y="2037"/>
                    </a:lnTo>
                    <a:lnTo>
                      <a:pt x="2096" y="2001"/>
                    </a:lnTo>
                    <a:lnTo>
                      <a:pt x="2099" y="2035"/>
                    </a:lnTo>
                    <a:lnTo>
                      <a:pt x="2147" y="2066"/>
                    </a:lnTo>
                    <a:lnTo>
                      <a:pt x="2092" y="2098"/>
                    </a:lnTo>
                    <a:lnTo>
                      <a:pt x="2067" y="2057"/>
                    </a:lnTo>
                    <a:lnTo>
                      <a:pt x="2048" y="2159"/>
                    </a:lnTo>
                    <a:lnTo>
                      <a:pt x="2024" y="2118"/>
                    </a:lnTo>
                    <a:lnTo>
                      <a:pt x="1975" y="2135"/>
                    </a:lnTo>
                    <a:lnTo>
                      <a:pt x="1965" y="2161"/>
                    </a:lnTo>
                    <a:lnTo>
                      <a:pt x="1989" y="2207"/>
                    </a:lnTo>
                    <a:lnTo>
                      <a:pt x="1898" y="2213"/>
                    </a:lnTo>
                    <a:lnTo>
                      <a:pt x="1931" y="2222"/>
                    </a:lnTo>
                    <a:lnTo>
                      <a:pt x="1933" y="2267"/>
                    </a:lnTo>
                    <a:lnTo>
                      <a:pt x="1952" y="2256"/>
                    </a:lnTo>
                    <a:lnTo>
                      <a:pt x="1942" y="2288"/>
                    </a:lnTo>
                    <a:lnTo>
                      <a:pt x="1901" y="2354"/>
                    </a:lnTo>
                    <a:lnTo>
                      <a:pt x="1904" y="2323"/>
                    </a:lnTo>
                    <a:lnTo>
                      <a:pt x="1877" y="2351"/>
                    </a:lnTo>
                    <a:lnTo>
                      <a:pt x="1841" y="2310"/>
                    </a:lnTo>
                    <a:lnTo>
                      <a:pt x="1848" y="2357"/>
                    </a:lnTo>
                    <a:lnTo>
                      <a:pt x="1917" y="2364"/>
                    </a:lnTo>
                    <a:lnTo>
                      <a:pt x="1890" y="2434"/>
                    </a:lnTo>
                    <a:lnTo>
                      <a:pt x="1912" y="2571"/>
                    </a:lnTo>
                    <a:lnTo>
                      <a:pt x="1973" y="2685"/>
                    </a:lnTo>
                    <a:lnTo>
                      <a:pt x="1893" y="2690"/>
                    </a:lnTo>
                    <a:lnTo>
                      <a:pt x="1816" y="2655"/>
                    </a:lnTo>
                    <a:lnTo>
                      <a:pt x="1750" y="2656"/>
                    </a:lnTo>
                    <a:lnTo>
                      <a:pt x="1653" y="2604"/>
                    </a:lnTo>
                    <a:lnTo>
                      <a:pt x="1540" y="2562"/>
                    </a:lnTo>
                    <a:lnTo>
                      <a:pt x="1528" y="2517"/>
                    </a:lnTo>
                    <a:lnTo>
                      <a:pt x="1504" y="2453"/>
                    </a:lnTo>
                    <a:lnTo>
                      <a:pt x="1467" y="2405"/>
                    </a:lnTo>
                    <a:lnTo>
                      <a:pt x="1471" y="2354"/>
                    </a:lnTo>
                    <a:lnTo>
                      <a:pt x="1450" y="2336"/>
                    </a:lnTo>
                    <a:lnTo>
                      <a:pt x="1451" y="2267"/>
                    </a:lnTo>
                    <a:lnTo>
                      <a:pt x="1385" y="2215"/>
                    </a:lnTo>
                    <a:lnTo>
                      <a:pt x="1313" y="2109"/>
                    </a:lnTo>
                    <a:lnTo>
                      <a:pt x="1194" y="1840"/>
                    </a:lnTo>
                    <a:lnTo>
                      <a:pt x="1103" y="1771"/>
                    </a:lnTo>
                    <a:lnTo>
                      <a:pt x="1073" y="1709"/>
                    </a:lnTo>
                    <a:lnTo>
                      <a:pt x="995" y="1699"/>
                    </a:lnTo>
                    <a:lnTo>
                      <a:pt x="930" y="1692"/>
                    </a:lnTo>
                    <a:lnTo>
                      <a:pt x="873" y="1666"/>
                    </a:lnTo>
                    <a:lnTo>
                      <a:pt x="855" y="1692"/>
                    </a:lnTo>
                    <a:lnTo>
                      <a:pt x="794" y="1692"/>
                    </a:lnTo>
                    <a:lnTo>
                      <a:pt x="740" y="1819"/>
                    </a:lnTo>
                    <a:lnTo>
                      <a:pt x="681" y="1874"/>
                    </a:lnTo>
                    <a:lnTo>
                      <a:pt x="647" y="1870"/>
                    </a:lnTo>
                    <a:lnTo>
                      <a:pt x="541" y="1790"/>
                    </a:lnTo>
                    <a:lnTo>
                      <a:pt x="495" y="1777"/>
                    </a:lnTo>
                    <a:lnTo>
                      <a:pt x="394" y="1685"/>
                    </a:lnTo>
                    <a:lnTo>
                      <a:pt x="367" y="1612"/>
                    </a:lnTo>
                    <a:lnTo>
                      <a:pt x="368" y="1537"/>
                    </a:lnTo>
                    <a:lnTo>
                      <a:pt x="319" y="1431"/>
                    </a:lnTo>
                    <a:lnTo>
                      <a:pt x="235" y="1362"/>
                    </a:lnTo>
                    <a:lnTo>
                      <a:pt x="121" y="1217"/>
                    </a:lnTo>
                    <a:lnTo>
                      <a:pt x="77" y="1192"/>
                    </a:lnTo>
                    <a:lnTo>
                      <a:pt x="47" y="1116"/>
                    </a:lnTo>
                    <a:lnTo>
                      <a:pt x="16" y="1103"/>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21" name="Freeform 84"/>
              <p:cNvSpPr>
                <a:spLocks/>
              </p:cNvSpPr>
              <p:nvPr/>
            </p:nvSpPr>
            <p:spPr bwMode="gray">
              <a:xfrm>
                <a:off x="1411699" y="2146364"/>
                <a:ext cx="545715" cy="685066"/>
              </a:xfrm>
              <a:custGeom>
                <a:avLst/>
                <a:gdLst>
                  <a:gd name="T0" fmla="*/ 0 w 1119"/>
                  <a:gd name="T1" fmla="*/ 1238 h 1406"/>
                  <a:gd name="T2" fmla="*/ 244 w 1119"/>
                  <a:gd name="T3" fmla="*/ 0 h 1406"/>
                  <a:gd name="T4" fmla="*/ 790 w 1119"/>
                  <a:gd name="T5" fmla="*/ 100 h 1406"/>
                  <a:gd name="T6" fmla="*/ 748 w 1119"/>
                  <a:gd name="T7" fmla="*/ 349 h 1406"/>
                  <a:gd name="T8" fmla="*/ 1119 w 1119"/>
                  <a:gd name="T9" fmla="*/ 406 h 1406"/>
                  <a:gd name="T10" fmla="*/ 979 w 1119"/>
                  <a:gd name="T11" fmla="*/ 1406 h 1406"/>
                  <a:gd name="T12" fmla="*/ 0 w 1119"/>
                  <a:gd name="T13" fmla="*/ 1238 h 1406"/>
                  <a:gd name="T14" fmla="*/ 0 60000 65536"/>
                  <a:gd name="T15" fmla="*/ 0 60000 65536"/>
                  <a:gd name="T16" fmla="*/ 0 60000 65536"/>
                  <a:gd name="T17" fmla="*/ 0 60000 65536"/>
                  <a:gd name="T18" fmla="*/ 0 60000 65536"/>
                  <a:gd name="T19" fmla="*/ 0 60000 65536"/>
                  <a:gd name="T20" fmla="*/ 0 60000 65536"/>
                  <a:gd name="T21" fmla="*/ 0 w 1119"/>
                  <a:gd name="T22" fmla="*/ 0 h 1406"/>
                  <a:gd name="T23" fmla="*/ 1119 w 1119"/>
                  <a:gd name="T24" fmla="*/ 1406 h 140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19" h="1406">
                    <a:moveTo>
                      <a:pt x="0" y="1238"/>
                    </a:moveTo>
                    <a:lnTo>
                      <a:pt x="244" y="0"/>
                    </a:lnTo>
                    <a:lnTo>
                      <a:pt x="790" y="100"/>
                    </a:lnTo>
                    <a:lnTo>
                      <a:pt x="748" y="349"/>
                    </a:lnTo>
                    <a:lnTo>
                      <a:pt x="1119" y="406"/>
                    </a:lnTo>
                    <a:lnTo>
                      <a:pt x="979" y="1406"/>
                    </a:lnTo>
                    <a:lnTo>
                      <a:pt x="0" y="1238"/>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22" name="Freeform 85"/>
              <p:cNvSpPr>
                <a:spLocks/>
              </p:cNvSpPr>
              <p:nvPr/>
            </p:nvSpPr>
            <p:spPr bwMode="gray">
              <a:xfrm>
                <a:off x="5086503" y="1680558"/>
                <a:ext cx="154944" cy="306964"/>
              </a:xfrm>
              <a:custGeom>
                <a:avLst/>
                <a:gdLst>
                  <a:gd name="T0" fmla="*/ 0 w 318"/>
                  <a:gd name="T1" fmla="*/ 79 h 630"/>
                  <a:gd name="T2" fmla="*/ 49 w 318"/>
                  <a:gd name="T3" fmla="*/ 257 h 630"/>
                  <a:gd name="T4" fmla="*/ 64 w 318"/>
                  <a:gd name="T5" fmla="*/ 373 h 630"/>
                  <a:gd name="T6" fmla="*/ 115 w 318"/>
                  <a:gd name="T7" fmla="*/ 489 h 630"/>
                  <a:gd name="T8" fmla="*/ 145 w 318"/>
                  <a:gd name="T9" fmla="*/ 630 h 630"/>
                  <a:gd name="T10" fmla="*/ 290 w 318"/>
                  <a:gd name="T11" fmla="*/ 599 h 630"/>
                  <a:gd name="T12" fmla="*/ 260 w 318"/>
                  <a:gd name="T13" fmla="*/ 383 h 630"/>
                  <a:gd name="T14" fmla="*/ 278 w 318"/>
                  <a:gd name="T15" fmla="*/ 230 h 630"/>
                  <a:gd name="T16" fmla="*/ 314 w 318"/>
                  <a:gd name="T17" fmla="*/ 159 h 630"/>
                  <a:gd name="T18" fmla="*/ 318 w 318"/>
                  <a:gd name="T19" fmla="*/ 0 h 630"/>
                  <a:gd name="T20" fmla="*/ 0 w 318"/>
                  <a:gd name="T21" fmla="*/ 79 h 6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18"/>
                  <a:gd name="T34" fmla="*/ 0 h 630"/>
                  <a:gd name="T35" fmla="*/ 318 w 318"/>
                  <a:gd name="T36" fmla="*/ 630 h 63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18" h="630">
                    <a:moveTo>
                      <a:pt x="0" y="79"/>
                    </a:moveTo>
                    <a:lnTo>
                      <a:pt x="49" y="257"/>
                    </a:lnTo>
                    <a:lnTo>
                      <a:pt x="64" y="373"/>
                    </a:lnTo>
                    <a:lnTo>
                      <a:pt x="115" y="489"/>
                    </a:lnTo>
                    <a:lnTo>
                      <a:pt x="145" y="630"/>
                    </a:lnTo>
                    <a:lnTo>
                      <a:pt x="290" y="599"/>
                    </a:lnTo>
                    <a:lnTo>
                      <a:pt x="260" y="383"/>
                    </a:lnTo>
                    <a:lnTo>
                      <a:pt x="278" y="230"/>
                    </a:lnTo>
                    <a:lnTo>
                      <a:pt x="314" y="159"/>
                    </a:lnTo>
                    <a:lnTo>
                      <a:pt x="318" y="0"/>
                    </a:lnTo>
                    <a:lnTo>
                      <a:pt x="0" y="79"/>
                    </a:lnTo>
                    <a:close/>
                  </a:path>
                </a:pathLst>
              </a:custGeom>
              <a:solidFill>
                <a:schemeClr val="accent1">
                  <a:lumMod val="40000"/>
                  <a:lumOff val="60000"/>
                </a:schemeClr>
              </a:solidFill>
              <a:ln w="9525">
                <a:solidFill>
                  <a:schemeClr val="tx1"/>
                </a:solidFill>
                <a:round/>
                <a:headEnd/>
                <a:tailEnd/>
              </a:ln>
            </p:spPr>
            <p:txBody>
              <a:bodyPr/>
              <a:lstStyle/>
              <a:p>
                <a:pPr>
                  <a:defRPr/>
                </a:pPr>
                <a:endParaRPr lang="en-US" sz="1100" dirty="0">
                  <a:latin typeface="+mj-lt"/>
                </a:endParaRPr>
              </a:p>
            </p:txBody>
          </p:sp>
          <p:grpSp>
            <p:nvGrpSpPr>
              <p:cNvPr id="123" name="Group 196"/>
              <p:cNvGrpSpPr/>
              <p:nvPr/>
            </p:nvGrpSpPr>
            <p:grpSpPr bwMode="gray">
              <a:xfrm>
                <a:off x="4341017" y="2476716"/>
                <a:ext cx="756205" cy="424878"/>
                <a:chOff x="4341017" y="2476716"/>
                <a:chExt cx="756205" cy="424878"/>
              </a:xfrm>
              <a:grpFill/>
            </p:grpSpPr>
            <p:sp>
              <p:nvSpPr>
                <p:cNvPr id="131" name="Freeform 86"/>
                <p:cNvSpPr>
                  <a:spLocks/>
                </p:cNvSpPr>
                <p:nvPr/>
              </p:nvSpPr>
              <p:spPr bwMode="gray">
                <a:xfrm>
                  <a:off x="4341017" y="2476716"/>
                  <a:ext cx="747435" cy="424878"/>
                </a:xfrm>
                <a:custGeom>
                  <a:avLst/>
                  <a:gdLst>
                    <a:gd name="T0" fmla="*/ 143 w 1534"/>
                    <a:gd name="T1" fmla="*/ 776 h 871"/>
                    <a:gd name="T2" fmla="*/ 196 w 1534"/>
                    <a:gd name="T3" fmla="*/ 692 h 871"/>
                    <a:gd name="T4" fmla="*/ 299 w 1534"/>
                    <a:gd name="T5" fmla="*/ 592 h 871"/>
                    <a:gd name="T6" fmla="*/ 424 w 1534"/>
                    <a:gd name="T7" fmla="*/ 625 h 871"/>
                    <a:gd name="T8" fmla="*/ 496 w 1534"/>
                    <a:gd name="T9" fmla="*/ 625 h 871"/>
                    <a:gd name="T10" fmla="*/ 598 w 1534"/>
                    <a:gd name="T11" fmla="*/ 575 h 871"/>
                    <a:gd name="T12" fmla="*/ 618 w 1534"/>
                    <a:gd name="T13" fmla="*/ 507 h 871"/>
                    <a:gd name="T14" fmla="*/ 707 w 1534"/>
                    <a:gd name="T15" fmla="*/ 259 h 871"/>
                    <a:gd name="T16" fmla="*/ 811 w 1534"/>
                    <a:gd name="T17" fmla="*/ 196 h 871"/>
                    <a:gd name="T18" fmla="*/ 899 w 1534"/>
                    <a:gd name="T19" fmla="*/ 98 h 871"/>
                    <a:gd name="T20" fmla="*/ 1023 w 1534"/>
                    <a:gd name="T21" fmla="*/ 61 h 871"/>
                    <a:gd name="T22" fmla="*/ 1093 w 1534"/>
                    <a:gd name="T23" fmla="*/ 26 h 871"/>
                    <a:gd name="T24" fmla="*/ 1169 w 1534"/>
                    <a:gd name="T25" fmla="*/ 85 h 871"/>
                    <a:gd name="T26" fmla="*/ 1189 w 1534"/>
                    <a:gd name="T27" fmla="*/ 144 h 871"/>
                    <a:gd name="T28" fmla="*/ 1169 w 1534"/>
                    <a:gd name="T29" fmla="*/ 239 h 871"/>
                    <a:gd name="T30" fmla="*/ 1224 w 1534"/>
                    <a:gd name="T31" fmla="*/ 246 h 871"/>
                    <a:gd name="T32" fmla="*/ 1306 w 1534"/>
                    <a:gd name="T33" fmla="*/ 268 h 871"/>
                    <a:gd name="T34" fmla="*/ 1390 w 1534"/>
                    <a:gd name="T35" fmla="*/ 308 h 871"/>
                    <a:gd name="T36" fmla="*/ 1379 w 1534"/>
                    <a:gd name="T37" fmla="*/ 364 h 871"/>
                    <a:gd name="T38" fmla="*/ 1360 w 1534"/>
                    <a:gd name="T39" fmla="*/ 373 h 871"/>
                    <a:gd name="T40" fmla="*/ 1250 w 1534"/>
                    <a:gd name="T41" fmla="*/ 305 h 871"/>
                    <a:gd name="T42" fmla="*/ 1396 w 1534"/>
                    <a:gd name="T43" fmla="*/ 396 h 871"/>
                    <a:gd name="T44" fmla="*/ 1416 w 1534"/>
                    <a:gd name="T45" fmla="*/ 435 h 871"/>
                    <a:gd name="T46" fmla="*/ 1397 w 1534"/>
                    <a:gd name="T47" fmla="*/ 437 h 871"/>
                    <a:gd name="T48" fmla="*/ 1383 w 1534"/>
                    <a:gd name="T49" fmla="*/ 456 h 871"/>
                    <a:gd name="T50" fmla="*/ 1377 w 1534"/>
                    <a:gd name="T51" fmla="*/ 478 h 871"/>
                    <a:gd name="T52" fmla="*/ 1303 w 1534"/>
                    <a:gd name="T53" fmla="*/ 423 h 871"/>
                    <a:gd name="T54" fmla="*/ 1368 w 1534"/>
                    <a:gd name="T55" fmla="*/ 485 h 871"/>
                    <a:gd name="T56" fmla="*/ 1413 w 1534"/>
                    <a:gd name="T57" fmla="*/ 497 h 871"/>
                    <a:gd name="T58" fmla="*/ 1424 w 1534"/>
                    <a:gd name="T59" fmla="*/ 510 h 871"/>
                    <a:gd name="T60" fmla="*/ 1406 w 1534"/>
                    <a:gd name="T61" fmla="*/ 540 h 871"/>
                    <a:gd name="T62" fmla="*/ 1357 w 1534"/>
                    <a:gd name="T63" fmla="*/ 503 h 871"/>
                    <a:gd name="T64" fmla="*/ 1296 w 1534"/>
                    <a:gd name="T65" fmla="*/ 481 h 871"/>
                    <a:gd name="T66" fmla="*/ 1346 w 1534"/>
                    <a:gd name="T67" fmla="*/ 517 h 871"/>
                    <a:gd name="T68" fmla="*/ 1409 w 1534"/>
                    <a:gd name="T69" fmla="*/ 562 h 871"/>
                    <a:gd name="T70" fmla="*/ 1430 w 1534"/>
                    <a:gd name="T71" fmla="*/ 542 h 871"/>
                    <a:gd name="T72" fmla="*/ 1490 w 1534"/>
                    <a:gd name="T73" fmla="*/ 545 h 871"/>
                    <a:gd name="T74" fmla="*/ 1506 w 1534"/>
                    <a:gd name="T75" fmla="*/ 612 h 871"/>
                    <a:gd name="T76" fmla="*/ 895 w 1534"/>
                    <a:gd name="T77" fmla="*/ 752 h 871"/>
                    <a:gd name="T78" fmla="*/ 0 w 1534"/>
                    <a:gd name="T79" fmla="*/ 871 h 87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534"/>
                    <a:gd name="T121" fmla="*/ 0 h 871"/>
                    <a:gd name="T122" fmla="*/ 1534 w 1534"/>
                    <a:gd name="T123" fmla="*/ 871 h 87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534" h="871">
                      <a:moveTo>
                        <a:pt x="0" y="871"/>
                      </a:moveTo>
                      <a:lnTo>
                        <a:pt x="143" y="776"/>
                      </a:lnTo>
                      <a:lnTo>
                        <a:pt x="144" y="755"/>
                      </a:lnTo>
                      <a:lnTo>
                        <a:pt x="196" y="692"/>
                      </a:lnTo>
                      <a:lnTo>
                        <a:pt x="244" y="658"/>
                      </a:lnTo>
                      <a:lnTo>
                        <a:pt x="299" y="592"/>
                      </a:lnTo>
                      <a:lnTo>
                        <a:pt x="355" y="658"/>
                      </a:lnTo>
                      <a:lnTo>
                        <a:pt x="424" y="625"/>
                      </a:lnTo>
                      <a:lnTo>
                        <a:pt x="453" y="645"/>
                      </a:lnTo>
                      <a:lnTo>
                        <a:pt x="496" y="625"/>
                      </a:lnTo>
                      <a:lnTo>
                        <a:pt x="522" y="588"/>
                      </a:lnTo>
                      <a:lnTo>
                        <a:pt x="598" y="575"/>
                      </a:lnTo>
                      <a:lnTo>
                        <a:pt x="638" y="521"/>
                      </a:lnTo>
                      <a:lnTo>
                        <a:pt x="618" y="507"/>
                      </a:lnTo>
                      <a:lnTo>
                        <a:pt x="690" y="343"/>
                      </a:lnTo>
                      <a:lnTo>
                        <a:pt x="707" y="259"/>
                      </a:lnTo>
                      <a:lnTo>
                        <a:pt x="776" y="292"/>
                      </a:lnTo>
                      <a:lnTo>
                        <a:pt x="811" y="196"/>
                      </a:lnTo>
                      <a:lnTo>
                        <a:pt x="847" y="190"/>
                      </a:lnTo>
                      <a:lnTo>
                        <a:pt x="899" y="98"/>
                      </a:lnTo>
                      <a:lnTo>
                        <a:pt x="915" y="0"/>
                      </a:lnTo>
                      <a:lnTo>
                        <a:pt x="1023" y="61"/>
                      </a:lnTo>
                      <a:lnTo>
                        <a:pt x="1041" y="11"/>
                      </a:lnTo>
                      <a:lnTo>
                        <a:pt x="1093" y="26"/>
                      </a:lnTo>
                      <a:lnTo>
                        <a:pt x="1123" y="64"/>
                      </a:lnTo>
                      <a:lnTo>
                        <a:pt x="1169" y="85"/>
                      </a:lnTo>
                      <a:lnTo>
                        <a:pt x="1190" y="116"/>
                      </a:lnTo>
                      <a:lnTo>
                        <a:pt x="1189" y="144"/>
                      </a:lnTo>
                      <a:lnTo>
                        <a:pt x="1156" y="201"/>
                      </a:lnTo>
                      <a:lnTo>
                        <a:pt x="1169" y="239"/>
                      </a:lnTo>
                      <a:lnTo>
                        <a:pt x="1208" y="222"/>
                      </a:lnTo>
                      <a:lnTo>
                        <a:pt x="1224" y="246"/>
                      </a:lnTo>
                      <a:lnTo>
                        <a:pt x="1238" y="262"/>
                      </a:lnTo>
                      <a:lnTo>
                        <a:pt x="1306" y="268"/>
                      </a:lnTo>
                      <a:lnTo>
                        <a:pt x="1326" y="291"/>
                      </a:lnTo>
                      <a:lnTo>
                        <a:pt x="1390" y="308"/>
                      </a:lnTo>
                      <a:lnTo>
                        <a:pt x="1374" y="325"/>
                      </a:lnTo>
                      <a:lnTo>
                        <a:pt x="1379" y="364"/>
                      </a:lnTo>
                      <a:lnTo>
                        <a:pt x="1384" y="380"/>
                      </a:lnTo>
                      <a:lnTo>
                        <a:pt x="1360" y="373"/>
                      </a:lnTo>
                      <a:lnTo>
                        <a:pt x="1319" y="351"/>
                      </a:lnTo>
                      <a:lnTo>
                        <a:pt x="1250" y="305"/>
                      </a:lnTo>
                      <a:lnTo>
                        <a:pt x="1345" y="393"/>
                      </a:lnTo>
                      <a:lnTo>
                        <a:pt x="1396" y="396"/>
                      </a:lnTo>
                      <a:lnTo>
                        <a:pt x="1367" y="411"/>
                      </a:lnTo>
                      <a:lnTo>
                        <a:pt x="1416" y="435"/>
                      </a:lnTo>
                      <a:lnTo>
                        <a:pt x="1415" y="455"/>
                      </a:lnTo>
                      <a:lnTo>
                        <a:pt x="1397" y="437"/>
                      </a:lnTo>
                      <a:lnTo>
                        <a:pt x="1377" y="438"/>
                      </a:lnTo>
                      <a:lnTo>
                        <a:pt x="1383" y="456"/>
                      </a:lnTo>
                      <a:lnTo>
                        <a:pt x="1397" y="468"/>
                      </a:lnTo>
                      <a:lnTo>
                        <a:pt x="1377" y="478"/>
                      </a:lnTo>
                      <a:lnTo>
                        <a:pt x="1325" y="441"/>
                      </a:lnTo>
                      <a:lnTo>
                        <a:pt x="1303" y="423"/>
                      </a:lnTo>
                      <a:lnTo>
                        <a:pt x="1316" y="448"/>
                      </a:lnTo>
                      <a:lnTo>
                        <a:pt x="1368" y="485"/>
                      </a:lnTo>
                      <a:lnTo>
                        <a:pt x="1390" y="488"/>
                      </a:lnTo>
                      <a:lnTo>
                        <a:pt x="1413" y="497"/>
                      </a:lnTo>
                      <a:lnTo>
                        <a:pt x="1411" y="510"/>
                      </a:lnTo>
                      <a:lnTo>
                        <a:pt x="1424" y="510"/>
                      </a:lnTo>
                      <a:lnTo>
                        <a:pt x="1428" y="522"/>
                      </a:lnTo>
                      <a:lnTo>
                        <a:pt x="1406" y="540"/>
                      </a:lnTo>
                      <a:lnTo>
                        <a:pt x="1366" y="522"/>
                      </a:lnTo>
                      <a:lnTo>
                        <a:pt x="1357" y="503"/>
                      </a:lnTo>
                      <a:lnTo>
                        <a:pt x="1306" y="497"/>
                      </a:lnTo>
                      <a:lnTo>
                        <a:pt x="1296" y="481"/>
                      </a:lnTo>
                      <a:lnTo>
                        <a:pt x="1280" y="502"/>
                      </a:lnTo>
                      <a:lnTo>
                        <a:pt x="1346" y="517"/>
                      </a:lnTo>
                      <a:lnTo>
                        <a:pt x="1351" y="536"/>
                      </a:lnTo>
                      <a:lnTo>
                        <a:pt x="1409" y="562"/>
                      </a:lnTo>
                      <a:lnTo>
                        <a:pt x="1425" y="562"/>
                      </a:lnTo>
                      <a:lnTo>
                        <a:pt x="1430" y="542"/>
                      </a:lnTo>
                      <a:lnTo>
                        <a:pt x="1452" y="548"/>
                      </a:lnTo>
                      <a:lnTo>
                        <a:pt x="1490" y="545"/>
                      </a:lnTo>
                      <a:lnTo>
                        <a:pt x="1534" y="625"/>
                      </a:lnTo>
                      <a:lnTo>
                        <a:pt x="1506" y="612"/>
                      </a:lnTo>
                      <a:lnTo>
                        <a:pt x="1498" y="636"/>
                      </a:lnTo>
                      <a:lnTo>
                        <a:pt x="895" y="752"/>
                      </a:lnTo>
                      <a:lnTo>
                        <a:pt x="396" y="817"/>
                      </a:lnTo>
                      <a:lnTo>
                        <a:pt x="0" y="871"/>
                      </a:lnTo>
                      <a:close/>
                    </a:path>
                  </a:pathLst>
                </a:custGeom>
                <a:solidFill>
                  <a:schemeClr val="accent3">
                    <a:lumMod val="40000"/>
                    <a:lumOff val="60000"/>
                  </a:schemeClr>
                </a:solidFill>
                <a:ln w="9525">
                  <a:solidFill>
                    <a:schemeClr val="tx1"/>
                  </a:solidFill>
                  <a:round/>
                  <a:headEnd/>
                  <a:tailEnd/>
                </a:ln>
              </p:spPr>
              <p:txBody>
                <a:bodyPr/>
                <a:lstStyle/>
                <a:p>
                  <a:pPr>
                    <a:defRPr/>
                  </a:pPr>
                  <a:endParaRPr lang="en-US" sz="1100" dirty="0">
                    <a:latin typeface="+mj-lt"/>
                  </a:endParaRPr>
                </a:p>
              </p:txBody>
            </p:sp>
            <p:sp>
              <p:nvSpPr>
                <p:cNvPr id="132" name="Freeform 87"/>
                <p:cNvSpPr>
                  <a:spLocks/>
                </p:cNvSpPr>
                <p:nvPr/>
              </p:nvSpPr>
              <p:spPr bwMode="gray">
                <a:xfrm>
                  <a:off x="5055319" y="2595604"/>
                  <a:ext cx="41903" cy="119863"/>
                </a:xfrm>
                <a:custGeom>
                  <a:avLst/>
                  <a:gdLst>
                    <a:gd name="T0" fmla="*/ 1 w 86"/>
                    <a:gd name="T1" fmla="*/ 139 h 247"/>
                    <a:gd name="T2" fmla="*/ 0 w 86"/>
                    <a:gd name="T3" fmla="*/ 216 h 247"/>
                    <a:gd name="T4" fmla="*/ 18 w 86"/>
                    <a:gd name="T5" fmla="*/ 247 h 247"/>
                    <a:gd name="T6" fmla="*/ 33 w 86"/>
                    <a:gd name="T7" fmla="*/ 156 h 247"/>
                    <a:gd name="T8" fmla="*/ 61 w 86"/>
                    <a:gd name="T9" fmla="*/ 118 h 247"/>
                    <a:gd name="T10" fmla="*/ 86 w 86"/>
                    <a:gd name="T11" fmla="*/ 0 h 247"/>
                    <a:gd name="T12" fmla="*/ 36 w 86"/>
                    <a:gd name="T13" fmla="*/ 27 h 247"/>
                    <a:gd name="T14" fmla="*/ 1 w 86"/>
                    <a:gd name="T15" fmla="*/ 139 h 247"/>
                    <a:gd name="T16" fmla="*/ 0 60000 65536"/>
                    <a:gd name="T17" fmla="*/ 0 60000 65536"/>
                    <a:gd name="T18" fmla="*/ 0 60000 65536"/>
                    <a:gd name="T19" fmla="*/ 0 60000 65536"/>
                    <a:gd name="T20" fmla="*/ 0 60000 65536"/>
                    <a:gd name="T21" fmla="*/ 0 60000 65536"/>
                    <a:gd name="T22" fmla="*/ 0 60000 65536"/>
                    <a:gd name="T23" fmla="*/ 0 60000 65536"/>
                    <a:gd name="T24" fmla="*/ 0 w 86"/>
                    <a:gd name="T25" fmla="*/ 0 h 247"/>
                    <a:gd name="T26" fmla="*/ 86 w 86"/>
                    <a:gd name="T27" fmla="*/ 247 h 2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6" h="247">
                      <a:moveTo>
                        <a:pt x="1" y="139"/>
                      </a:moveTo>
                      <a:lnTo>
                        <a:pt x="0" y="216"/>
                      </a:lnTo>
                      <a:lnTo>
                        <a:pt x="18" y="247"/>
                      </a:lnTo>
                      <a:lnTo>
                        <a:pt x="33" y="156"/>
                      </a:lnTo>
                      <a:lnTo>
                        <a:pt x="61" y="118"/>
                      </a:lnTo>
                      <a:lnTo>
                        <a:pt x="86" y="0"/>
                      </a:lnTo>
                      <a:lnTo>
                        <a:pt x="36" y="27"/>
                      </a:lnTo>
                      <a:lnTo>
                        <a:pt x="1" y="139"/>
                      </a:lnTo>
                      <a:close/>
                    </a:path>
                  </a:pathLst>
                </a:custGeom>
                <a:grpFill/>
                <a:ln w="9525">
                  <a:solidFill>
                    <a:schemeClr val="tx1"/>
                  </a:solidFill>
                  <a:round/>
                  <a:headEnd/>
                  <a:tailEnd/>
                </a:ln>
              </p:spPr>
              <p:txBody>
                <a:bodyPr/>
                <a:lstStyle/>
                <a:p>
                  <a:pPr>
                    <a:defRPr/>
                  </a:pPr>
                  <a:endParaRPr lang="en-US" sz="1100" dirty="0">
                    <a:latin typeface="+mj-lt"/>
                  </a:endParaRPr>
                </a:p>
              </p:txBody>
            </p:sp>
          </p:grpSp>
          <p:grpSp>
            <p:nvGrpSpPr>
              <p:cNvPr id="124" name="Group 112"/>
              <p:cNvGrpSpPr/>
              <p:nvPr/>
            </p:nvGrpSpPr>
            <p:grpSpPr bwMode="gray">
              <a:xfrm>
                <a:off x="813361" y="1144588"/>
                <a:ext cx="646088" cy="471653"/>
                <a:chOff x="813361" y="1144588"/>
                <a:chExt cx="646088" cy="471653"/>
              </a:xfrm>
              <a:grpFill/>
            </p:grpSpPr>
            <p:sp>
              <p:nvSpPr>
                <p:cNvPr id="128" name="Freeform 88"/>
                <p:cNvSpPr>
                  <a:spLocks/>
                </p:cNvSpPr>
                <p:nvPr/>
              </p:nvSpPr>
              <p:spPr bwMode="gray">
                <a:xfrm>
                  <a:off x="813361" y="1144588"/>
                  <a:ext cx="646088" cy="471653"/>
                </a:xfrm>
                <a:custGeom>
                  <a:avLst/>
                  <a:gdLst>
                    <a:gd name="T0" fmla="*/ 46 w 1325"/>
                    <a:gd name="T1" fmla="*/ 266 h 966"/>
                    <a:gd name="T2" fmla="*/ 39 w 1325"/>
                    <a:gd name="T3" fmla="*/ 412 h 966"/>
                    <a:gd name="T4" fmla="*/ 56 w 1325"/>
                    <a:gd name="T5" fmla="*/ 430 h 966"/>
                    <a:gd name="T6" fmla="*/ 30 w 1325"/>
                    <a:gd name="T7" fmla="*/ 476 h 966"/>
                    <a:gd name="T8" fmla="*/ 41 w 1325"/>
                    <a:gd name="T9" fmla="*/ 501 h 966"/>
                    <a:gd name="T10" fmla="*/ 16 w 1325"/>
                    <a:gd name="T11" fmla="*/ 561 h 966"/>
                    <a:gd name="T12" fmla="*/ 0 w 1325"/>
                    <a:gd name="T13" fmla="*/ 571 h 966"/>
                    <a:gd name="T14" fmla="*/ 98 w 1325"/>
                    <a:gd name="T15" fmla="*/ 646 h 966"/>
                    <a:gd name="T16" fmla="*/ 165 w 1325"/>
                    <a:gd name="T17" fmla="*/ 779 h 966"/>
                    <a:gd name="T18" fmla="*/ 477 w 1325"/>
                    <a:gd name="T19" fmla="*/ 885 h 966"/>
                    <a:gd name="T20" fmla="*/ 1174 w 1325"/>
                    <a:gd name="T21" fmla="*/ 966 h 966"/>
                    <a:gd name="T22" fmla="*/ 408 w 1325"/>
                    <a:gd name="T23" fmla="*/ 0 h 966"/>
                    <a:gd name="T24" fmla="*/ 394 w 1325"/>
                    <a:gd name="T25" fmla="*/ 24 h 966"/>
                    <a:gd name="T26" fmla="*/ 404 w 1325"/>
                    <a:gd name="T27" fmla="*/ 66 h 966"/>
                    <a:gd name="T28" fmla="*/ 425 w 1325"/>
                    <a:gd name="T29" fmla="*/ 96 h 966"/>
                    <a:gd name="T30" fmla="*/ 391 w 1325"/>
                    <a:gd name="T31" fmla="*/ 120 h 966"/>
                    <a:gd name="T32" fmla="*/ 399 w 1325"/>
                    <a:gd name="T33" fmla="*/ 144 h 966"/>
                    <a:gd name="T34" fmla="*/ 417 w 1325"/>
                    <a:gd name="T35" fmla="*/ 249 h 966"/>
                    <a:gd name="T36" fmla="*/ 410 w 1325"/>
                    <a:gd name="T37" fmla="*/ 267 h 966"/>
                    <a:gd name="T38" fmla="*/ 375 w 1325"/>
                    <a:gd name="T39" fmla="*/ 330 h 966"/>
                    <a:gd name="T40" fmla="*/ 365 w 1325"/>
                    <a:gd name="T41" fmla="*/ 351 h 966"/>
                    <a:gd name="T42" fmla="*/ 342 w 1325"/>
                    <a:gd name="T43" fmla="*/ 430 h 966"/>
                    <a:gd name="T44" fmla="*/ 287 w 1325"/>
                    <a:gd name="T45" fmla="*/ 455 h 966"/>
                    <a:gd name="T46" fmla="*/ 263 w 1325"/>
                    <a:gd name="T47" fmla="*/ 444 h 966"/>
                    <a:gd name="T48" fmla="*/ 243 w 1325"/>
                    <a:gd name="T49" fmla="*/ 458 h 966"/>
                    <a:gd name="T50" fmla="*/ 248 w 1325"/>
                    <a:gd name="T51" fmla="*/ 429 h 966"/>
                    <a:gd name="T52" fmla="*/ 227 w 1325"/>
                    <a:gd name="T53" fmla="*/ 413 h 966"/>
                    <a:gd name="T54" fmla="*/ 260 w 1325"/>
                    <a:gd name="T55" fmla="*/ 397 h 966"/>
                    <a:gd name="T56" fmla="*/ 279 w 1325"/>
                    <a:gd name="T57" fmla="*/ 431 h 966"/>
                    <a:gd name="T58" fmla="*/ 302 w 1325"/>
                    <a:gd name="T59" fmla="*/ 409 h 966"/>
                    <a:gd name="T60" fmla="*/ 329 w 1325"/>
                    <a:gd name="T61" fmla="*/ 389 h 966"/>
                    <a:gd name="T62" fmla="*/ 316 w 1325"/>
                    <a:gd name="T63" fmla="*/ 350 h 966"/>
                    <a:gd name="T64" fmla="*/ 334 w 1325"/>
                    <a:gd name="T65" fmla="*/ 305 h 966"/>
                    <a:gd name="T66" fmla="*/ 356 w 1325"/>
                    <a:gd name="T67" fmla="*/ 255 h 966"/>
                    <a:gd name="T68" fmla="*/ 326 w 1325"/>
                    <a:gd name="T69" fmla="*/ 295 h 966"/>
                    <a:gd name="T70" fmla="*/ 263 w 1325"/>
                    <a:gd name="T71" fmla="*/ 338 h 966"/>
                    <a:gd name="T72" fmla="*/ 244 w 1325"/>
                    <a:gd name="T73" fmla="*/ 377 h 966"/>
                    <a:gd name="T74" fmla="*/ 289 w 1325"/>
                    <a:gd name="T75" fmla="*/ 304 h 966"/>
                    <a:gd name="T76" fmla="*/ 339 w 1325"/>
                    <a:gd name="T77" fmla="*/ 273 h 966"/>
                    <a:gd name="T78" fmla="*/ 345 w 1325"/>
                    <a:gd name="T79" fmla="*/ 232 h 966"/>
                    <a:gd name="T80" fmla="*/ 332 w 1325"/>
                    <a:gd name="T81" fmla="*/ 202 h 966"/>
                    <a:gd name="T82" fmla="*/ 317 w 1325"/>
                    <a:gd name="T83" fmla="*/ 208 h 966"/>
                    <a:gd name="T84" fmla="*/ 284 w 1325"/>
                    <a:gd name="T85" fmla="*/ 181 h 966"/>
                    <a:gd name="T86" fmla="*/ 55 w 1325"/>
                    <a:gd name="T87" fmla="*/ 47 h 96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325"/>
                    <a:gd name="T133" fmla="*/ 0 h 966"/>
                    <a:gd name="T134" fmla="*/ 1325 w 1325"/>
                    <a:gd name="T135" fmla="*/ 966 h 96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325" h="966">
                      <a:moveTo>
                        <a:pt x="30" y="167"/>
                      </a:moveTo>
                      <a:lnTo>
                        <a:pt x="49" y="210"/>
                      </a:lnTo>
                      <a:lnTo>
                        <a:pt x="46" y="266"/>
                      </a:lnTo>
                      <a:lnTo>
                        <a:pt x="41" y="318"/>
                      </a:lnTo>
                      <a:lnTo>
                        <a:pt x="48" y="339"/>
                      </a:lnTo>
                      <a:lnTo>
                        <a:pt x="39" y="412"/>
                      </a:lnTo>
                      <a:lnTo>
                        <a:pt x="61" y="397"/>
                      </a:lnTo>
                      <a:lnTo>
                        <a:pt x="92" y="426"/>
                      </a:lnTo>
                      <a:lnTo>
                        <a:pt x="56" y="430"/>
                      </a:lnTo>
                      <a:lnTo>
                        <a:pt x="36" y="428"/>
                      </a:lnTo>
                      <a:lnTo>
                        <a:pt x="33" y="457"/>
                      </a:lnTo>
                      <a:lnTo>
                        <a:pt x="30" y="476"/>
                      </a:lnTo>
                      <a:lnTo>
                        <a:pt x="62" y="476"/>
                      </a:lnTo>
                      <a:lnTo>
                        <a:pt x="67" y="489"/>
                      </a:lnTo>
                      <a:lnTo>
                        <a:pt x="41" y="501"/>
                      </a:lnTo>
                      <a:lnTo>
                        <a:pt x="46" y="529"/>
                      </a:lnTo>
                      <a:lnTo>
                        <a:pt x="28" y="562"/>
                      </a:lnTo>
                      <a:lnTo>
                        <a:pt x="16" y="561"/>
                      </a:lnTo>
                      <a:lnTo>
                        <a:pt x="29" y="513"/>
                      </a:lnTo>
                      <a:lnTo>
                        <a:pt x="22" y="499"/>
                      </a:lnTo>
                      <a:lnTo>
                        <a:pt x="0" y="571"/>
                      </a:lnTo>
                      <a:lnTo>
                        <a:pt x="36" y="595"/>
                      </a:lnTo>
                      <a:lnTo>
                        <a:pt x="93" y="621"/>
                      </a:lnTo>
                      <a:lnTo>
                        <a:pt x="98" y="646"/>
                      </a:lnTo>
                      <a:lnTo>
                        <a:pt x="124" y="650"/>
                      </a:lnTo>
                      <a:lnTo>
                        <a:pt x="173" y="747"/>
                      </a:lnTo>
                      <a:lnTo>
                        <a:pt x="165" y="779"/>
                      </a:lnTo>
                      <a:lnTo>
                        <a:pt x="242" y="845"/>
                      </a:lnTo>
                      <a:lnTo>
                        <a:pt x="377" y="840"/>
                      </a:lnTo>
                      <a:lnTo>
                        <a:pt x="477" y="885"/>
                      </a:lnTo>
                      <a:lnTo>
                        <a:pt x="525" y="875"/>
                      </a:lnTo>
                      <a:lnTo>
                        <a:pt x="828" y="885"/>
                      </a:lnTo>
                      <a:lnTo>
                        <a:pt x="1174" y="966"/>
                      </a:lnTo>
                      <a:lnTo>
                        <a:pt x="1181" y="860"/>
                      </a:lnTo>
                      <a:lnTo>
                        <a:pt x="1325" y="240"/>
                      </a:lnTo>
                      <a:lnTo>
                        <a:pt x="408" y="0"/>
                      </a:lnTo>
                      <a:lnTo>
                        <a:pt x="398" y="5"/>
                      </a:lnTo>
                      <a:lnTo>
                        <a:pt x="404" y="18"/>
                      </a:lnTo>
                      <a:lnTo>
                        <a:pt x="394" y="24"/>
                      </a:lnTo>
                      <a:lnTo>
                        <a:pt x="404" y="37"/>
                      </a:lnTo>
                      <a:lnTo>
                        <a:pt x="400" y="51"/>
                      </a:lnTo>
                      <a:lnTo>
                        <a:pt x="404" y="66"/>
                      </a:lnTo>
                      <a:lnTo>
                        <a:pt x="417" y="61"/>
                      </a:lnTo>
                      <a:lnTo>
                        <a:pt x="432" y="68"/>
                      </a:lnTo>
                      <a:lnTo>
                        <a:pt x="425" y="96"/>
                      </a:lnTo>
                      <a:lnTo>
                        <a:pt x="430" y="107"/>
                      </a:lnTo>
                      <a:lnTo>
                        <a:pt x="412" y="143"/>
                      </a:lnTo>
                      <a:lnTo>
                        <a:pt x="391" y="120"/>
                      </a:lnTo>
                      <a:lnTo>
                        <a:pt x="382" y="124"/>
                      </a:lnTo>
                      <a:lnTo>
                        <a:pt x="382" y="141"/>
                      </a:lnTo>
                      <a:lnTo>
                        <a:pt x="399" y="144"/>
                      </a:lnTo>
                      <a:lnTo>
                        <a:pt x="418" y="183"/>
                      </a:lnTo>
                      <a:lnTo>
                        <a:pt x="410" y="233"/>
                      </a:lnTo>
                      <a:lnTo>
                        <a:pt x="417" y="249"/>
                      </a:lnTo>
                      <a:lnTo>
                        <a:pt x="429" y="253"/>
                      </a:lnTo>
                      <a:lnTo>
                        <a:pt x="421" y="262"/>
                      </a:lnTo>
                      <a:lnTo>
                        <a:pt x="410" y="267"/>
                      </a:lnTo>
                      <a:lnTo>
                        <a:pt x="382" y="299"/>
                      </a:lnTo>
                      <a:lnTo>
                        <a:pt x="382" y="310"/>
                      </a:lnTo>
                      <a:lnTo>
                        <a:pt x="375" y="330"/>
                      </a:lnTo>
                      <a:lnTo>
                        <a:pt x="368" y="332"/>
                      </a:lnTo>
                      <a:lnTo>
                        <a:pt x="377" y="347"/>
                      </a:lnTo>
                      <a:lnTo>
                        <a:pt x="365" y="351"/>
                      </a:lnTo>
                      <a:lnTo>
                        <a:pt x="365" y="408"/>
                      </a:lnTo>
                      <a:lnTo>
                        <a:pt x="342" y="415"/>
                      </a:lnTo>
                      <a:lnTo>
                        <a:pt x="342" y="430"/>
                      </a:lnTo>
                      <a:lnTo>
                        <a:pt x="326" y="411"/>
                      </a:lnTo>
                      <a:lnTo>
                        <a:pt x="323" y="422"/>
                      </a:lnTo>
                      <a:lnTo>
                        <a:pt x="287" y="455"/>
                      </a:lnTo>
                      <a:lnTo>
                        <a:pt x="274" y="450"/>
                      </a:lnTo>
                      <a:lnTo>
                        <a:pt x="268" y="434"/>
                      </a:lnTo>
                      <a:lnTo>
                        <a:pt x="263" y="444"/>
                      </a:lnTo>
                      <a:lnTo>
                        <a:pt x="255" y="436"/>
                      </a:lnTo>
                      <a:lnTo>
                        <a:pt x="248" y="461"/>
                      </a:lnTo>
                      <a:lnTo>
                        <a:pt x="243" y="458"/>
                      </a:lnTo>
                      <a:lnTo>
                        <a:pt x="245" y="441"/>
                      </a:lnTo>
                      <a:lnTo>
                        <a:pt x="232" y="443"/>
                      </a:lnTo>
                      <a:lnTo>
                        <a:pt x="248" y="429"/>
                      </a:lnTo>
                      <a:lnTo>
                        <a:pt x="228" y="428"/>
                      </a:lnTo>
                      <a:lnTo>
                        <a:pt x="243" y="418"/>
                      </a:lnTo>
                      <a:lnTo>
                        <a:pt x="227" y="413"/>
                      </a:lnTo>
                      <a:lnTo>
                        <a:pt x="234" y="402"/>
                      </a:lnTo>
                      <a:lnTo>
                        <a:pt x="250" y="413"/>
                      </a:lnTo>
                      <a:lnTo>
                        <a:pt x="260" y="397"/>
                      </a:lnTo>
                      <a:lnTo>
                        <a:pt x="287" y="383"/>
                      </a:lnTo>
                      <a:lnTo>
                        <a:pt x="273" y="416"/>
                      </a:lnTo>
                      <a:lnTo>
                        <a:pt x="279" y="431"/>
                      </a:lnTo>
                      <a:lnTo>
                        <a:pt x="289" y="400"/>
                      </a:lnTo>
                      <a:lnTo>
                        <a:pt x="315" y="387"/>
                      </a:lnTo>
                      <a:lnTo>
                        <a:pt x="302" y="409"/>
                      </a:lnTo>
                      <a:lnTo>
                        <a:pt x="316" y="421"/>
                      </a:lnTo>
                      <a:lnTo>
                        <a:pt x="316" y="403"/>
                      </a:lnTo>
                      <a:lnTo>
                        <a:pt x="329" y="389"/>
                      </a:lnTo>
                      <a:lnTo>
                        <a:pt x="343" y="366"/>
                      </a:lnTo>
                      <a:lnTo>
                        <a:pt x="340" y="348"/>
                      </a:lnTo>
                      <a:lnTo>
                        <a:pt x="316" y="350"/>
                      </a:lnTo>
                      <a:lnTo>
                        <a:pt x="320" y="328"/>
                      </a:lnTo>
                      <a:lnTo>
                        <a:pt x="333" y="340"/>
                      </a:lnTo>
                      <a:lnTo>
                        <a:pt x="334" y="305"/>
                      </a:lnTo>
                      <a:lnTo>
                        <a:pt x="365" y="307"/>
                      </a:lnTo>
                      <a:lnTo>
                        <a:pt x="367" y="273"/>
                      </a:lnTo>
                      <a:lnTo>
                        <a:pt x="356" y="255"/>
                      </a:lnTo>
                      <a:lnTo>
                        <a:pt x="355" y="287"/>
                      </a:lnTo>
                      <a:lnTo>
                        <a:pt x="347" y="280"/>
                      </a:lnTo>
                      <a:lnTo>
                        <a:pt x="326" y="295"/>
                      </a:lnTo>
                      <a:lnTo>
                        <a:pt x="313" y="315"/>
                      </a:lnTo>
                      <a:lnTo>
                        <a:pt x="295" y="317"/>
                      </a:lnTo>
                      <a:lnTo>
                        <a:pt x="263" y="338"/>
                      </a:lnTo>
                      <a:lnTo>
                        <a:pt x="238" y="366"/>
                      </a:lnTo>
                      <a:lnTo>
                        <a:pt x="282" y="367"/>
                      </a:lnTo>
                      <a:lnTo>
                        <a:pt x="244" y="377"/>
                      </a:lnTo>
                      <a:lnTo>
                        <a:pt x="227" y="370"/>
                      </a:lnTo>
                      <a:lnTo>
                        <a:pt x="263" y="317"/>
                      </a:lnTo>
                      <a:lnTo>
                        <a:pt x="289" y="304"/>
                      </a:lnTo>
                      <a:lnTo>
                        <a:pt x="317" y="271"/>
                      </a:lnTo>
                      <a:lnTo>
                        <a:pt x="322" y="289"/>
                      </a:lnTo>
                      <a:lnTo>
                        <a:pt x="339" y="273"/>
                      </a:lnTo>
                      <a:lnTo>
                        <a:pt x="355" y="237"/>
                      </a:lnTo>
                      <a:lnTo>
                        <a:pt x="351" y="213"/>
                      </a:lnTo>
                      <a:lnTo>
                        <a:pt x="345" y="232"/>
                      </a:lnTo>
                      <a:lnTo>
                        <a:pt x="335" y="229"/>
                      </a:lnTo>
                      <a:lnTo>
                        <a:pt x="343" y="202"/>
                      </a:lnTo>
                      <a:lnTo>
                        <a:pt x="332" y="202"/>
                      </a:lnTo>
                      <a:lnTo>
                        <a:pt x="329" y="226"/>
                      </a:lnTo>
                      <a:lnTo>
                        <a:pt x="319" y="233"/>
                      </a:lnTo>
                      <a:lnTo>
                        <a:pt x="317" y="208"/>
                      </a:lnTo>
                      <a:lnTo>
                        <a:pt x="308" y="202"/>
                      </a:lnTo>
                      <a:lnTo>
                        <a:pt x="300" y="214"/>
                      </a:lnTo>
                      <a:lnTo>
                        <a:pt x="284" y="181"/>
                      </a:lnTo>
                      <a:lnTo>
                        <a:pt x="254" y="180"/>
                      </a:lnTo>
                      <a:lnTo>
                        <a:pt x="137" y="120"/>
                      </a:lnTo>
                      <a:lnTo>
                        <a:pt x="55" y="47"/>
                      </a:lnTo>
                      <a:lnTo>
                        <a:pt x="32" y="100"/>
                      </a:lnTo>
                      <a:lnTo>
                        <a:pt x="30" y="167"/>
                      </a:lnTo>
                      <a:close/>
                    </a:path>
                  </a:pathLst>
                </a:custGeom>
                <a:solidFill>
                  <a:schemeClr val="accent1">
                    <a:lumMod val="40000"/>
                    <a:lumOff val="60000"/>
                  </a:schemeClr>
                </a:solidFill>
                <a:ln w="9525">
                  <a:solidFill>
                    <a:schemeClr val="tx1"/>
                  </a:solidFill>
                  <a:round/>
                  <a:headEnd/>
                  <a:tailEnd/>
                </a:ln>
              </p:spPr>
              <p:txBody>
                <a:bodyPr/>
                <a:lstStyle/>
                <a:p>
                  <a:pPr>
                    <a:defRPr/>
                  </a:pPr>
                  <a:endParaRPr lang="en-US" sz="1100" dirty="0">
                    <a:latin typeface="+mj-lt"/>
                  </a:endParaRPr>
                </a:p>
              </p:txBody>
            </p:sp>
            <p:sp>
              <p:nvSpPr>
                <p:cNvPr id="129" name="Freeform 89"/>
                <p:cNvSpPr>
                  <a:spLocks/>
                </p:cNvSpPr>
                <p:nvPr/>
              </p:nvSpPr>
              <p:spPr bwMode="gray">
                <a:xfrm>
                  <a:off x="965382" y="1172848"/>
                  <a:ext cx="29235" cy="35082"/>
                </a:xfrm>
                <a:custGeom>
                  <a:avLst/>
                  <a:gdLst>
                    <a:gd name="T0" fmla="*/ 0 w 60"/>
                    <a:gd name="T1" fmla="*/ 32 h 72"/>
                    <a:gd name="T2" fmla="*/ 49 w 60"/>
                    <a:gd name="T3" fmla="*/ 0 h 72"/>
                    <a:gd name="T4" fmla="*/ 60 w 60"/>
                    <a:gd name="T5" fmla="*/ 30 h 72"/>
                    <a:gd name="T6" fmla="*/ 50 w 60"/>
                    <a:gd name="T7" fmla="*/ 72 h 72"/>
                    <a:gd name="T8" fmla="*/ 0 w 60"/>
                    <a:gd name="T9" fmla="*/ 32 h 72"/>
                    <a:gd name="T10" fmla="*/ 0 60000 65536"/>
                    <a:gd name="T11" fmla="*/ 0 60000 65536"/>
                    <a:gd name="T12" fmla="*/ 0 60000 65536"/>
                    <a:gd name="T13" fmla="*/ 0 60000 65536"/>
                    <a:gd name="T14" fmla="*/ 0 60000 65536"/>
                    <a:gd name="T15" fmla="*/ 0 w 60"/>
                    <a:gd name="T16" fmla="*/ 0 h 72"/>
                    <a:gd name="T17" fmla="*/ 60 w 60"/>
                    <a:gd name="T18" fmla="*/ 72 h 72"/>
                  </a:gdLst>
                  <a:ahLst/>
                  <a:cxnLst>
                    <a:cxn ang="T10">
                      <a:pos x="T0" y="T1"/>
                    </a:cxn>
                    <a:cxn ang="T11">
                      <a:pos x="T2" y="T3"/>
                    </a:cxn>
                    <a:cxn ang="T12">
                      <a:pos x="T4" y="T5"/>
                    </a:cxn>
                    <a:cxn ang="T13">
                      <a:pos x="T6" y="T7"/>
                    </a:cxn>
                    <a:cxn ang="T14">
                      <a:pos x="T8" y="T9"/>
                    </a:cxn>
                  </a:cxnLst>
                  <a:rect l="T15" t="T16" r="T17" b="T18"/>
                  <a:pathLst>
                    <a:path w="60" h="72">
                      <a:moveTo>
                        <a:pt x="0" y="32"/>
                      </a:moveTo>
                      <a:lnTo>
                        <a:pt x="49" y="0"/>
                      </a:lnTo>
                      <a:lnTo>
                        <a:pt x="60" y="30"/>
                      </a:lnTo>
                      <a:lnTo>
                        <a:pt x="50" y="72"/>
                      </a:lnTo>
                      <a:lnTo>
                        <a:pt x="0" y="32"/>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30" name="Freeform 90"/>
                <p:cNvSpPr>
                  <a:spLocks/>
                </p:cNvSpPr>
                <p:nvPr/>
              </p:nvSpPr>
              <p:spPr bwMode="gray">
                <a:xfrm>
                  <a:off x="985847" y="1218649"/>
                  <a:ext cx="21439" cy="49699"/>
                </a:xfrm>
                <a:custGeom>
                  <a:avLst/>
                  <a:gdLst>
                    <a:gd name="T0" fmla="*/ 0 w 44"/>
                    <a:gd name="T1" fmla="*/ 28 h 103"/>
                    <a:gd name="T2" fmla="*/ 26 w 44"/>
                    <a:gd name="T3" fmla="*/ 0 h 103"/>
                    <a:gd name="T4" fmla="*/ 44 w 44"/>
                    <a:gd name="T5" fmla="*/ 17 h 103"/>
                    <a:gd name="T6" fmla="*/ 32 w 44"/>
                    <a:gd name="T7" fmla="*/ 103 h 103"/>
                    <a:gd name="T8" fmla="*/ 0 w 44"/>
                    <a:gd name="T9" fmla="*/ 28 h 103"/>
                    <a:gd name="T10" fmla="*/ 0 60000 65536"/>
                    <a:gd name="T11" fmla="*/ 0 60000 65536"/>
                    <a:gd name="T12" fmla="*/ 0 60000 65536"/>
                    <a:gd name="T13" fmla="*/ 0 60000 65536"/>
                    <a:gd name="T14" fmla="*/ 0 60000 65536"/>
                    <a:gd name="T15" fmla="*/ 0 w 44"/>
                    <a:gd name="T16" fmla="*/ 0 h 103"/>
                    <a:gd name="T17" fmla="*/ 44 w 44"/>
                    <a:gd name="T18" fmla="*/ 103 h 103"/>
                  </a:gdLst>
                  <a:ahLst/>
                  <a:cxnLst>
                    <a:cxn ang="T10">
                      <a:pos x="T0" y="T1"/>
                    </a:cxn>
                    <a:cxn ang="T11">
                      <a:pos x="T2" y="T3"/>
                    </a:cxn>
                    <a:cxn ang="T12">
                      <a:pos x="T4" y="T5"/>
                    </a:cxn>
                    <a:cxn ang="T13">
                      <a:pos x="T6" y="T7"/>
                    </a:cxn>
                    <a:cxn ang="T14">
                      <a:pos x="T8" y="T9"/>
                    </a:cxn>
                  </a:cxnLst>
                  <a:rect l="T15" t="T16" r="T17" b="T18"/>
                  <a:pathLst>
                    <a:path w="44" h="103">
                      <a:moveTo>
                        <a:pt x="0" y="28"/>
                      </a:moveTo>
                      <a:lnTo>
                        <a:pt x="26" y="0"/>
                      </a:lnTo>
                      <a:lnTo>
                        <a:pt x="44" y="17"/>
                      </a:lnTo>
                      <a:lnTo>
                        <a:pt x="32" y="103"/>
                      </a:lnTo>
                      <a:lnTo>
                        <a:pt x="0" y="28"/>
                      </a:lnTo>
                      <a:close/>
                    </a:path>
                  </a:pathLst>
                </a:custGeom>
                <a:grpFill/>
                <a:ln w="9525">
                  <a:solidFill>
                    <a:schemeClr val="tx1"/>
                  </a:solidFill>
                  <a:round/>
                  <a:headEnd/>
                  <a:tailEnd/>
                </a:ln>
              </p:spPr>
              <p:txBody>
                <a:bodyPr/>
                <a:lstStyle/>
                <a:p>
                  <a:pPr>
                    <a:defRPr/>
                  </a:pPr>
                  <a:endParaRPr lang="en-US" sz="1100" dirty="0">
                    <a:latin typeface="+mj-lt"/>
                  </a:endParaRPr>
                </a:p>
              </p:txBody>
            </p:sp>
          </p:grpSp>
          <p:sp>
            <p:nvSpPr>
              <p:cNvPr id="125" name="Freeform 91"/>
              <p:cNvSpPr>
                <a:spLocks/>
              </p:cNvSpPr>
              <p:nvPr/>
            </p:nvSpPr>
            <p:spPr bwMode="gray">
              <a:xfrm>
                <a:off x="4414104" y="2367573"/>
                <a:ext cx="434623" cy="429751"/>
              </a:xfrm>
              <a:custGeom>
                <a:avLst/>
                <a:gdLst>
                  <a:gd name="T0" fmla="*/ 0 w 891"/>
                  <a:gd name="T1" fmla="*/ 611 h 884"/>
                  <a:gd name="T2" fmla="*/ 35 w 891"/>
                  <a:gd name="T3" fmla="*/ 733 h 884"/>
                  <a:gd name="T4" fmla="*/ 74 w 891"/>
                  <a:gd name="T5" fmla="*/ 775 h 884"/>
                  <a:gd name="T6" fmla="*/ 149 w 891"/>
                  <a:gd name="T7" fmla="*/ 818 h 884"/>
                  <a:gd name="T8" fmla="*/ 205 w 891"/>
                  <a:gd name="T9" fmla="*/ 884 h 884"/>
                  <a:gd name="T10" fmla="*/ 274 w 891"/>
                  <a:gd name="T11" fmla="*/ 851 h 884"/>
                  <a:gd name="T12" fmla="*/ 303 w 891"/>
                  <a:gd name="T13" fmla="*/ 871 h 884"/>
                  <a:gd name="T14" fmla="*/ 346 w 891"/>
                  <a:gd name="T15" fmla="*/ 851 h 884"/>
                  <a:gd name="T16" fmla="*/ 372 w 891"/>
                  <a:gd name="T17" fmla="*/ 814 h 884"/>
                  <a:gd name="T18" fmla="*/ 448 w 891"/>
                  <a:gd name="T19" fmla="*/ 801 h 884"/>
                  <a:gd name="T20" fmla="*/ 488 w 891"/>
                  <a:gd name="T21" fmla="*/ 747 h 884"/>
                  <a:gd name="T22" fmla="*/ 468 w 891"/>
                  <a:gd name="T23" fmla="*/ 733 h 884"/>
                  <a:gd name="T24" fmla="*/ 540 w 891"/>
                  <a:gd name="T25" fmla="*/ 569 h 884"/>
                  <a:gd name="T26" fmla="*/ 557 w 891"/>
                  <a:gd name="T27" fmla="*/ 485 h 884"/>
                  <a:gd name="T28" fmla="*/ 626 w 891"/>
                  <a:gd name="T29" fmla="*/ 518 h 884"/>
                  <a:gd name="T30" fmla="*/ 661 w 891"/>
                  <a:gd name="T31" fmla="*/ 422 h 884"/>
                  <a:gd name="T32" fmla="*/ 697 w 891"/>
                  <a:gd name="T33" fmla="*/ 416 h 884"/>
                  <a:gd name="T34" fmla="*/ 749 w 891"/>
                  <a:gd name="T35" fmla="*/ 324 h 884"/>
                  <a:gd name="T36" fmla="*/ 765 w 891"/>
                  <a:gd name="T37" fmla="*/ 226 h 884"/>
                  <a:gd name="T38" fmla="*/ 873 w 891"/>
                  <a:gd name="T39" fmla="*/ 287 h 884"/>
                  <a:gd name="T40" fmla="*/ 891 w 891"/>
                  <a:gd name="T41" fmla="*/ 237 h 884"/>
                  <a:gd name="T42" fmla="*/ 863 w 891"/>
                  <a:gd name="T43" fmla="*/ 198 h 884"/>
                  <a:gd name="T44" fmla="*/ 814 w 891"/>
                  <a:gd name="T45" fmla="*/ 176 h 884"/>
                  <a:gd name="T46" fmla="*/ 756 w 891"/>
                  <a:gd name="T47" fmla="*/ 182 h 884"/>
                  <a:gd name="T48" fmla="*/ 735 w 891"/>
                  <a:gd name="T49" fmla="*/ 216 h 884"/>
                  <a:gd name="T50" fmla="*/ 628 w 891"/>
                  <a:gd name="T51" fmla="*/ 246 h 884"/>
                  <a:gd name="T52" fmla="*/ 560 w 891"/>
                  <a:gd name="T53" fmla="*/ 326 h 884"/>
                  <a:gd name="T54" fmla="*/ 537 w 891"/>
                  <a:gd name="T55" fmla="*/ 199 h 884"/>
                  <a:gd name="T56" fmla="*/ 345 w 891"/>
                  <a:gd name="T57" fmla="*/ 231 h 884"/>
                  <a:gd name="T58" fmla="*/ 307 w 891"/>
                  <a:gd name="T59" fmla="*/ 0 h 884"/>
                  <a:gd name="T60" fmla="*/ 280 w 891"/>
                  <a:gd name="T61" fmla="*/ 20 h 884"/>
                  <a:gd name="T62" fmla="*/ 297 w 891"/>
                  <a:gd name="T63" fmla="*/ 63 h 884"/>
                  <a:gd name="T64" fmla="*/ 272 w 891"/>
                  <a:gd name="T65" fmla="*/ 268 h 884"/>
                  <a:gd name="T66" fmla="*/ 238 w 891"/>
                  <a:gd name="T67" fmla="*/ 313 h 884"/>
                  <a:gd name="T68" fmla="*/ 133 w 891"/>
                  <a:gd name="T69" fmla="*/ 390 h 884"/>
                  <a:gd name="T70" fmla="*/ 114 w 891"/>
                  <a:gd name="T71" fmla="*/ 478 h 884"/>
                  <a:gd name="T72" fmla="*/ 74 w 891"/>
                  <a:gd name="T73" fmla="*/ 456 h 884"/>
                  <a:gd name="T74" fmla="*/ 63 w 891"/>
                  <a:gd name="T75" fmla="*/ 558 h 884"/>
                  <a:gd name="T76" fmla="*/ 0 w 891"/>
                  <a:gd name="T77" fmla="*/ 611 h 8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891"/>
                  <a:gd name="T118" fmla="*/ 0 h 884"/>
                  <a:gd name="T119" fmla="*/ 891 w 891"/>
                  <a:gd name="T120" fmla="*/ 884 h 88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891" h="884">
                    <a:moveTo>
                      <a:pt x="0" y="611"/>
                    </a:moveTo>
                    <a:lnTo>
                      <a:pt x="35" y="733"/>
                    </a:lnTo>
                    <a:lnTo>
                      <a:pt x="74" y="775"/>
                    </a:lnTo>
                    <a:lnTo>
                      <a:pt x="149" y="818"/>
                    </a:lnTo>
                    <a:lnTo>
                      <a:pt x="205" y="884"/>
                    </a:lnTo>
                    <a:lnTo>
                      <a:pt x="274" y="851"/>
                    </a:lnTo>
                    <a:lnTo>
                      <a:pt x="303" y="871"/>
                    </a:lnTo>
                    <a:lnTo>
                      <a:pt x="346" y="851"/>
                    </a:lnTo>
                    <a:lnTo>
                      <a:pt x="372" y="814"/>
                    </a:lnTo>
                    <a:lnTo>
                      <a:pt x="448" y="801"/>
                    </a:lnTo>
                    <a:lnTo>
                      <a:pt x="488" y="747"/>
                    </a:lnTo>
                    <a:lnTo>
                      <a:pt x="468" y="733"/>
                    </a:lnTo>
                    <a:lnTo>
                      <a:pt x="540" y="569"/>
                    </a:lnTo>
                    <a:lnTo>
                      <a:pt x="557" y="485"/>
                    </a:lnTo>
                    <a:lnTo>
                      <a:pt x="626" y="518"/>
                    </a:lnTo>
                    <a:lnTo>
                      <a:pt x="661" y="422"/>
                    </a:lnTo>
                    <a:lnTo>
                      <a:pt x="697" y="416"/>
                    </a:lnTo>
                    <a:lnTo>
                      <a:pt x="749" y="324"/>
                    </a:lnTo>
                    <a:lnTo>
                      <a:pt x="765" y="226"/>
                    </a:lnTo>
                    <a:lnTo>
                      <a:pt x="873" y="287"/>
                    </a:lnTo>
                    <a:lnTo>
                      <a:pt x="891" y="237"/>
                    </a:lnTo>
                    <a:lnTo>
                      <a:pt x="863" y="198"/>
                    </a:lnTo>
                    <a:lnTo>
                      <a:pt x="814" y="176"/>
                    </a:lnTo>
                    <a:lnTo>
                      <a:pt x="756" y="182"/>
                    </a:lnTo>
                    <a:lnTo>
                      <a:pt x="735" y="216"/>
                    </a:lnTo>
                    <a:lnTo>
                      <a:pt x="628" y="246"/>
                    </a:lnTo>
                    <a:lnTo>
                      <a:pt x="560" y="326"/>
                    </a:lnTo>
                    <a:lnTo>
                      <a:pt x="537" y="199"/>
                    </a:lnTo>
                    <a:lnTo>
                      <a:pt x="345" y="231"/>
                    </a:lnTo>
                    <a:lnTo>
                      <a:pt x="307" y="0"/>
                    </a:lnTo>
                    <a:lnTo>
                      <a:pt x="280" y="20"/>
                    </a:lnTo>
                    <a:lnTo>
                      <a:pt x="297" y="63"/>
                    </a:lnTo>
                    <a:lnTo>
                      <a:pt x="272" y="268"/>
                    </a:lnTo>
                    <a:lnTo>
                      <a:pt x="238" y="313"/>
                    </a:lnTo>
                    <a:lnTo>
                      <a:pt x="133" y="390"/>
                    </a:lnTo>
                    <a:lnTo>
                      <a:pt x="114" y="478"/>
                    </a:lnTo>
                    <a:lnTo>
                      <a:pt x="74" y="456"/>
                    </a:lnTo>
                    <a:lnTo>
                      <a:pt x="63" y="558"/>
                    </a:lnTo>
                    <a:lnTo>
                      <a:pt x="0" y="611"/>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26" name="Freeform 92"/>
              <p:cNvSpPr>
                <a:spLocks/>
              </p:cNvSpPr>
              <p:nvPr/>
            </p:nvSpPr>
            <p:spPr bwMode="gray">
              <a:xfrm>
                <a:off x="3415251" y="1698099"/>
                <a:ext cx="510633" cy="538893"/>
              </a:xfrm>
              <a:custGeom>
                <a:avLst/>
                <a:gdLst>
                  <a:gd name="T0" fmla="*/ 0 w 1049"/>
                  <a:gd name="T1" fmla="*/ 337 h 1106"/>
                  <a:gd name="T2" fmla="*/ 27 w 1049"/>
                  <a:gd name="T3" fmla="*/ 422 h 1106"/>
                  <a:gd name="T4" fmla="*/ 24 w 1049"/>
                  <a:gd name="T5" fmla="*/ 558 h 1106"/>
                  <a:gd name="T6" fmla="*/ 150 w 1049"/>
                  <a:gd name="T7" fmla="*/ 637 h 1106"/>
                  <a:gd name="T8" fmla="*/ 201 w 1049"/>
                  <a:gd name="T9" fmla="*/ 693 h 1106"/>
                  <a:gd name="T10" fmla="*/ 274 w 1049"/>
                  <a:gd name="T11" fmla="*/ 740 h 1106"/>
                  <a:gd name="T12" fmla="*/ 303 w 1049"/>
                  <a:gd name="T13" fmla="*/ 773 h 1106"/>
                  <a:gd name="T14" fmla="*/ 318 w 1049"/>
                  <a:gd name="T15" fmla="*/ 863 h 1106"/>
                  <a:gd name="T16" fmla="*/ 337 w 1049"/>
                  <a:gd name="T17" fmla="*/ 989 h 1106"/>
                  <a:gd name="T18" fmla="*/ 436 w 1049"/>
                  <a:gd name="T19" fmla="*/ 1106 h 1106"/>
                  <a:gd name="T20" fmla="*/ 957 w 1049"/>
                  <a:gd name="T21" fmla="*/ 1073 h 1106"/>
                  <a:gd name="T22" fmla="*/ 926 w 1049"/>
                  <a:gd name="T23" fmla="*/ 902 h 1106"/>
                  <a:gd name="T24" fmla="*/ 945 w 1049"/>
                  <a:gd name="T25" fmla="*/ 724 h 1106"/>
                  <a:gd name="T26" fmla="*/ 975 w 1049"/>
                  <a:gd name="T27" fmla="*/ 645 h 1106"/>
                  <a:gd name="T28" fmla="*/ 971 w 1049"/>
                  <a:gd name="T29" fmla="*/ 573 h 1106"/>
                  <a:gd name="T30" fmla="*/ 1037 w 1049"/>
                  <a:gd name="T31" fmla="*/ 413 h 1106"/>
                  <a:gd name="T32" fmla="*/ 1049 w 1049"/>
                  <a:gd name="T33" fmla="*/ 371 h 1106"/>
                  <a:gd name="T34" fmla="*/ 1029 w 1049"/>
                  <a:gd name="T35" fmla="*/ 364 h 1106"/>
                  <a:gd name="T36" fmla="*/ 1003 w 1049"/>
                  <a:gd name="T37" fmla="*/ 397 h 1106"/>
                  <a:gd name="T38" fmla="*/ 982 w 1049"/>
                  <a:gd name="T39" fmla="*/ 481 h 1106"/>
                  <a:gd name="T40" fmla="*/ 939 w 1049"/>
                  <a:gd name="T41" fmla="*/ 488 h 1106"/>
                  <a:gd name="T42" fmla="*/ 920 w 1049"/>
                  <a:gd name="T43" fmla="*/ 537 h 1106"/>
                  <a:gd name="T44" fmla="*/ 877 w 1049"/>
                  <a:gd name="T45" fmla="*/ 571 h 1106"/>
                  <a:gd name="T46" fmla="*/ 880 w 1049"/>
                  <a:gd name="T47" fmla="*/ 518 h 1106"/>
                  <a:gd name="T48" fmla="*/ 909 w 1049"/>
                  <a:gd name="T49" fmla="*/ 461 h 1106"/>
                  <a:gd name="T50" fmla="*/ 938 w 1049"/>
                  <a:gd name="T51" fmla="*/ 444 h 1106"/>
                  <a:gd name="T52" fmla="*/ 941 w 1049"/>
                  <a:gd name="T53" fmla="*/ 421 h 1106"/>
                  <a:gd name="T54" fmla="*/ 884 w 1049"/>
                  <a:gd name="T55" fmla="*/ 268 h 1106"/>
                  <a:gd name="T56" fmla="*/ 845 w 1049"/>
                  <a:gd name="T57" fmla="*/ 257 h 1106"/>
                  <a:gd name="T58" fmla="*/ 831 w 1049"/>
                  <a:gd name="T59" fmla="*/ 221 h 1106"/>
                  <a:gd name="T60" fmla="*/ 730 w 1049"/>
                  <a:gd name="T61" fmla="*/ 209 h 1106"/>
                  <a:gd name="T62" fmla="*/ 512 w 1049"/>
                  <a:gd name="T63" fmla="*/ 153 h 1106"/>
                  <a:gd name="T64" fmla="*/ 423 w 1049"/>
                  <a:gd name="T65" fmla="*/ 90 h 1106"/>
                  <a:gd name="T66" fmla="*/ 373 w 1049"/>
                  <a:gd name="T67" fmla="*/ 68 h 1106"/>
                  <a:gd name="T68" fmla="*/ 344 w 1049"/>
                  <a:gd name="T69" fmla="*/ 89 h 1106"/>
                  <a:gd name="T70" fmla="*/ 333 w 1049"/>
                  <a:gd name="T71" fmla="*/ 84 h 1106"/>
                  <a:gd name="T72" fmla="*/ 349 w 1049"/>
                  <a:gd name="T73" fmla="*/ 68 h 1106"/>
                  <a:gd name="T74" fmla="*/ 350 w 1049"/>
                  <a:gd name="T75" fmla="*/ 38 h 1106"/>
                  <a:gd name="T76" fmla="*/ 359 w 1049"/>
                  <a:gd name="T77" fmla="*/ 30 h 1106"/>
                  <a:gd name="T78" fmla="*/ 360 w 1049"/>
                  <a:gd name="T79" fmla="*/ 8 h 1106"/>
                  <a:gd name="T80" fmla="*/ 346 w 1049"/>
                  <a:gd name="T81" fmla="*/ 0 h 1106"/>
                  <a:gd name="T82" fmla="*/ 225 w 1049"/>
                  <a:gd name="T83" fmla="*/ 56 h 1106"/>
                  <a:gd name="T84" fmla="*/ 180 w 1049"/>
                  <a:gd name="T85" fmla="*/ 73 h 1106"/>
                  <a:gd name="T86" fmla="*/ 161 w 1049"/>
                  <a:gd name="T87" fmla="*/ 76 h 1106"/>
                  <a:gd name="T88" fmla="*/ 130 w 1049"/>
                  <a:gd name="T89" fmla="*/ 59 h 1106"/>
                  <a:gd name="T90" fmla="*/ 124 w 1049"/>
                  <a:gd name="T91" fmla="*/ 73 h 1106"/>
                  <a:gd name="T92" fmla="*/ 121 w 1049"/>
                  <a:gd name="T93" fmla="*/ 58 h 1106"/>
                  <a:gd name="T94" fmla="*/ 96 w 1049"/>
                  <a:gd name="T95" fmla="*/ 79 h 1106"/>
                  <a:gd name="T96" fmla="*/ 102 w 1049"/>
                  <a:gd name="T97" fmla="*/ 207 h 1106"/>
                  <a:gd name="T98" fmla="*/ 0 w 1049"/>
                  <a:gd name="T99" fmla="*/ 337 h 110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049"/>
                  <a:gd name="T151" fmla="*/ 0 h 1106"/>
                  <a:gd name="T152" fmla="*/ 1049 w 1049"/>
                  <a:gd name="T153" fmla="*/ 1106 h 110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049" h="1106">
                    <a:moveTo>
                      <a:pt x="0" y="337"/>
                    </a:moveTo>
                    <a:lnTo>
                      <a:pt x="27" y="422"/>
                    </a:lnTo>
                    <a:lnTo>
                      <a:pt x="24" y="558"/>
                    </a:lnTo>
                    <a:lnTo>
                      <a:pt x="150" y="637"/>
                    </a:lnTo>
                    <a:lnTo>
                      <a:pt x="201" y="693"/>
                    </a:lnTo>
                    <a:lnTo>
                      <a:pt x="274" y="740"/>
                    </a:lnTo>
                    <a:lnTo>
                      <a:pt x="303" y="773"/>
                    </a:lnTo>
                    <a:lnTo>
                      <a:pt x="318" y="863"/>
                    </a:lnTo>
                    <a:lnTo>
                      <a:pt x="337" y="989"/>
                    </a:lnTo>
                    <a:lnTo>
                      <a:pt x="436" y="1106"/>
                    </a:lnTo>
                    <a:lnTo>
                      <a:pt x="957" y="1073"/>
                    </a:lnTo>
                    <a:lnTo>
                      <a:pt x="926" y="902"/>
                    </a:lnTo>
                    <a:lnTo>
                      <a:pt x="945" y="724"/>
                    </a:lnTo>
                    <a:lnTo>
                      <a:pt x="975" y="645"/>
                    </a:lnTo>
                    <a:lnTo>
                      <a:pt x="971" y="573"/>
                    </a:lnTo>
                    <a:lnTo>
                      <a:pt x="1037" y="413"/>
                    </a:lnTo>
                    <a:lnTo>
                      <a:pt x="1049" y="371"/>
                    </a:lnTo>
                    <a:lnTo>
                      <a:pt x="1029" y="364"/>
                    </a:lnTo>
                    <a:lnTo>
                      <a:pt x="1003" y="397"/>
                    </a:lnTo>
                    <a:lnTo>
                      <a:pt x="982" y="481"/>
                    </a:lnTo>
                    <a:lnTo>
                      <a:pt x="939" y="488"/>
                    </a:lnTo>
                    <a:lnTo>
                      <a:pt x="920" y="537"/>
                    </a:lnTo>
                    <a:lnTo>
                      <a:pt x="877" y="571"/>
                    </a:lnTo>
                    <a:lnTo>
                      <a:pt x="880" y="518"/>
                    </a:lnTo>
                    <a:lnTo>
                      <a:pt x="909" y="461"/>
                    </a:lnTo>
                    <a:lnTo>
                      <a:pt x="938" y="444"/>
                    </a:lnTo>
                    <a:lnTo>
                      <a:pt x="941" y="421"/>
                    </a:lnTo>
                    <a:lnTo>
                      <a:pt x="884" y="268"/>
                    </a:lnTo>
                    <a:lnTo>
                      <a:pt x="845" y="257"/>
                    </a:lnTo>
                    <a:lnTo>
                      <a:pt x="831" y="221"/>
                    </a:lnTo>
                    <a:lnTo>
                      <a:pt x="730" y="209"/>
                    </a:lnTo>
                    <a:lnTo>
                      <a:pt x="512" y="153"/>
                    </a:lnTo>
                    <a:lnTo>
                      <a:pt x="423" y="90"/>
                    </a:lnTo>
                    <a:lnTo>
                      <a:pt x="373" y="68"/>
                    </a:lnTo>
                    <a:lnTo>
                      <a:pt x="344" y="89"/>
                    </a:lnTo>
                    <a:lnTo>
                      <a:pt x="333" y="84"/>
                    </a:lnTo>
                    <a:lnTo>
                      <a:pt x="349" y="68"/>
                    </a:lnTo>
                    <a:lnTo>
                      <a:pt x="350" y="38"/>
                    </a:lnTo>
                    <a:lnTo>
                      <a:pt x="359" y="30"/>
                    </a:lnTo>
                    <a:lnTo>
                      <a:pt x="360" y="8"/>
                    </a:lnTo>
                    <a:lnTo>
                      <a:pt x="346" y="0"/>
                    </a:lnTo>
                    <a:lnTo>
                      <a:pt x="225" y="56"/>
                    </a:lnTo>
                    <a:lnTo>
                      <a:pt x="180" y="73"/>
                    </a:lnTo>
                    <a:lnTo>
                      <a:pt x="161" y="76"/>
                    </a:lnTo>
                    <a:lnTo>
                      <a:pt x="130" y="59"/>
                    </a:lnTo>
                    <a:lnTo>
                      <a:pt x="124" y="73"/>
                    </a:lnTo>
                    <a:lnTo>
                      <a:pt x="121" y="58"/>
                    </a:lnTo>
                    <a:lnTo>
                      <a:pt x="96" y="79"/>
                    </a:lnTo>
                    <a:lnTo>
                      <a:pt x="102" y="207"/>
                    </a:lnTo>
                    <a:lnTo>
                      <a:pt x="0" y="337"/>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27" name="Freeform 93"/>
              <p:cNvSpPr>
                <a:spLocks/>
              </p:cNvSpPr>
              <p:nvPr/>
            </p:nvSpPr>
            <p:spPr bwMode="gray">
              <a:xfrm>
                <a:off x="1776158" y="1834527"/>
                <a:ext cx="679220" cy="562281"/>
              </a:xfrm>
              <a:custGeom>
                <a:avLst/>
                <a:gdLst>
                  <a:gd name="T0" fmla="*/ 0 w 1393"/>
                  <a:gd name="T1" fmla="*/ 991 h 1154"/>
                  <a:gd name="T2" fmla="*/ 42 w 1393"/>
                  <a:gd name="T3" fmla="*/ 742 h 1154"/>
                  <a:gd name="T4" fmla="*/ 142 w 1393"/>
                  <a:gd name="T5" fmla="*/ 124 h 1154"/>
                  <a:gd name="T6" fmla="*/ 164 w 1393"/>
                  <a:gd name="T7" fmla="*/ 0 h 1154"/>
                  <a:gd name="T8" fmla="*/ 715 w 1393"/>
                  <a:gd name="T9" fmla="*/ 82 h 1154"/>
                  <a:gd name="T10" fmla="*/ 1393 w 1393"/>
                  <a:gd name="T11" fmla="*/ 154 h 1154"/>
                  <a:gd name="T12" fmla="*/ 1347 w 1393"/>
                  <a:gd name="T13" fmla="*/ 654 h 1154"/>
                  <a:gd name="T14" fmla="*/ 1301 w 1393"/>
                  <a:gd name="T15" fmla="*/ 1154 h 1154"/>
                  <a:gd name="T16" fmla="*/ 371 w 1393"/>
                  <a:gd name="T17" fmla="*/ 1048 h 1154"/>
                  <a:gd name="T18" fmla="*/ 0 w 1393"/>
                  <a:gd name="T19" fmla="*/ 991 h 115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93"/>
                  <a:gd name="T31" fmla="*/ 0 h 1154"/>
                  <a:gd name="T32" fmla="*/ 1393 w 1393"/>
                  <a:gd name="T33" fmla="*/ 1154 h 115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93" h="1154">
                    <a:moveTo>
                      <a:pt x="0" y="991"/>
                    </a:moveTo>
                    <a:lnTo>
                      <a:pt x="42" y="742"/>
                    </a:lnTo>
                    <a:lnTo>
                      <a:pt x="142" y="124"/>
                    </a:lnTo>
                    <a:lnTo>
                      <a:pt x="164" y="0"/>
                    </a:lnTo>
                    <a:lnTo>
                      <a:pt x="715" y="82"/>
                    </a:lnTo>
                    <a:lnTo>
                      <a:pt x="1393" y="154"/>
                    </a:lnTo>
                    <a:lnTo>
                      <a:pt x="1347" y="654"/>
                    </a:lnTo>
                    <a:lnTo>
                      <a:pt x="1301" y="1154"/>
                    </a:lnTo>
                    <a:lnTo>
                      <a:pt x="371" y="1048"/>
                    </a:lnTo>
                    <a:lnTo>
                      <a:pt x="0" y="991"/>
                    </a:lnTo>
                    <a:close/>
                  </a:path>
                </a:pathLst>
              </a:custGeom>
              <a:grpFill/>
              <a:ln w="9525">
                <a:solidFill>
                  <a:schemeClr val="tx1"/>
                </a:solidFill>
                <a:round/>
                <a:headEnd/>
                <a:tailEnd/>
              </a:ln>
            </p:spPr>
            <p:txBody>
              <a:bodyPr/>
              <a:lstStyle/>
              <a:p>
                <a:pPr>
                  <a:defRPr/>
                </a:pPr>
                <a:endParaRPr lang="en-US" sz="1100" dirty="0">
                  <a:latin typeface="+mj-lt"/>
                </a:endParaRPr>
              </a:p>
            </p:txBody>
          </p:sp>
        </p:grpSp>
        <p:grpSp>
          <p:nvGrpSpPr>
            <p:cNvPr id="20" name="Group 206"/>
            <p:cNvGrpSpPr>
              <a:grpSpLocks/>
            </p:cNvGrpSpPr>
            <p:nvPr/>
          </p:nvGrpSpPr>
          <p:grpSpPr bwMode="auto">
            <a:xfrm>
              <a:off x="982246" y="1736230"/>
              <a:ext cx="4748794" cy="2538033"/>
              <a:chOff x="853240" y="1317667"/>
              <a:chExt cx="5116127" cy="2734392"/>
            </a:xfrm>
            <a:grpFill/>
          </p:grpSpPr>
          <p:sp>
            <p:nvSpPr>
              <p:cNvPr id="21" name="Rectangle 114"/>
              <p:cNvSpPr>
                <a:spLocks/>
              </p:cNvSpPr>
              <p:nvPr/>
            </p:nvSpPr>
            <p:spPr bwMode="gray">
              <a:xfrm>
                <a:off x="3487333" y="3558815"/>
                <a:ext cx="214319" cy="126903"/>
              </a:xfrm>
              <a:prstGeom prst="rect">
                <a:avLst/>
              </a:prstGeom>
              <a:no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LA</a:t>
                </a:r>
              </a:p>
            </p:txBody>
          </p:sp>
          <p:sp>
            <p:nvSpPr>
              <p:cNvPr id="22" name="Rectangle 89"/>
              <p:cNvSpPr>
                <a:spLocks/>
              </p:cNvSpPr>
              <p:nvPr/>
            </p:nvSpPr>
            <p:spPr bwMode="gray">
              <a:xfrm>
                <a:off x="1152569" y="1317667"/>
                <a:ext cx="267001" cy="128099"/>
              </a:xfrm>
              <a:prstGeom prst="rect">
                <a:avLst/>
              </a:prstGeom>
              <a:solidFill>
                <a:schemeClr val="accent1">
                  <a:lumMod val="40000"/>
                  <a:lumOff val="60000"/>
                </a:schemeClr>
              </a:solid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WA</a:t>
                </a:r>
              </a:p>
            </p:txBody>
          </p:sp>
          <p:sp>
            <p:nvSpPr>
              <p:cNvPr id="23" name="Rectangle 90"/>
              <p:cNvSpPr>
                <a:spLocks/>
              </p:cNvSpPr>
              <p:nvPr/>
            </p:nvSpPr>
            <p:spPr bwMode="gray">
              <a:xfrm>
                <a:off x="1007693" y="1705558"/>
                <a:ext cx="239463" cy="128099"/>
              </a:xfrm>
              <a:prstGeom prst="rect">
                <a:avLst/>
              </a:prstGeom>
              <a:pattFill prst="wdUpDiag">
                <a:fgClr>
                  <a:schemeClr val="accent1">
                    <a:lumMod val="40000"/>
                    <a:lumOff val="60000"/>
                  </a:schemeClr>
                </a:fgClr>
                <a:bgClr>
                  <a:schemeClr val="bg1"/>
                </a:bgClr>
              </a:patt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OR</a:t>
                </a:r>
              </a:p>
            </p:txBody>
          </p:sp>
          <p:sp>
            <p:nvSpPr>
              <p:cNvPr id="24" name="Rectangle 91"/>
              <p:cNvSpPr>
                <a:spLocks/>
              </p:cNvSpPr>
              <p:nvPr/>
            </p:nvSpPr>
            <p:spPr bwMode="gray">
              <a:xfrm>
                <a:off x="853240" y="2604650"/>
                <a:ext cx="330459" cy="152044"/>
              </a:xfrm>
              <a:prstGeom prst="rect">
                <a:avLst/>
              </a:prstGeom>
              <a:solidFill>
                <a:schemeClr val="accent1">
                  <a:lumMod val="40000"/>
                  <a:lumOff val="60000"/>
                </a:schemeClr>
              </a:solidFill>
              <a:ln w="12700">
                <a:noFill/>
                <a:miter lim="800000"/>
                <a:headEnd/>
                <a:tailEnd/>
              </a:ln>
            </p:spPr>
            <p:txBody>
              <a:bodyPr lIns="0" tIns="0" rIns="57787" bIns="0"/>
              <a:lstStyle/>
              <a:p>
                <a:pPr marL="81639">
                  <a:defRPr/>
                </a:pPr>
                <a:r>
                  <a:rPr lang="en-US" sz="1100" b="1" dirty="0">
                    <a:latin typeface="+mj-lt"/>
                    <a:cs typeface="Times New Roman" charset="0"/>
                    <a:sym typeface="Times New Roman" charset="0"/>
                  </a:rPr>
                  <a:t>CA</a:t>
                </a:r>
              </a:p>
            </p:txBody>
          </p:sp>
          <p:sp>
            <p:nvSpPr>
              <p:cNvPr id="25" name="Rectangle 92"/>
              <p:cNvSpPr>
                <a:spLocks/>
              </p:cNvSpPr>
              <p:nvPr/>
            </p:nvSpPr>
            <p:spPr bwMode="gray">
              <a:xfrm>
                <a:off x="1220815" y="2276619"/>
                <a:ext cx="238266" cy="126903"/>
              </a:xfrm>
              <a:prstGeom prst="rect">
                <a:avLst/>
              </a:prstGeom>
              <a:solidFill>
                <a:schemeClr val="accent4">
                  <a:lumMod val="40000"/>
                  <a:lumOff val="60000"/>
                </a:schemeClr>
              </a:solid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NV</a:t>
                </a:r>
              </a:p>
            </p:txBody>
          </p:sp>
          <p:sp>
            <p:nvSpPr>
              <p:cNvPr id="26" name="Rectangle 93"/>
              <p:cNvSpPr>
                <a:spLocks/>
              </p:cNvSpPr>
              <p:nvPr/>
            </p:nvSpPr>
            <p:spPr bwMode="gray">
              <a:xfrm>
                <a:off x="1572826" y="1891122"/>
                <a:ext cx="201149" cy="128100"/>
              </a:xfrm>
              <a:prstGeom prst="rect">
                <a:avLst/>
              </a:prstGeom>
              <a:solidFill>
                <a:schemeClr val="accent1">
                  <a:lumMod val="40000"/>
                  <a:lumOff val="60000"/>
                </a:schemeClr>
              </a:solid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ID</a:t>
                </a:r>
              </a:p>
            </p:txBody>
          </p:sp>
          <p:sp>
            <p:nvSpPr>
              <p:cNvPr id="27" name="Rectangle 94"/>
              <p:cNvSpPr>
                <a:spLocks/>
              </p:cNvSpPr>
              <p:nvPr/>
            </p:nvSpPr>
            <p:spPr bwMode="gray">
              <a:xfrm>
                <a:off x="2027806" y="1541542"/>
                <a:ext cx="252634" cy="126903"/>
              </a:xfrm>
              <a:prstGeom prst="rect">
                <a:avLst/>
              </a:prstGeom>
              <a:grp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MT</a:t>
                </a:r>
              </a:p>
            </p:txBody>
          </p:sp>
          <p:sp>
            <p:nvSpPr>
              <p:cNvPr id="28" name="Rectangle 95"/>
              <p:cNvSpPr>
                <a:spLocks/>
              </p:cNvSpPr>
              <p:nvPr/>
            </p:nvSpPr>
            <p:spPr bwMode="gray">
              <a:xfrm>
                <a:off x="2124789" y="2040772"/>
                <a:ext cx="247848" cy="127658"/>
              </a:xfrm>
              <a:prstGeom prst="rect">
                <a:avLst/>
              </a:prstGeom>
              <a:grp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WY</a:t>
                </a:r>
              </a:p>
            </p:txBody>
          </p:sp>
          <p:sp>
            <p:nvSpPr>
              <p:cNvPr id="29" name="Rectangle 96"/>
              <p:cNvSpPr>
                <a:spLocks/>
              </p:cNvSpPr>
              <p:nvPr/>
            </p:nvSpPr>
            <p:spPr bwMode="gray">
              <a:xfrm>
                <a:off x="1686571" y="2444226"/>
                <a:ext cx="228687" cy="128100"/>
              </a:xfrm>
              <a:prstGeom prst="rect">
                <a:avLst/>
              </a:prstGeom>
              <a:grp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UT</a:t>
                </a:r>
              </a:p>
            </p:txBody>
          </p:sp>
          <p:sp>
            <p:nvSpPr>
              <p:cNvPr id="30" name="Rectangle 97"/>
              <p:cNvSpPr>
                <a:spLocks/>
              </p:cNvSpPr>
              <p:nvPr/>
            </p:nvSpPr>
            <p:spPr bwMode="gray">
              <a:xfrm>
                <a:off x="2251704" y="2537607"/>
                <a:ext cx="235871" cy="126903"/>
              </a:xfrm>
              <a:prstGeom prst="rect">
                <a:avLst/>
              </a:prstGeom>
              <a:solidFill>
                <a:schemeClr val="accent1">
                  <a:lumMod val="40000"/>
                  <a:lumOff val="60000"/>
                </a:schemeClr>
              </a:solid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CO</a:t>
                </a:r>
              </a:p>
            </p:txBody>
          </p:sp>
          <p:sp>
            <p:nvSpPr>
              <p:cNvPr id="31" name="Rectangle 98"/>
              <p:cNvSpPr>
                <a:spLocks/>
              </p:cNvSpPr>
              <p:nvPr/>
            </p:nvSpPr>
            <p:spPr bwMode="gray">
              <a:xfrm>
                <a:off x="1578813" y="3016485"/>
                <a:ext cx="221503" cy="128100"/>
              </a:xfrm>
              <a:prstGeom prst="rect">
                <a:avLst/>
              </a:prstGeom>
              <a:grp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AZ</a:t>
                </a:r>
              </a:p>
            </p:txBody>
          </p:sp>
          <p:sp>
            <p:nvSpPr>
              <p:cNvPr id="32" name="Rectangle 99"/>
              <p:cNvSpPr>
                <a:spLocks/>
              </p:cNvSpPr>
              <p:nvPr/>
            </p:nvSpPr>
            <p:spPr bwMode="gray">
              <a:xfrm>
                <a:off x="2106828" y="3075148"/>
                <a:ext cx="270593" cy="128099"/>
              </a:xfrm>
              <a:prstGeom prst="rect">
                <a:avLst/>
              </a:prstGeom>
              <a:pattFill prst="wdUpDiag">
                <a:fgClr>
                  <a:schemeClr val="accent1">
                    <a:lumMod val="40000"/>
                    <a:lumOff val="60000"/>
                  </a:schemeClr>
                </a:fgClr>
                <a:bgClr>
                  <a:schemeClr val="accent3">
                    <a:lumMod val="40000"/>
                    <a:lumOff val="60000"/>
                  </a:schemeClr>
                </a:bgClr>
              </a:patt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NM</a:t>
                </a:r>
              </a:p>
            </p:txBody>
          </p:sp>
          <p:sp>
            <p:nvSpPr>
              <p:cNvPr id="33" name="Rectangle 100"/>
              <p:cNvSpPr>
                <a:spLocks/>
              </p:cNvSpPr>
              <p:nvPr/>
            </p:nvSpPr>
            <p:spPr bwMode="gray">
              <a:xfrm>
                <a:off x="2792890" y="3527688"/>
                <a:ext cx="209160" cy="127658"/>
              </a:xfrm>
              <a:prstGeom prst="rect">
                <a:avLst/>
              </a:prstGeom>
              <a:grp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TX</a:t>
                </a:r>
              </a:p>
            </p:txBody>
          </p:sp>
          <p:sp>
            <p:nvSpPr>
              <p:cNvPr id="34" name="Rectangle 101"/>
              <p:cNvSpPr>
                <a:spLocks/>
              </p:cNvSpPr>
              <p:nvPr/>
            </p:nvSpPr>
            <p:spPr bwMode="gray">
              <a:xfrm>
                <a:off x="2984461" y="3038035"/>
                <a:ext cx="237068" cy="128100"/>
              </a:xfrm>
              <a:prstGeom prst="rect">
                <a:avLst/>
              </a:prstGeom>
              <a:grp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OK</a:t>
                </a:r>
              </a:p>
            </p:txBody>
          </p:sp>
          <p:sp>
            <p:nvSpPr>
              <p:cNvPr id="35" name="Rectangle 102"/>
              <p:cNvSpPr>
                <a:spLocks/>
              </p:cNvSpPr>
              <p:nvPr/>
            </p:nvSpPr>
            <p:spPr bwMode="gray">
              <a:xfrm>
                <a:off x="2727038" y="1566683"/>
                <a:ext cx="243055" cy="128099"/>
              </a:xfrm>
              <a:prstGeom prst="rect">
                <a:avLst/>
              </a:prstGeom>
              <a:grp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ND</a:t>
                </a:r>
              </a:p>
            </p:txBody>
          </p:sp>
          <p:sp>
            <p:nvSpPr>
              <p:cNvPr id="36" name="Rectangle 103"/>
              <p:cNvSpPr>
                <a:spLocks/>
              </p:cNvSpPr>
              <p:nvPr/>
            </p:nvSpPr>
            <p:spPr bwMode="gray">
              <a:xfrm>
                <a:off x="2889873" y="2664510"/>
                <a:ext cx="206742" cy="127658"/>
              </a:xfrm>
              <a:prstGeom prst="rect">
                <a:avLst/>
              </a:prstGeom>
              <a:grp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KS</a:t>
                </a:r>
              </a:p>
            </p:txBody>
          </p:sp>
          <p:sp>
            <p:nvSpPr>
              <p:cNvPr id="37" name="Rectangle 104"/>
              <p:cNvSpPr>
                <a:spLocks/>
              </p:cNvSpPr>
              <p:nvPr/>
            </p:nvSpPr>
            <p:spPr bwMode="gray">
              <a:xfrm>
                <a:off x="2756971" y="2292183"/>
                <a:ext cx="228687" cy="126903"/>
              </a:xfrm>
              <a:prstGeom prst="rect">
                <a:avLst/>
              </a:prstGeom>
              <a:grp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NE</a:t>
                </a:r>
              </a:p>
            </p:txBody>
          </p:sp>
          <p:sp>
            <p:nvSpPr>
              <p:cNvPr id="38" name="Rectangle 105"/>
              <p:cNvSpPr>
                <a:spLocks/>
              </p:cNvSpPr>
              <p:nvPr/>
            </p:nvSpPr>
            <p:spPr bwMode="gray">
              <a:xfrm>
                <a:off x="2725841" y="1928236"/>
                <a:ext cx="223898" cy="128099"/>
              </a:xfrm>
              <a:prstGeom prst="rect">
                <a:avLst/>
              </a:prstGeom>
              <a:grp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SD</a:t>
                </a:r>
              </a:p>
            </p:txBody>
          </p:sp>
          <p:sp>
            <p:nvSpPr>
              <p:cNvPr id="39" name="Rectangle 106"/>
              <p:cNvSpPr>
                <a:spLocks/>
              </p:cNvSpPr>
              <p:nvPr/>
            </p:nvSpPr>
            <p:spPr bwMode="gray">
              <a:xfrm>
                <a:off x="3468176" y="3100289"/>
                <a:ext cx="221250" cy="127658"/>
              </a:xfrm>
              <a:prstGeom prst="rect">
                <a:avLst/>
              </a:prstGeom>
              <a:pattFill prst="wdUpDiag">
                <a:fgClr>
                  <a:schemeClr val="accent1">
                    <a:lumMod val="40000"/>
                    <a:lumOff val="60000"/>
                  </a:schemeClr>
                </a:fgClr>
                <a:bgClr>
                  <a:schemeClr val="bg1"/>
                </a:bgClr>
              </a:patt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AR</a:t>
                </a:r>
              </a:p>
            </p:txBody>
          </p:sp>
          <p:sp>
            <p:nvSpPr>
              <p:cNvPr id="40" name="Rectangle 107"/>
              <p:cNvSpPr>
                <a:spLocks/>
              </p:cNvSpPr>
              <p:nvPr/>
            </p:nvSpPr>
            <p:spPr bwMode="gray">
              <a:xfrm>
                <a:off x="3390350" y="2664510"/>
                <a:ext cx="271791" cy="128100"/>
              </a:xfrm>
              <a:prstGeom prst="rect">
                <a:avLst/>
              </a:prstGeom>
              <a:grp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MO</a:t>
                </a:r>
              </a:p>
            </p:txBody>
          </p:sp>
          <p:sp>
            <p:nvSpPr>
              <p:cNvPr id="41" name="Rectangle 108"/>
              <p:cNvSpPr>
                <a:spLocks/>
              </p:cNvSpPr>
              <p:nvPr/>
            </p:nvSpPr>
            <p:spPr bwMode="gray">
              <a:xfrm>
                <a:off x="3342458" y="2234718"/>
                <a:ext cx="197557" cy="126903"/>
              </a:xfrm>
              <a:prstGeom prst="rect">
                <a:avLst/>
              </a:prstGeom>
              <a:grp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IA</a:t>
                </a:r>
              </a:p>
            </p:txBody>
          </p:sp>
          <p:sp>
            <p:nvSpPr>
              <p:cNvPr id="42" name="Rectangle 109"/>
              <p:cNvSpPr>
                <a:spLocks/>
              </p:cNvSpPr>
              <p:nvPr/>
            </p:nvSpPr>
            <p:spPr bwMode="gray">
              <a:xfrm>
                <a:off x="3222726" y="1686403"/>
                <a:ext cx="270593" cy="128099"/>
              </a:xfrm>
              <a:prstGeom prst="rect">
                <a:avLst/>
              </a:prstGeom>
              <a:solidFill>
                <a:schemeClr val="accent1">
                  <a:lumMod val="40000"/>
                  <a:lumOff val="60000"/>
                </a:schemeClr>
              </a:solid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MN</a:t>
                </a:r>
              </a:p>
            </p:txBody>
          </p:sp>
          <p:sp>
            <p:nvSpPr>
              <p:cNvPr id="43" name="Rectangle 110"/>
              <p:cNvSpPr>
                <a:spLocks/>
              </p:cNvSpPr>
              <p:nvPr/>
            </p:nvSpPr>
            <p:spPr bwMode="gray">
              <a:xfrm>
                <a:off x="4355386" y="3293038"/>
                <a:ext cx="238266" cy="126903"/>
              </a:xfrm>
              <a:prstGeom prst="rect">
                <a:avLst/>
              </a:prstGeom>
              <a:no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GA</a:t>
                </a:r>
              </a:p>
            </p:txBody>
          </p:sp>
          <p:sp>
            <p:nvSpPr>
              <p:cNvPr id="44" name="Rectangle 111"/>
              <p:cNvSpPr>
                <a:spLocks/>
              </p:cNvSpPr>
              <p:nvPr/>
            </p:nvSpPr>
            <p:spPr bwMode="gray">
              <a:xfrm>
                <a:off x="3962667" y="2951837"/>
                <a:ext cx="229885" cy="126903"/>
              </a:xfrm>
              <a:prstGeom prst="rect">
                <a:avLst/>
              </a:prstGeom>
              <a:grp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TN</a:t>
                </a:r>
              </a:p>
            </p:txBody>
          </p:sp>
          <p:sp>
            <p:nvSpPr>
              <p:cNvPr id="45" name="Rectangle 112"/>
              <p:cNvSpPr>
                <a:spLocks/>
              </p:cNvSpPr>
              <p:nvPr/>
            </p:nvSpPr>
            <p:spPr bwMode="gray">
              <a:xfrm>
                <a:off x="3735177" y="3320573"/>
                <a:ext cx="250239" cy="128100"/>
              </a:xfrm>
              <a:prstGeom prst="rect">
                <a:avLst/>
              </a:prstGeom>
              <a:grp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MS</a:t>
                </a:r>
              </a:p>
            </p:txBody>
          </p:sp>
          <p:sp>
            <p:nvSpPr>
              <p:cNvPr id="46" name="Rectangle 113"/>
              <p:cNvSpPr>
                <a:spLocks/>
              </p:cNvSpPr>
              <p:nvPr/>
            </p:nvSpPr>
            <p:spPr bwMode="gray">
              <a:xfrm>
                <a:off x="4051268" y="3301418"/>
                <a:ext cx="215517" cy="126903"/>
              </a:xfrm>
              <a:prstGeom prst="rect">
                <a:avLst/>
              </a:prstGeom>
              <a:grp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AL</a:t>
                </a:r>
              </a:p>
            </p:txBody>
          </p:sp>
          <p:sp>
            <p:nvSpPr>
              <p:cNvPr id="47" name="Rectangle 115"/>
              <p:cNvSpPr>
                <a:spLocks/>
              </p:cNvSpPr>
              <p:nvPr/>
            </p:nvSpPr>
            <p:spPr bwMode="gray">
              <a:xfrm>
                <a:off x="4111134" y="2080279"/>
                <a:ext cx="227490" cy="128100"/>
              </a:xfrm>
              <a:prstGeom prst="rect">
                <a:avLst/>
              </a:prstGeom>
              <a:no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MI</a:t>
                </a:r>
              </a:p>
            </p:txBody>
          </p:sp>
          <p:sp>
            <p:nvSpPr>
              <p:cNvPr id="48" name="Rectangle 116"/>
              <p:cNvSpPr>
                <a:spLocks/>
              </p:cNvSpPr>
              <p:nvPr/>
            </p:nvSpPr>
            <p:spPr bwMode="gray">
              <a:xfrm>
                <a:off x="4299113" y="2379578"/>
                <a:ext cx="246647" cy="126903"/>
              </a:xfrm>
              <a:prstGeom prst="rect">
                <a:avLst/>
              </a:prstGeom>
              <a:grp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OH</a:t>
                </a:r>
              </a:p>
            </p:txBody>
          </p:sp>
          <p:sp>
            <p:nvSpPr>
              <p:cNvPr id="49" name="Rectangle 117"/>
              <p:cNvSpPr>
                <a:spLocks/>
              </p:cNvSpPr>
              <p:nvPr/>
            </p:nvSpPr>
            <p:spPr bwMode="gray">
              <a:xfrm>
                <a:off x="4012954" y="2423874"/>
                <a:ext cx="204741" cy="128099"/>
              </a:xfrm>
              <a:prstGeom prst="rect">
                <a:avLst/>
              </a:prstGeom>
              <a:no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IN</a:t>
                </a:r>
              </a:p>
            </p:txBody>
          </p:sp>
          <p:sp>
            <p:nvSpPr>
              <p:cNvPr id="50" name="Rectangle 118"/>
              <p:cNvSpPr>
                <a:spLocks/>
              </p:cNvSpPr>
              <p:nvPr/>
            </p:nvSpPr>
            <p:spPr bwMode="gray">
              <a:xfrm>
                <a:off x="3757926" y="2423874"/>
                <a:ext cx="178400" cy="128099"/>
              </a:xfrm>
              <a:prstGeom prst="rect">
                <a:avLst/>
              </a:prstGeom>
              <a:grp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IL</a:t>
                </a:r>
              </a:p>
            </p:txBody>
          </p:sp>
          <p:sp>
            <p:nvSpPr>
              <p:cNvPr id="51" name="Rectangle 119"/>
              <p:cNvSpPr>
                <a:spLocks/>
              </p:cNvSpPr>
              <p:nvPr/>
            </p:nvSpPr>
            <p:spPr bwMode="gray">
              <a:xfrm>
                <a:off x="3620235" y="1897109"/>
                <a:ext cx="231082" cy="128099"/>
              </a:xfrm>
              <a:prstGeom prst="rect">
                <a:avLst/>
              </a:prstGeom>
              <a:grp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WI</a:t>
                </a:r>
              </a:p>
            </p:txBody>
          </p:sp>
          <p:sp>
            <p:nvSpPr>
              <p:cNvPr id="52" name="Rectangle 120"/>
              <p:cNvSpPr>
                <a:spLocks/>
              </p:cNvSpPr>
              <p:nvPr/>
            </p:nvSpPr>
            <p:spPr bwMode="gray">
              <a:xfrm>
                <a:off x="4634361" y="3763535"/>
                <a:ext cx="199951" cy="126903"/>
              </a:xfrm>
              <a:prstGeom prst="rect">
                <a:avLst/>
              </a:prstGeom>
              <a:no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FL</a:t>
                </a:r>
              </a:p>
            </p:txBody>
          </p:sp>
          <p:sp>
            <p:nvSpPr>
              <p:cNvPr id="53" name="Rectangle 121"/>
              <p:cNvSpPr>
                <a:spLocks/>
              </p:cNvSpPr>
              <p:nvPr/>
            </p:nvSpPr>
            <p:spPr bwMode="gray">
              <a:xfrm>
                <a:off x="4775644" y="2234718"/>
                <a:ext cx="227490" cy="126903"/>
              </a:xfrm>
              <a:prstGeom prst="rect">
                <a:avLst/>
              </a:prstGeom>
              <a:pattFill prst="wdUpDiag">
                <a:fgClr>
                  <a:schemeClr val="accent1">
                    <a:lumMod val="40000"/>
                    <a:lumOff val="60000"/>
                  </a:schemeClr>
                </a:fgClr>
                <a:bgClr>
                  <a:schemeClr val="accent6">
                    <a:lumMod val="40000"/>
                    <a:lumOff val="60000"/>
                  </a:schemeClr>
                </a:bgClr>
              </a:patt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PA</a:t>
                </a:r>
              </a:p>
            </p:txBody>
          </p:sp>
          <p:sp>
            <p:nvSpPr>
              <p:cNvPr id="54" name="Rectangle 122"/>
              <p:cNvSpPr>
                <a:spLocks/>
              </p:cNvSpPr>
              <p:nvPr/>
            </p:nvSpPr>
            <p:spPr bwMode="gray">
              <a:xfrm>
                <a:off x="4774447" y="2634581"/>
                <a:ext cx="223668" cy="127658"/>
              </a:xfrm>
              <a:prstGeom prst="rect">
                <a:avLst/>
              </a:prstGeom>
              <a:no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VA</a:t>
                </a:r>
              </a:p>
            </p:txBody>
          </p:sp>
          <p:sp>
            <p:nvSpPr>
              <p:cNvPr id="55" name="Rectangle 123"/>
              <p:cNvSpPr>
                <a:spLocks/>
              </p:cNvSpPr>
              <p:nvPr/>
            </p:nvSpPr>
            <p:spPr bwMode="gray">
              <a:xfrm>
                <a:off x="5365920" y="1503231"/>
                <a:ext cx="251436" cy="128100"/>
              </a:xfrm>
              <a:prstGeom prst="rect">
                <a:avLst/>
              </a:prstGeom>
              <a:no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ME</a:t>
                </a:r>
              </a:p>
            </p:txBody>
          </p:sp>
          <p:sp>
            <p:nvSpPr>
              <p:cNvPr id="56" name="Rectangle 124"/>
              <p:cNvSpPr>
                <a:spLocks/>
              </p:cNvSpPr>
              <p:nvPr/>
            </p:nvSpPr>
            <p:spPr bwMode="gray">
              <a:xfrm>
                <a:off x="4943268" y="1935419"/>
                <a:ext cx="222459" cy="127658"/>
              </a:xfrm>
              <a:prstGeom prst="rect">
                <a:avLst/>
              </a:prstGeom>
              <a:solidFill>
                <a:schemeClr val="accent1">
                  <a:lumMod val="40000"/>
                  <a:lumOff val="60000"/>
                </a:schemeClr>
              </a:solid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NY</a:t>
                </a:r>
              </a:p>
            </p:txBody>
          </p:sp>
          <p:sp>
            <p:nvSpPr>
              <p:cNvPr id="57" name="Rectangle 125"/>
              <p:cNvSpPr>
                <a:spLocks/>
              </p:cNvSpPr>
              <p:nvPr/>
            </p:nvSpPr>
            <p:spPr bwMode="gray">
              <a:xfrm>
                <a:off x="4512235" y="2543594"/>
                <a:ext cx="265804" cy="126903"/>
              </a:xfrm>
              <a:prstGeom prst="rect">
                <a:avLst/>
              </a:prstGeom>
              <a:no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WV</a:t>
                </a:r>
              </a:p>
            </p:txBody>
          </p:sp>
          <p:sp>
            <p:nvSpPr>
              <p:cNvPr id="58" name="Rectangle 126"/>
              <p:cNvSpPr>
                <a:spLocks/>
              </p:cNvSpPr>
              <p:nvPr/>
            </p:nvSpPr>
            <p:spPr bwMode="gray">
              <a:xfrm>
                <a:off x="4799591" y="2876414"/>
                <a:ext cx="232279" cy="128099"/>
              </a:xfrm>
              <a:prstGeom prst="rect">
                <a:avLst/>
              </a:prstGeom>
              <a:grp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NC</a:t>
                </a:r>
              </a:p>
            </p:txBody>
          </p:sp>
          <p:sp>
            <p:nvSpPr>
              <p:cNvPr id="59" name="Rectangle 127"/>
              <p:cNvSpPr>
                <a:spLocks/>
              </p:cNvSpPr>
              <p:nvPr/>
            </p:nvSpPr>
            <p:spPr bwMode="gray">
              <a:xfrm>
                <a:off x="4203328" y="2710004"/>
                <a:ext cx="209160" cy="127658"/>
              </a:xfrm>
              <a:prstGeom prst="rect">
                <a:avLst/>
              </a:prstGeom>
              <a:pattFill prst="wdUpDiag">
                <a:fgClr>
                  <a:schemeClr val="accent1">
                    <a:lumMod val="40000"/>
                    <a:lumOff val="60000"/>
                  </a:schemeClr>
                </a:fgClr>
                <a:bgClr>
                  <a:schemeClr val="bg1"/>
                </a:bgClr>
              </a:patt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KY</a:t>
                </a:r>
              </a:p>
            </p:txBody>
          </p:sp>
          <p:sp>
            <p:nvSpPr>
              <p:cNvPr id="60" name="Rectangle 128"/>
              <p:cNvSpPr>
                <a:spLocks/>
              </p:cNvSpPr>
              <p:nvPr/>
            </p:nvSpPr>
            <p:spPr bwMode="gray">
              <a:xfrm>
                <a:off x="4634361" y="3125430"/>
                <a:ext cx="214319" cy="128099"/>
              </a:xfrm>
              <a:prstGeom prst="rect">
                <a:avLst/>
              </a:prstGeom>
              <a:no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SC</a:t>
                </a:r>
              </a:p>
            </p:txBody>
          </p:sp>
          <p:sp>
            <p:nvSpPr>
              <p:cNvPr id="61" name="Rectangle 129"/>
              <p:cNvSpPr>
                <a:spLocks/>
              </p:cNvSpPr>
              <p:nvPr/>
            </p:nvSpPr>
            <p:spPr bwMode="gray">
              <a:xfrm>
                <a:off x="1335758" y="3678534"/>
                <a:ext cx="218832" cy="127658"/>
              </a:xfrm>
              <a:prstGeom prst="rect">
                <a:avLst/>
              </a:prstGeom>
              <a:grp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AK</a:t>
                </a:r>
              </a:p>
            </p:txBody>
          </p:sp>
          <p:sp>
            <p:nvSpPr>
              <p:cNvPr id="62" name="Rectangle 132"/>
              <p:cNvSpPr>
                <a:spLocks/>
              </p:cNvSpPr>
              <p:nvPr/>
            </p:nvSpPr>
            <p:spPr bwMode="gray">
              <a:xfrm>
                <a:off x="5247386" y="1857601"/>
                <a:ext cx="287356" cy="93381"/>
              </a:xfrm>
              <a:prstGeom prst="rect">
                <a:avLst/>
              </a:prstGeom>
              <a:noFill/>
              <a:ln w="12700">
                <a:noFill/>
                <a:miter lim="800000"/>
                <a:headEnd/>
                <a:tailEnd/>
              </a:ln>
            </p:spPr>
            <p:txBody>
              <a:bodyPr lIns="0" tIns="0" rIns="57787" bIns="0">
                <a:spAutoFit/>
              </a:bodyPr>
              <a:lstStyle/>
              <a:p>
                <a:pPr marL="81639">
                  <a:defRPr/>
                </a:pPr>
                <a:r>
                  <a:rPr lang="en-US" sz="800" b="1" dirty="0">
                    <a:latin typeface="+mj-lt"/>
                    <a:cs typeface="Times New Roman" charset="0"/>
                    <a:sym typeface="Times New Roman" charset="0"/>
                  </a:rPr>
                  <a:t>NH</a:t>
                </a:r>
                <a:endParaRPr lang="en-US" sz="1100" b="1" dirty="0">
                  <a:latin typeface="+mj-lt"/>
                  <a:cs typeface="Times New Roman" charset="0"/>
                  <a:sym typeface="Times New Roman" charset="0"/>
                </a:endParaRPr>
              </a:p>
            </p:txBody>
          </p:sp>
          <p:sp>
            <p:nvSpPr>
              <p:cNvPr id="63" name="Rectangle 133"/>
              <p:cNvSpPr>
                <a:spLocks/>
              </p:cNvSpPr>
              <p:nvPr/>
            </p:nvSpPr>
            <p:spPr bwMode="gray">
              <a:xfrm>
                <a:off x="5134839" y="1723515"/>
                <a:ext cx="335248" cy="95776"/>
              </a:xfrm>
              <a:prstGeom prst="rect">
                <a:avLst/>
              </a:prstGeom>
              <a:noFill/>
              <a:ln w="12700">
                <a:noFill/>
                <a:miter lim="800000"/>
                <a:headEnd/>
                <a:tailEnd/>
              </a:ln>
            </p:spPr>
            <p:txBody>
              <a:bodyPr lIns="0" tIns="0" rIns="57787" bIns="0"/>
              <a:lstStyle/>
              <a:p>
                <a:pPr marL="81639">
                  <a:defRPr/>
                </a:pPr>
                <a:r>
                  <a:rPr lang="en-US" sz="900" b="1" dirty="0">
                    <a:latin typeface="+mj-lt"/>
                    <a:cs typeface="Times New Roman" charset="0"/>
                    <a:sym typeface="Times New Roman" charset="0"/>
                  </a:rPr>
                  <a:t>VT</a:t>
                </a:r>
                <a:endParaRPr lang="en-US" sz="1100" b="1" dirty="0">
                  <a:latin typeface="+mj-lt"/>
                  <a:cs typeface="Times New Roman" charset="0"/>
                  <a:sym typeface="Times New Roman" charset="0"/>
                </a:endParaRPr>
              </a:p>
            </p:txBody>
          </p:sp>
          <p:sp>
            <p:nvSpPr>
              <p:cNvPr id="64" name="Rectangle 138"/>
              <p:cNvSpPr>
                <a:spLocks/>
              </p:cNvSpPr>
              <p:nvPr/>
            </p:nvSpPr>
            <p:spPr bwMode="gray">
              <a:xfrm>
                <a:off x="5309769" y="2361059"/>
                <a:ext cx="380746" cy="110498"/>
              </a:xfrm>
              <a:prstGeom prst="rect">
                <a:avLst/>
              </a:prstGeom>
              <a:noFill/>
              <a:ln w="12700">
                <a:noFill/>
                <a:miter lim="800000"/>
                <a:headEnd/>
                <a:tailEnd/>
              </a:ln>
            </p:spPr>
            <p:txBody>
              <a:bodyPr lIns="0" tIns="0" rIns="57787" bIns="0"/>
              <a:lstStyle/>
              <a:p>
                <a:pPr marL="81639">
                  <a:defRPr/>
                </a:pPr>
                <a:r>
                  <a:rPr lang="en-US" sz="1100" b="1" dirty="0">
                    <a:latin typeface="+mj-lt"/>
                    <a:cs typeface="Times New Roman" charset="0"/>
                    <a:sym typeface="Times New Roman" charset="0"/>
                  </a:rPr>
                  <a:t>NJ</a:t>
                </a:r>
                <a:endParaRPr lang="en-US" sz="1200" b="1" dirty="0">
                  <a:latin typeface="+mj-lt"/>
                  <a:cs typeface="Times New Roman" charset="0"/>
                  <a:sym typeface="Times New Roman" charset="0"/>
                </a:endParaRPr>
              </a:p>
            </p:txBody>
          </p:sp>
          <p:sp>
            <p:nvSpPr>
              <p:cNvPr id="65" name="Rectangle 64"/>
              <p:cNvSpPr>
                <a:spLocks/>
              </p:cNvSpPr>
              <p:nvPr/>
            </p:nvSpPr>
            <p:spPr bwMode="gray">
              <a:xfrm>
                <a:off x="5333593" y="2457396"/>
                <a:ext cx="336445" cy="95776"/>
              </a:xfrm>
              <a:prstGeom prst="rect">
                <a:avLst/>
              </a:prstGeom>
              <a:noFill/>
              <a:ln w="12700">
                <a:noFill/>
                <a:miter lim="800000"/>
                <a:headEnd/>
                <a:tailEnd/>
              </a:ln>
            </p:spPr>
            <p:txBody>
              <a:bodyPr lIns="0" tIns="0" rIns="57787" bIns="0"/>
              <a:lstStyle/>
              <a:p>
                <a:pPr marL="81639">
                  <a:defRPr/>
                </a:pPr>
                <a:r>
                  <a:rPr lang="en-US" sz="1100" b="1" dirty="0">
                    <a:latin typeface="+mj-lt"/>
                    <a:cs typeface="Times New Roman" charset="0"/>
                    <a:sym typeface="Times New Roman" charset="0"/>
                  </a:rPr>
                  <a:t>DE</a:t>
                </a:r>
              </a:p>
            </p:txBody>
          </p:sp>
          <p:sp>
            <p:nvSpPr>
              <p:cNvPr id="66" name="Rectangle 65"/>
              <p:cNvSpPr>
                <a:spLocks/>
              </p:cNvSpPr>
              <p:nvPr/>
            </p:nvSpPr>
            <p:spPr bwMode="gray">
              <a:xfrm>
                <a:off x="5234216" y="2619017"/>
                <a:ext cx="335248" cy="94579"/>
              </a:xfrm>
              <a:prstGeom prst="rect">
                <a:avLst/>
              </a:prstGeom>
              <a:noFill/>
              <a:ln w="12700">
                <a:noFill/>
                <a:miter lim="800000"/>
                <a:headEnd/>
                <a:tailEnd/>
              </a:ln>
            </p:spPr>
            <p:txBody>
              <a:bodyPr lIns="0" tIns="0" rIns="57787" bIns="0"/>
              <a:lstStyle/>
              <a:p>
                <a:pPr marL="81639">
                  <a:defRPr/>
                </a:pPr>
                <a:r>
                  <a:rPr lang="en-US" sz="1100" b="1" dirty="0">
                    <a:latin typeface="+mj-lt"/>
                    <a:cs typeface="Times New Roman" charset="0"/>
                    <a:sym typeface="Times New Roman" charset="0"/>
                  </a:rPr>
                  <a:t>MD</a:t>
                </a:r>
              </a:p>
            </p:txBody>
          </p:sp>
          <p:sp>
            <p:nvSpPr>
              <p:cNvPr id="67" name="Rectangle 66"/>
              <p:cNvSpPr>
                <a:spLocks/>
              </p:cNvSpPr>
              <p:nvPr/>
            </p:nvSpPr>
            <p:spPr bwMode="gray">
              <a:xfrm>
                <a:off x="2383409" y="3956283"/>
                <a:ext cx="335248" cy="95776"/>
              </a:xfrm>
              <a:prstGeom prst="rect">
                <a:avLst/>
              </a:prstGeom>
              <a:noFill/>
              <a:ln w="12700">
                <a:noFill/>
                <a:miter lim="800000"/>
                <a:headEnd/>
                <a:tailEnd/>
              </a:ln>
            </p:spPr>
            <p:txBody>
              <a:bodyPr lIns="0" tIns="0" rIns="57787" bIns="0"/>
              <a:lstStyle/>
              <a:p>
                <a:pPr marL="81639">
                  <a:defRPr/>
                </a:pPr>
                <a:r>
                  <a:rPr lang="en-US" sz="1100" b="1" dirty="0">
                    <a:latin typeface="+mj-lt"/>
                    <a:cs typeface="Times New Roman" charset="0"/>
                    <a:sym typeface="Times New Roman" charset="0"/>
                  </a:rPr>
                  <a:t>HI</a:t>
                </a:r>
              </a:p>
            </p:txBody>
          </p:sp>
          <p:sp>
            <p:nvSpPr>
              <p:cNvPr id="68" name="Rectangle 138"/>
              <p:cNvSpPr>
                <a:spLocks/>
              </p:cNvSpPr>
              <p:nvPr/>
            </p:nvSpPr>
            <p:spPr bwMode="gray">
              <a:xfrm>
                <a:off x="5434168" y="2296972"/>
                <a:ext cx="335248" cy="94578"/>
              </a:xfrm>
              <a:prstGeom prst="rect">
                <a:avLst/>
              </a:prstGeom>
              <a:noFill/>
              <a:ln w="12700">
                <a:noFill/>
                <a:miter lim="800000"/>
                <a:headEnd/>
                <a:tailEnd/>
              </a:ln>
            </p:spPr>
            <p:txBody>
              <a:bodyPr lIns="0" tIns="0" rIns="57787" bIns="0"/>
              <a:lstStyle/>
              <a:p>
                <a:pPr marL="81639">
                  <a:defRPr/>
                </a:pPr>
                <a:r>
                  <a:rPr lang="en-US" sz="1100" b="1" dirty="0">
                    <a:latin typeface="+mj-lt"/>
                    <a:cs typeface="Times New Roman" charset="0"/>
                    <a:sym typeface="Times New Roman" charset="0"/>
                  </a:rPr>
                  <a:t>CT</a:t>
                </a:r>
              </a:p>
            </p:txBody>
          </p:sp>
          <p:sp>
            <p:nvSpPr>
              <p:cNvPr id="69" name="Rectangle 138"/>
              <p:cNvSpPr>
                <a:spLocks/>
              </p:cNvSpPr>
              <p:nvPr/>
            </p:nvSpPr>
            <p:spPr bwMode="gray">
              <a:xfrm>
                <a:off x="5632922" y="1973729"/>
                <a:ext cx="336445" cy="95776"/>
              </a:xfrm>
              <a:prstGeom prst="rect">
                <a:avLst/>
              </a:prstGeom>
              <a:noFill/>
              <a:ln w="12700">
                <a:noFill/>
                <a:miter lim="800000"/>
                <a:headEnd/>
                <a:tailEnd/>
              </a:ln>
            </p:spPr>
            <p:txBody>
              <a:bodyPr lIns="0" tIns="0" rIns="57787" bIns="0"/>
              <a:lstStyle/>
              <a:p>
                <a:pPr marL="81639">
                  <a:defRPr/>
                </a:pPr>
                <a:r>
                  <a:rPr lang="en-US" sz="1100" b="1" dirty="0">
                    <a:latin typeface="+mj-lt"/>
                    <a:cs typeface="Times New Roman" charset="0"/>
                    <a:sym typeface="Times New Roman" charset="0"/>
                  </a:rPr>
                  <a:t>MA</a:t>
                </a:r>
              </a:p>
            </p:txBody>
          </p:sp>
          <p:sp>
            <p:nvSpPr>
              <p:cNvPr id="70" name="Rectangle 138"/>
              <p:cNvSpPr>
                <a:spLocks/>
              </p:cNvSpPr>
              <p:nvPr/>
            </p:nvSpPr>
            <p:spPr bwMode="gray">
              <a:xfrm>
                <a:off x="5575230" y="2159941"/>
                <a:ext cx="336446" cy="94579"/>
              </a:xfrm>
              <a:prstGeom prst="rect">
                <a:avLst/>
              </a:prstGeom>
              <a:noFill/>
              <a:ln w="12700">
                <a:noFill/>
                <a:miter lim="800000"/>
                <a:headEnd/>
                <a:tailEnd/>
              </a:ln>
            </p:spPr>
            <p:txBody>
              <a:bodyPr lIns="0" tIns="0" rIns="57787" bIns="0"/>
              <a:lstStyle/>
              <a:p>
                <a:pPr marL="81639">
                  <a:defRPr/>
                </a:pPr>
                <a:r>
                  <a:rPr lang="en-US" sz="1100" b="1" dirty="0">
                    <a:latin typeface="+mj-lt"/>
                    <a:cs typeface="Times New Roman" charset="0"/>
                    <a:sym typeface="Times New Roman" charset="0"/>
                  </a:rPr>
                  <a:t>RI</a:t>
                </a:r>
              </a:p>
            </p:txBody>
          </p:sp>
          <p:cxnSp>
            <p:nvCxnSpPr>
              <p:cNvPr id="71" name="Straight Connector 64"/>
              <p:cNvCxnSpPr>
                <a:cxnSpLocks noChangeShapeType="1"/>
              </p:cNvCxnSpPr>
              <p:nvPr/>
            </p:nvCxnSpPr>
            <p:spPr bwMode="gray">
              <a:xfrm>
                <a:off x="5017666" y="2489648"/>
                <a:ext cx="265099" cy="195944"/>
              </a:xfrm>
              <a:prstGeom prst="line">
                <a:avLst/>
              </a:prstGeom>
              <a:grpFill/>
              <a:ln w="9525" algn="ctr">
                <a:solidFill>
                  <a:schemeClr val="tx1"/>
                </a:solidFill>
                <a:round/>
                <a:headEnd/>
                <a:tailEnd/>
              </a:ln>
              <a:extLst/>
            </p:spPr>
          </p:cxnSp>
          <p:cxnSp>
            <p:nvCxnSpPr>
              <p:cNvPr id="72" name="Straight Connector 65"/>
              <p:cNvCxnSpPr>
                <a:cxnSpLocks noChangeShapeType="1"/>
              </p:cNvCxnSpPr>
              <p:nvPr/>
            </p:nvCxnSpPr>
            <p:spPr bwMode="gray">
              <a:xfrm>
                <a:off x="5144449" y="2505013"/>
                <a:ext cx="261257" cy="26895"/>
              </a:xfrm>
              <a:prstGeom prst="line">
                <a:avLst/>
              </a:prstGeom>
              <a:grpFill/>
              <a:ln w="9525" algn="ctr">
                <a:solidFill>
                  <a:schemeClr val="tx1"/>
                </a:solidFill>
                <a:round/>
                <a:headEnd/>
                <a:tailEnd/>
              </a:ln>
              <a:extLst/>
            </p:spPr>
          </p:cxnSp>
          <p:cxnSp>
            <p:nvCxnSpPr>
              <p:cNvPr id="73" name="Straight Connector 66"/>
              <p:cNvCxnSpPr>
                <a:cxnSpLocks noChangeShapeType="1"/>
              </p:cNvCxnSpPr>
              <p:nvPr/>
            </p:nvCxnSpPr>
            <p:spPr bwMode="gray">
              <a:xfrm rot="16200000" flipH="1">
                <a:off x="5314144" y="2125297"/>
                <a:ext cx="216441" cy="189538"/>
              </a:xfrm>
              <a:prstGeom prst="line">
                <a:avLst/>
              </a:prstGeom>
              <a:grpFill/>
              <a:ln w="9525" algn="ctr">
                <a:solidFill>
                  <a:schemeClr val="tx1"/>
                </a:solidFill>
                <a:round/>
                <a:headEnd/>
                <a:tailEnd/>
              </a:ln>
              <a:extLst/>
            </p:spPr>
          </p:cxnSp>
          <p:cxnSp>
            <p:nvCxnSpPr>
              <p:cNvPr id="74" name="Straight Connector 67"/>
              <p:cNvCxnSpPr>
                <a:cxnSpLocks noChangeShapeType="1"/>
              </p:cNvCxnSpPr>
              <p:nvPr/>
            </p:nvCxnSpPr>
            <p:spPr bwMode="gray">
              <a:xfrm>
                <a:off x="5418524" y="2083676"/>
                <a:ext cx="206183" cy="113981"/>
              </a:xfrm>
              <a:prstGeom prst="line">
                <a:avLst/>
              </a:prstGeom>
              <a:grpFill/>
              <a:ln w="9525" algn="ctr">
                <a:solidFill>
                  <a:schemeClr val="tx1"/>
                </a:solidFill>
                <a:round/>
                <a:headEnd/>
                <a:tailEnd/>
              </a:ln>
              <a:extLst/>
            </p:spPr>
          </p:cxnSp>
          <p:cxnSp>
            <p:nvCxnSpPr>
              <p:cNvPr id="75" name="Straight Connector 68"/>
              <p:cNvCxnSpPr>
                <a:cxnSpLocks noChangeShapeType="1"/>
              </p:cNvCxnSpPr>
              <p:nvPr/>
            </p:nvCxnSpPr>
            <p:spPr bwMode="gray">
              <a:xfrm>
                <a:off x="5378827" y="2001690"/>
                <a:ext cx="307357" cy="42264"/>
              </a:xfrm>
              <a:prstGeom prst="line">
                <a:avLst/>
              </a:prstGeom>
              <a:grpFill/>
              <a:ln w="9525" algn="ctr">
                <a:solidFill>
                  <a:schemeClr val="tx1"/>
                </a:solidFill>
                <a:round/>
                <a:headEnd/>
                <a:tailEnd/>
              </a:ln>
              <a:extLst/>
            </p:spPr>
          </p:cxnSp>
        </p:grpSp>
      </p:grpSp>
      <p:sp>
        <p:nvSpPr>
          <p:cNvPr id="451" name="Rectangle 450"/>
          <p:cNvSpPr>
            <a:spLocks/>
          </p:cNvSpPr>
          <p:nvPr/>
        </p:nvSpPr>
        <p:spPr bwMode="gray">
          <a:xfrm>
            <a:off x="6815034" y="3455957"/>
            <a:ext cx="416672" cy="190839"/>
          </a:xfrm>
          <a:prstGeom prst="rect">
            <a:avLst/>
          </a:prstGeom>
          <a:solidFill>
            <a:schemeClr val="accent1">
              <a:lumMod val="40000"/>
              <a:lumOff val="60000"/>
            </a:schemeClr>
          </a:solidFill>
          <a:ln w="12700">
            <a:noFill/>
            <a:miter lim="800000"/>
            <a:headEnd/>
            <a:tailEnd/>
          </a:ln>
        </p:spPr>
        <p:txBody>
          <a:bodyPr lIns="0" tIns="0" rIns="57787" bIns="0"/>
          <a:lstStyle/>
          <a:p>
            <a:pPr marL="81639">
              <a:defRPr/>
            </a:pPr>
            <a:r>
              <a:rPr lang="en-US" sz="1100" b="1" dirty="0">
                <a:latin typeface="+mj-lt"/>
                <a:cs typeface="Times New Roman" charset="0"/>
                <a:sym typeface="Times New Roman" charset="0"/>
              </a:rPr>
              <a:t>DC</a:t>
            </a:r>
          </a:p>
        </p:txBody>
      </p:sp>
      <p:cxnSp>
        <p:nvCxnSpPr>
          <p:cNvPr id="452" name="Straight Connector 64"/>
          <p:cNvCxnSpPr>
            <a:cxnSpLocks noChangeShapeType="1"/>
            <a:endCxn id="451" idx="1"/>
          </p:cNvCxnSpPr>
          <p:nvPr/>
        </p:nvCxnSpPr>
        <p:spPr bwMode="gray">
          <a:xfrm>
            <a:off x="6453483" y="3192092"/>
            <a:ext cx="361551" cy="359285"/>
          </a:xfrm>
          <a:prstGeom prst="line">
            <a:avLst/>
          </a:prstGeom>
          <a:solidFill>
            <a:schemeClr val="bg1">
              <a:lumMod val="95000"/>
            </a:schemeClr>
          </a:solidFill>
          <a:ln w="9525" algn="ctr">
            <a:solidFill>
              <a:schemeClr val="tx1"/>
            </a:solidFill>
            <a:round/>
            <a:headEnd/>
            <a:tailEnd/>
          </a:ln>
          <a:extLst/>
        </p:spPr>
      </p:cxnSp>
      <p:cxnSp>
        <p:nvCxnSpPr>
          <p:cNvPr id="453" name="Straight Connector 64"/>
          <p:cNvCxnSpPr>
            <a:cxnSpLocks noChangeShapeType="1"/>
            <a:endCxn id="64" idx="1"/>
          </p:cNvCxnSpPr>
          <p:nvPr/>
        </p:nvCxnSpPr>
        <p:spPr bwMode="gray">
          <a:xfrm>
            <a:off x="6651793" y="2903397"/>
            <a:ext cx="133725" cy="93330"/>
          </a:xfrm>
          <a:prstGeom prst="line">
            <a:avLst/>
          </a:prstGeom>
          <a:solidFill>
            <a:schemeClr val="bg1">
              <a:lumMod val="95000"/>
            </a:schemeClr>
          </a:solidFill>
          <a:ln w="9525" algn="ctr">
            <a:solidFill>
              <a:schemeClr val="tx1"/>
            </a:solidFill>
            <a:round/>
            <a:headEnd/>
            <a:tailEnd/>
          </a:ln>
          <a:extLst/>
        </p:spPr>
      </p:cxnSp>
      <p:sp>
        <p:nvSpPr>
          <p:cNvPr id="171" name="Rectangle 170"/>
          <p:cNvSpPr/>
          <p:nvPr/>
        </p:nvSpPr>
        <p:spPr>
          <a:xfrm>
            <a:off x="1043337" y="6174150"/>
            <a:ext cx="162253" cy="167741"/>
          </a:xfrm>
          <a:prstGeom prst="rect">
            <a:avLst/>
          </a:prstGeom>
          <a:pattFill prst="wdUpDiag">
            <a:fgClr>
              <a:schemeClr val="tx2">
                <a:lumMod val="40000"/>
                <a:lumOff val="60000"/>
              </a:schemeClr>
            </a:fgClr>
            <a:bgClr>
              <a:schemeClr val="bg1"/>
            </a:bgClr>
          </a:pattFill>
          <a:ln w="6350" cap="flat" cmpd="sng" algn="ctr">
            <a:solidFill>
              <a:sysClr val="windowText" lastClr="000000"/>
            </a:solidFill>
            <a:prstDash val="solid"/>
            <a:miter lim="8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F0AB00"/>
              </a:solidFill>
              <a:effectLst/>
              <a:uLnTx/>
              <a:uFillTx/>
              <a:latin typeface="Calibri" panose="020F0502020204030204"/>
              <a:ea typeface="+mn-ea"/>
              <a:cs typeface="+mn-cs"/>
            </a:endParaRPr>
          </a:p>
        </p:txBody>
      </p:sp>
      <p:sp>
        <p:nvSpPr>
          <p:cNvPr id="172" name="Rectangle 3"/>
          <p:cNvSpPr>
            <a:spLocks noChangeArrowheads="1"/>
          </p:cNvSpPr>
          <p:nvPr/>
        </p:nvSpPr>
        <p:spPr bwMode="auto">
          <a:xfrm>
            <a:off x="1278002" y="6066733"/>
            <a:ext cx="315342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Open Sans"/>
                <a:ea typeface="Open Sans"/>
                <a:cs typeface="Open Sans"/>
              </a:defRPr>
            </a:lvl1pPr>
            <a:lvl2pPr marL="742950" indent="-285750" eaLnBrk="0" hangingPunct="0">
              <a:spcBef>
                <a:spcPct val="20000"/>
              </a:spcBef>
              <a:buFont typeface="Arial" pitchFamily="34" charset="0"/>
              <a:buChar char="–"/>
              <a:defRPr sz="2800">
                <a:solidFill>
                  <a:schemeClr val="tx1"/>
                </a:solidFill>
                <a:latin typeface="Open Sans Semibold"/>
                <a:ea typeface="Open Sans Semibold"/>
                <a:cs typeface="Open Sans Semibold"/>
              </a:defRPr>
            </a:lvl2pPr>
            <a:lvl3pPr marL="1143000" indent="-228600" eaLnBrk="0" hangingPunct="0">
              <a:spcBef>
                <a:spcPct val="20000"/>
              </a:spcBef>
              <a:buFont typeface="Arial" pitchFamily="34" charset="0"/>
              <a:buChar char="•"/>
              <a:defRPr sz="2400">
                <a:solidFill>
                  <a:schemeClr val="tx1"/>
                </a:solidFill>
                <a:latin typeface="Open Sans Light"/>
                <a:ea typeface="Open Sans Light"/>
                <a:cs typeface="Open Sans Light"/>
              </a:defRPr>
            </a:lvl3pPr>
            <a:lvl4pPr marL="1600200" indent="-228600" eaLnBrk="0" hangingPunct="0">
              <a:spcBef>
                <a:spcPct val="20000"/>
              </a:spcBef>
              <a:buFont typeface="Arial" pitchFamily="34" charset="0"/>
              <a:buChar char="–"/>
              <a:defRPr sz="2000">
                <a:solidFill>
                  <a:schemeClr val="tx1"/>
                </a:solidFill>
                <a:latin typeface="Open Sans Light"/>
                <a:ea typeface="Open Sans Light"/>
                <a:cs typeface="Open Sans Light"/>
              </a:defRPr>
            </a:lvl4pPr>
            <a:lvl5pPr marL="2057400" indent="-228600" eaLnBrk="0" hangingPunct="0">
              <a:spcBef>
                <a:spcPct val="20000"/>
              </a:spcBef>
              <a:buFont typeface="Arial" pitchFamily="34" charset="0"/>
              <a:buChar char="»"/>
              <a:defRPr sz="2000">
                <a:solidFill>
                  <a:schemeClr val="tx1"/>
                </a:solidFill>
                <a:latin typeface="Open Sans Light"/>
                <a:ea typeface="Open Sans Light"/>
                <a:cs typeface="Open Sans Light"/>
              </a:defRPr>
            </a:lvl5pPr>
            <a:lvl6pPr marL="2514600" indent="-228600"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6pPr>
            <a:lvl7pPr marL="2971800" indent="-228600"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7pPr>
            <a:lvl8pPr marL="3429000" indent="-228600"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8pPr>
            <a:lvl9pPr marL="3886200" indent="-228600"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9pPr>
          </a:lstStyle>
          <a:p>
            <a:pPr marL="0" marR="0" lvl="0" indent="0" algn="l" defTabSz="914400" rtl="0" eaLnBrk="1" fontAlgn="auto" latinLnBrk="0" hangingPunct="1">
              <a:lnSpc>
                <a:spcPct val="100000"/>
              </a:lnSpc>
              <a:spcBef>
                <a:spcPts val="200"/>
              </a:spcBef>
              <a:spcAft>
                <a:spcPts val="200"/>
              </a:spcAft>
              <a:buClrTx/>
              <a:buSzTx/>
              <a:buFont typeface="Arial" pitchFamily="34" charset="0"/>
              <a:buNone/>
              <a:tabLst/>
              <a:defRPr/>
            </a:pPr>
            <a:r>
              <a:rPr kumimoji="0" lang="en-US" altLang="en-US" sz="1600" b="0" i="0" u="none" strike="noStrike" kern="0" cap="none" spc="0" normalizeH="0" baseline="0" noProof="0" dirty="0">
                <a:ln>
                  <a:noFill/>
                </a:ln>
                <a:solidFill>
                  <a:prstClr val="black"/>
                </a:solidFill>
                <a:effectLst/>
                <a:uLnTx/>
                <a:uFillTx/>
                <a:latin typeface="Calibri" pitchFamily="34" charset="0"/>
                <a:cs typeface="Arial" pitchFamily="34" charset="0"/>
              </a:rPr>
              <a:t>SBM</a:t>
            </a:r>
            <a:r>
              <a:rPr kumimoji="0" lang="en-US" altLang="en-US" sz="1600" b="0" i="0" u="none" strike="noStrike" kern="0" cap="none" spc="0" normalizeH="0" noProof="0" dirty="0">
                <a:ln>
                  <a:noFill/>
                </a:ln>
                <a:solidFill>
                  <a:prstClr val="black"/>
                </a:solidFill>
                <a:effectLst/>
                <a:uLnTx/>
                <a:uFillTx/>
                <a:latin typeface="Calibri" pitchFamily="34" charset="0"/>
                <a:cs typeface="Arial" pitchFamily="34" charset="0"/>
              </a:rPr>
              <a:t> Operating on Federal Platform</a:t>
            </a:r>
            <a:endParaRPr kumimoji="0" lang="en-US" altLang="en-US" sz="1600" b="0" i="0" u="none" strike="noStrike" kern="0" cap="none" spc="0" normalizeH="0" baseline="0" noProof="0" dirty="0">
              <a:ln>
                <a:noFill/>
              </a:ln>
              <a:solidFill>
                <a:prstClr val="black"/>
              </a:solidFill>
              <a:effectLst/>
              <a:uLnTx/>
              <a:uFillTx/>
              <a:latin typeface="Calibri" pitchFamily="34" charset="0"/>
              <a:cs typeface="Arial" pitchFamily="34" charset="0"/>
            </a:endParaRPr>
          </a:p>
        </p:txBody>
      </p:sp>
    </p:spTree>
    <p:extLst>
      <p:ext uri="{BB962C8B-B14F-4D97-AF65-F5344CB8AC3E}">
        <p14:creationId xmlns:p14="http://schemas.microsoft.com/office/powerpoint/2010/main" val="154576454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dirty="0"/>
              <a:t>Other Affordability Policy Decisions</a:t>
            </a:r>
          </a:p>
        </p:txBody>
      </p:sp>
      <p:sp>
        <p:nvSpPr>
          <p:cNvPr id="3" name="Content Placeholder 2"/>
          <p:cNvSpPr>
            <a:spLocks noGrp="1"/>
          </p:cNvSpPr>
          <p:nvPr>
            <p:ph idx="1"/>
          </p:nvPr>
        </p:nvSpPr>
        <p:spPr>
          <a:xfrm>
            <a:off x="340659" y="1614187"/>
            <a:ext cx="8346141" cy="4327364"/>
          </a:xfrm>
        </p:spPr>
        <p:txBody>
          <a:bodyPr>
            <a:normAutofit fontScale="77500" lnSpcReduction="20000"/>
          </a:bodyPr>
          <a:lstStyle/>
          <a:p>
            <a:pPr>
              <a:lnSpc>
                <a:spcPct val="110000"/>
              </a:lnSpc>
              <a:buFont typeface="Arial" panose="020B0604020202020204" pitchFamily="34" charset="0"/>
              <a:buChar char="•"/>
            </a:pPr>
            <a:r>
              <a:rPr lang="en-US" sz="2100" b="1" dirty="0"/>
              <a:t>Develop individual mandate </a:t>
            </a:r>
          </a:p>
          <a:p>
            <a:pPr lvl="1">
              <a:lnSpc>
                <a:spcPct val="110000"/>
              </a:lnSpc>
              <a:buFont typeface="Wingdings" panose="05000000000000000000" pitchFamily="2" charset="2"/>
              <a:buChar char="ü"/>
            </a:pPr>
            <a:r>
              <a:rPr lang="en-US" sz="2100" dirty="0"/>
              <a:t>California, D.C, New Jersey, Rhode Island, and Vermont follow Massachusetts </a:t>
            </a:r>
          </a:p>
          <a:p>
            <a:pPr marL="285348" indent="-285348">
              <a:lnSpc>
                <a:spcPct val="110000"/>
              </a:lnSpc>
              <a:buFont typeface="Arial" panose="020B0604020202020204" pitchFamily="34" charset="0"/>
              <a:buChar char="•"/>
            </a:pPr>
            <a:r>
              <a:rPr lang="en-US" sz="2100" b="1" dirty="0"/>
              <a:t>Standardize health plan benefit designs </a:t>
            </a:r>
          </a:p>
          <a:p>
            <a:pPr marL="685800" lvl="1">
              <a:lnSpc>
                <a:spcPct val="110000"/>
              </a:lnSpc>
              <a:buFont typeface="Wingdings" panose="05000000000000000000" pitchFamily="2" charset="2"/>
              <a:buChar char="ü"/>
            </a:pPr>
            <a:r>
              <a:rPr lang="en-US" sz="2300" dirty="0"/>
              <a:t>California, Connecticut, D.C.,  Massachusetts, New York, Oregon, Vermont, and Washington</a:t>
            </a:r>
            <a:endParaRPr lang="en-US" sz="2100" b="1" dirty="0"/>
          </a:p>
          <a:p>
            <a:pPr marL="285348" indent="-285348">
              <a:lnSpc>
                <a:spcPct val="110000"/>
              </a:lnSpc>
              <a:buFont typeface="Arial" panose="020B0604020202020204" pitchFamily="34" charset="0"/>
              <a:buChar char="•"/>
            </a:pPr>
            <a:r>
              <a:rPr lang="en-US" sz="2100" b="1" dirty="0"/>
              <a:t>Maintain ACA protections </a:t>
            </a:r>
          </a:p>
          <a:p>
            <a:pPr marL="285348" indent="-285348">
              <a:lnSpc>
                <a:spcPct val="110000"/>
              </a:lnSpc>
              <a:buFont typeface="Arial" panose="020B0604020202020204" pitchFamily="34" charset="0"/>
              <a:buChar char="•"/>
            </a:pPr>
            <a:r>
              <a:rPr lang="en-US" sz="2100" b="1" dirty="0" smtClean="0"/>
              <a:t>Expand </a:t>
            </a:r>
            <a:r>
              <a:rPr lang="en-US" sz="2100" b="1" dirty="0"/>
              <a:t>ACA subsidies</a:t>
            </a:r>
            <a:endParaRPr lang="en-US" sz="2100" dirty="0"/>
          </a:p>
          <a:p>
            <a:pPr marL="685800" lvl="1">
              <a:lnSpc>
                <a:spcPct val="110000"/>
              </a:lnSpc>
              <a:buFont typeface="Wingdings" panose="05000000000000000000" pitchFamily="2" charset="2"/>
              <a:buChar char="ü"/>
            </a:pPr>
            <a:r>
              <a:rPr lang="en-US" sz="2100" dirty="0"/>
              <a:t>California will offer subsidies to those above ACA subsidy cut off (400-600% FPL) with state funding </a:t>
            </a:r>
          </a:p>
          <a:p>
            <a:pPr marL="285348" indent="-285348">
              <a:lnSpc>
                <a:spcPct val="110000"/>
              </a:lnSpc>
              <a:buFont typeface="Arial" panose="020B0604020202020204" pitchFamily="34" charset="0"/>
              <a:buChar char="•"/>
            </a:pPr>
            <a:r>
              <a:rPr lang="en-US" sz="2100" b="1" dirty="0"/>
              <a:t>Set health care spending targets</a:t>
            </a:r>
          </a:p>
          <a:p>
            <a:pPr marL="685800" lvl="1">
              <a:lnSpc>
                <a:spcPct val="110000"/>
              </a:lnSpc>
              <a:buFont typeface="Wingdings" panose="05000000000000000000" pitchFamily="2" charset="2"/>
              <a:buChar char="ü"/>
            </a:pPr>
            <a:r>
              <a:rPr lang="en-US" sz="2100" dirty="0"/>
              <a:t>Delaware, Oregon and Rhode Island follow </a:t>
            </a:r>
            <a:r>
              <a:rPr lang="en-US" sz="2100" dirty="0" smtClean="0"/>
              <a:t>Massachusetts </a:t>
            </a:r>
            <a:endParaRPr lang="en-US" sz="2100" dirty="0" smtClean="0"/>
          </a:p>
          <a:p>
            <a:pPr marL="285348" indent="-285348">
              <a:lnSpc>
                <a:spcPct val="110000"/>
              </a:lnSpc>
              <a:buFont typeface="Arial" panose="020B0604020202020204" pitchFamily="34" charset="0"/>
              <a:buChar char="•"/>
            </a:pPr>
            <a:r>
              <a:rPr lang="en-US" sz="2100" b="1" dirty="0" smtClean="0"/>
              <a:t>Address surprise billing </a:t>
            </a:r>
          </a:p>
          <a:p>
            <a:pPr marL="685800" lvl="1">
              <a:lnSpc>
                <a:spcPct val="110000"/>
              </a:lnSpc>
              <a:buFont typeface="Wingdings" panose="05000000000000000000" pitchFamily="2" charset="2"/>
              <a:buChar char="ü"/>
            </a:pPr>
            <a:r>
              <a:rPr lang="en-US" sz="2100" dirty="0" smtClean="0"/>
              <a:t>28 </a:t>
            </a:r>
            <a:r>
              <a:rPr lang="en-US" sz="2100" dirty="0"/>
              <a:t>states total, including Missouri, Nevada and Washington [latest states to enact legislation] </a:t>
            </a:r>
          </a:p>
          <a:p>
            <a:pPr marL="285348" indent="-285348">
              <a:lnSpc>
                <a:spcPct val="110000"/>
              </a:lnSpc>
              <a:buFont typeface="Arial" panose="020B0604020202020204" pitchFamily="34" charset="0"/>
              <a:buChar char="•"/>
            </a:pPr>
            <a:r>
              <a:rPr lang="en-US" sz="2100" b="1" dirty="0"/>
              <a:t>Enroll the eligible but uninsured</a:t>
            </a:r>
          </a:p>
          <a:p>
            <a:pPr marL="685800" lvl="1">
              <a:lnSpc>
                <a:spcPct val="110000"/>
              </a:lnSpc>
              <a:buFont typeface="Wingdings" panose="05000000000000000000" pitchFamily="2" charset="2"/>
              <a:buChar char="ü"/>
            </a:pPr>
            <a:r>
              <a:rPr lang="en-US" sz="2100" dirty="0"/>
              <a:t>All states concerned with coverage and affordability</a:t>
            </a:r>
            <a:endParaRPr lang="en-US" dirty="0"/>
          </a:p>
          <a:p>
            <a:endParaRPr lang="en-US" dirty="0"/>
          </a:p>
        </p:txBody>
      </p:sp>
      <p:pic>
        <p:nvPicPr>
          <p:cNvPr id="4" name="Picture 6" descr="Image result for affordability"/>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01989" y="5226369"/>
            <a:ext cx="1197428" cy="12812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2698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5101" y="412591"/>
            <a:ext cx="8229600" cy="1143000"/>
          </a:xfrm>
        </p:spPr>
        <p:txBody>
          <a:bodyPr/>
          <a:lstStyle/>
          <a:p>
            <a:r>
              <a:rPr lang="en-US" dirty="0"/>
              <a:t>State Individual Mandates </a:t>
            </a:r>
          </a:p>
        </p:txBody>
      </p:sp>
      <p:grpSp>
        <p:nvGrpSpPr>
          <p:cNvPr id="3" name="Group 2"/>
          <p:cNvGrpSpPr/>
          <p:nvPr/>
        </p:nvGrpSpPr>
        <p:grpSpPr>
          <a:xfrm>
            <a:off x="840685" y="1485453"/>
            <a:ext cx="7317970" cy="4481794"/>
            <a:chOff x="840685" y="1485453"/>
            <a:chExt cx="7317970" cy="4481794"/>
          </a:xfrm>
        </p:grpSpPr>
        <p:grpSp>
          <p:nvGrpSpPr>
            <p:cNvPr id="18" name="Group 150"/>
            <p:cNvGrpSpPr>
              <a:grpSpLocks/>
            </p:cNvGrpSpPr>
            <p:nvPr/>
          </p:nvGrpSpPr>
          <p:grpSpPr bwMode="auto">
            <a:xfrm>
              <a:off x="840685" y="1485453"/>
              <a:ext cx="7317970" cy="4481794"/>
              <a:chOff x="854440" y="1588437"/>
              <a:chExt cx="4876600" cy="2906960"/>
            </a:xfrm>
            <a:solidFill>
              <a:schemeClr val="bg1">
                <a:lumMod val="95000"/>
              </a:schemeClr>
            </a:solidFill>
          </p:grpSpPr>
          <p:grpSp>
            <p:nvGrpSpPr>
              <p:cNvPr id="19" name="Group 197"/>
              <p:cNvGrpSpPr/>
              <p:nvPr/>
            </p:nvGrpSpPr>
            <p:grpSpPr bwMode="gray">
              <a:xfrm>
                <a:off x="854440" y="1588437"/>
                <a:ext cx="4616570" cy="2906960"/>
                <a:chOff x="570714" y="1144588"/>
                <a:chExt cx="5049810" cy="3179762"/>
              </a:xfrm>
              <a:grpFill/>
            </p:grpSpPr>
            <p:sp>
              <p:nvSpPr>
                <p:cNvPr id="76" name="Freeform 20"/>
                <p:cNvSpPr>
                  <a:spLocks/>
                </p:cNvSpPr>
                <p:nvPr/>
              </p:nvSpPr>
              <p:spPr bwMode="gray">
                <a:xfrm>
                  <a:off x="3917114" y="3120855"/>
                  <a:ext cx="367383" cy="599311"/>
                </a:xfrm>
                <a:custGeom>
                  <a:avLst/>
                  <a:gdLst>
                    <a:gd name="T0" fmla="*/ 0 w 755"/>
                    <a:gd name="T1" fmla="*/ 43 h 1230"/>
                    <a:gd name="T2" fmla="*/ 19 w 755"/>
                    <a:gd name="T3" fmla="*/ 66 h 1230"/>
                    <a:gd name="T4" fmla="*/ 0 w 755"/>
                    <a:gd name="T5" fmla="*/ 826 h 1230"/>
                    <a:gd name="T6" fmla="*/ 46 w 755"/>
                    <a:gd name="T7" fmla="*/ 1193 h 1230"/>
                    <a:gd name="T8" fmla="*/ 101 w 755"/>
                    <a:gd name="T9" fmla="*/ 1206 h 1230"/>
                    <a:gd name="T10" fmla="*/ 122 w 755"/>
                    <a:gd name="T11" fmla="*/ 1090 h 1230"/>
                    <a:gd name="T12" fmla="*/ 142 w 755"/>
                    <a:gd name="T13" fmla="*/ 1121 h 1230"/>
                    <a:gd name="T14" fmla="*/ 146 w 755"/>
                    <a:gd name="T15" fmla="*/ 1177 h 1230"/>
                    <a:gd name="T16" fmla="*/ 174 w 755"/>
                    <a:gd name="T17" fmla="*/ 1205 h 1230"/>
                    <a:gd name="T18" fmla="*/ 132 w 755"/>
                    <a:gd name="T19" fmla="*/ 1230 h 1230"/>
                    <a:gd name="T20" fmla="*/ 238 w 755"/>
                    <a:gd name="T21" fmla="*/ 1202 h 1230"/>
                    <a:gd name="T22" fmla="*/ 260 w 755"/>
                    <a:gd name="T23" fmla="*/ 1167 h 1230"/>
                    <a:gd name="T24" fmla="*/ 243 w 755"/>
                    <a:gd name="T25" fmla="*/ 1148 h 1230"/>
                    <a:gd name="T26" fmla="*/ 252 w 755"/>
                    <a:gd name="T27" fmla="*/ 1119 h 1230"/>
                    <a:gd name="T28" fmla="*/ 200 w 755"/>
                    <a:gd name="T29" fmla="*/ 1069 h 1230"/>
                    <a:gd name="T30" fmla="*/ 204 w 755"/>
                    <a:gd name="T31" fmla="*/ 1030 h 1230"/>
                    <a:gd name="T32" fmla="*/ 755 w 755"/>
                    <a:gd name="T33" fmla="*/ 980 h 1230"/>
                    <a:gd name="T34" fmla="*/ 708 w 755"/>
                    <a:gd name="T35" fmla="*/ 785 h 1230"/>
                    <a:gd name="T36" fmla="*/ 716 w 755"/>
                    <a:gd name="T37" fmla="*/ 716 h 1230"/>
                    <a:gd name="T38" fmla="*/ 739 w 755"/>
                    <a:gd name="T39" fmla="*/ 670 h 1230"/>
                    <a:gd name="T40" fmla="*/ 720 w 755"/>
                    <a:gd name="T41" fmla="*/ 606 h 1230"/>
                    <a:gd name="T42" fmla="*/ 667 w 755"/>
                    <a:gd name="T43" fmla="*/ 518 h 1230"/>
                    <a:gd name="T44" fmla="*/ 525 w 755"/>
                    <a:gd name="T45" fmla="*/ 0 h 1230"/>
                    <a:gd name="T46" fmla="*/ 0 w 755"/>
                    <a:gd name="T47" fmla="*/ 43 h 123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55"/>
                    <a:gd name="T73" fmla="*/ 0 h 1230"/>
                    <a:gd name="T74" fmla="*/ 755 w 755"/>
                    <a:gd name="T75" fmla="*/ 1230 h 123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55" h="1230">
                      <a:moveTo>
                        <a:pt x="0" y="43"/>
                      </a:moveTo>
                      <a:lnTo>
                        <a:pt x="19" y="66"/>
                      </a:lnTo>
                      <a:lnTo>
                        <a:pt x="0" y="826"/>
                      </a:lnTo>
                      <a:lnTo>
                        <a:pt x="46" y="1193"/>
                      </a:lnTo>
                      <a:lnTo>
                        <a:pt x="101" y="1206"/>
                      </a:lnTo>
                      <a:lnTo>
                        <a:pt x="122" y="1090"/>
                      </a:lnTo>
                      <a:lnTo>
                        <a:pt x="142" y="1121"/>
                      </a:lnTo>
                      <a:lnTo>
                        <a:pt x="146" y="1177"/>
                      </a:lnTo>
                      <a:lnTo>
                        <a:pt x="174" y="1205"/>
                      </a:lnTo>
                      <a:lnTo>
                        <a:pt x="132" y="1230"/>
                      </a:lnTo>
                      <a:lnTo>
                        <a:pt x="238" y="1202"/>
                      </a:lnTo>
                      <a:lnTo>
                        <a:pt x="260" y="1167"/>
                      </a:lnTo>
                      <a:lnTo>
                        <a:pt x="243" y="1148"/>
                      </a:lnTo>
                      <a:lnTo>
                        <a:pt x="252" y="1119"/>
                      </a:lnTo>
                      <a:lnTo>
                        <a:pt x="200" y="1069"/>
                      </a:lnTo>
                      <a:lnTo>
                        <a:pt x="204" y="1030"/>
                      </a:lnTo>
                      <a:lnTo>
                        <a:pt x="755" y="980"/>
                      </a:lnTo>
                      <a:lnTo>
                        <a:pt x="708" y="785"/>
                      </a:lnTo>
                      <a:lnTo>
                        <a:pt x="716" y="716"/>
                      </a:lnTo>
                      <a:lnTo>
                        <a:pt x="739" y="670"/>
                      </a:lnTo>
                      <a:lnTo>
                        <a:pt x="720" y="606"/>
                      </a:lnTo>
                      <a:lnTo>
                        <a:pt x="667" y="518"/>
                      </a:lnTo>
                      <a:lnTo>
                        <a:pt x="525" y="0"/>
                      </a:lnTo>
                      <a:lnTo>
                        <a:pt x="0" y="43"/>
                      </a:lnTo>
                      <a:close/>
                    </a:path>
                  </a:pathLst>
                </a:custGeom>
                <a:grpFill/>
                <a:ln w="9525">
                  <a:solidFill>
                    <a:schemeClr val="tx1"/>
                  </a:solidFill>
                  <a:round/>
                  <a:headEnd/>
                  <a:tailEnd/>
                </a:ln>
              </p:spPr>
              <p:txBody>
                <a:bodyPr/>
                <a:lstStyle/>
                <a:p>
                  <a:pPr>
                    <a:defRPr/>
                  </a:pPr>
                  <a:endParaRPr lang="en-US" sz="1100" dirty="0">
                    <a:latin typeface="+mj-lt"/>
                  </a:endParaRPr>
                </a:p>
              </p:txBody>
            </p:sp>
            <p:grpSp>
              <p:nvGrpSpPr>
                <p:cNvPr id="77" name="Group 110"/>
                <p:cNvGrpSpPr/>
                <p:nvPr/>
              </p:nvGrpSpPr>
              <p:grpSpPr bwMode="gray">
                <a:xfrm>
                  <a:off x="753918" y="3464848"/>
                  <a:ext cx="1112868" cy="802008"/>
                  <a:chOff x="753918" y="3464848"/>
                  <a:chExt cx="1112868" cy="802008"/>
                </a:xfrm>
                <a:grpFill/>
              </p:grpSpPr>
              <p:sp>
                <p:nvSpPr>
                  <p:cNvPr id="163" name="Freeform 21"/>
                  <p:cNvSpPr>
                    <a:spLocks/>
                  </p:cNvSpPr>
                  <p:nvPr/>
                </p:nvSpPr>
                <p:spPr bwMode="gray">
                  <a:xfrm>
                    <a:off x="753918" y="4243468"/>
                    <a:ext cx="47750" cy="23388"/>
                  </a:xfrm>
                  <a:custGeom>
                    <a:avLst/>
                    <a:gdLst>
                      <a:gd name="T0" fmla="*/ 0 w 98"/>
                      <a:gd name="T1" fmla="*/ 48 h 48"/>
                      <a:gd name="T2" fmla="*/ 25 w 98"/>
                      <a:gd name="T3" fmla="*/ 22 h 48"/>
                      <a:gd name="T4" fmla="*/ 92 w 98"/>
                      <a:gd name="T5" fmla="*/ 0 h 48"/>
                      <a:gd name="T6" fmla="*/ 98 w 98"/>
                      <a:gd name="T7" fmla="*/ 9 h 48"/>
                      <a:gd name="T8" fmla="*/ 0 w 98"/>
                      <a:gd name="T9" fmla="*/ 48 h 48"/>
                      <a:gd name="T10" fmla="*/ 0 60000 65536"/>
                      <a:gd name="T11" fmla="*/ 0 60000 65536"/>
                      <a:gd name="T12" fmla="*/ 0 60000 65536"/>
                      <a:gd name="T13" fmla="*/ 0 60000 65536"/>
                      <a:gd name="T14" fmla="*/ 0 60000 65536"/>
                      <a:gd name="T15" fmla="*/ 0 w 98"/>
                      <a:gd name="T16" fmla="*/ 0 h 48"/>
                      <a:gd name="T17" fmla="*/ 98 w 98"/>
                      <a:gd name="T18" fmla="*/ 48 h 48"/>
                    </a:gdLst>
                    <a:ahLst/>
                    <a:cxnLst>
                      <a:cxn ang="T10">
                        <a:pos x="T0" y="T1"/>
                      </a:cxn>
                      <a:cxn ang="T11">
                        <a:pos x="T2" y="T3"/>
                      </a:cxn>
                      <a:cxn ang="T12">
                        <a:pos x="T4" y="T5"/>
                      </a:cxn>
                      <a:cxn ang="T13">
                        <a:pos x="T6" y="T7"/>
                      </a:cxn>
                      <a:cxn ang="T14">
                        <a:pos x="T8" y="T9"/>
                      </a:cxn>
                    </a:cxnLst>
                    <a:rect l="T15" t="T16" r="T17" b="T18"/>
                    <a:pathLst>
                      <a:path w="98" h="48">
                        <a:moveTo>
                          <a:pt x="0" y="48"/>
                        </a:moveTo>
                        <a:lnTo>
                          <a:pt x="25" y="22"/>
                        </a:lnTo>
                        <a:lnTo>
                          <a:pt x="92" y="0"/>
                        </a:lnTo>
                        <a:lnTo>
                          <a:pt x="98" y="9"/>
                        </a:lnTo>
                        <a:lnTo>
                          <a:pt x="0" y="48"/>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64" name="Freeform 22"/>
                  <p:cNvSpPr>
                    <a:spLocks/>
                  </p:cNvSpPr>
                  <p:nvPr/>
                </p:nvSpPr>
                <p:spPr bwMode="gray">
                  <a:xfrm>
                    <a:off x="823106" y="4232748"/>
                    <a:ext cx="28261" cy="19490"/>
                  </a:xfrm>
                  <a:custGeom>
                    <a:avLst/>
                    <a:gdLst>
                      <a:gd name="T0" fmla="*/ 0 w 59"/>
                      <a:gd name="T1" fmla="*/ 39 h 39"/>
                      <a:gd name="T2" fmla="*/ 13 w 59"/>
                      <a:gd name="T3" fmla="*/ 0 h 39"/>
                      <a:gd name="T4" fmla="*/ 59 w 59"/>
                      <a:gd name="T5" fmla="*/ 7 h 39"/>
                      <a:gd name="T6" fmla="*/ 52 w 59"/>
                      <a:gd name="T7" fmla="*/ 31 h 39"/>
                      <a:gd name="T8" fmla="*/ 0 w 59"/>
                      <a:gd name="T9" fmla="*/ 39 h 39"/>
                      <a:gd name="T10" fmla="*/ 0 60000 65536"/>
                      <a:gd name="T11" fmla="*/ 0 60000 65536"/>
                      <a:gd name="T12" fmla="*/ 0 60000 65536"/>
                      <a:gd name="T13" fmla="*/ 0 60000 65536"/>
                      <a:gd name="T14" fmla="*/ 0 60000 65536"/>
                      <a:gd name="T15" fmla="*/ 0 w 59"/>
                      <a:gd name="T16" fmla="*/ 0 h 39"/>
                      <a:gd name="T17" fmla="*/ 59 w 59"/>
                      <a:gd name="T18" fmla="*/ 39 h 39"/>
                    </a:gdLst>
                    <a:ahLst/>
                    <a:cxnLst>
                      <a:cxn ang="T10">
                        <a:pos x="T0" y="T1"/>
                      </a:cxn>
                      <a:cxn ang="T11">
                        <a:pos x="T2" y="T3"/>
                      </a:cxn>
                      <a:cxn ang="T12">
                        <a:pos x="T4" y="T5"/>
                      </a:cxn>
                      <a:cxn ang="T13">
                        <a:pos x="T6" y="T7"/>
                      </a:cxn>
                      <a:cxn ang="T14">
                        <a:pos x="T8" y="T9"/>
                      </a:cxn>
                    </a:cxnLst>
                    <a:rect l="T15" t="T16" r="T17" b="T18"/>
                    <a:pathLst>
                      <a:path w="59" h="39">
                        <a:moveTo>
                          <a:pt x="0" y="39"/>
                        </a:moveTo>
                        <a:lnTo>
                          <a:pt x="13" y="0"/>
                        </a:lnTo>
                        <a:lnTo>
                          <a:pt x="59" y="7"/>
                        </a:lnTo>
                        <a:lnTo>
                          <a:pt x="52" y="31"/>
                        </a:lnTo>
                        <a:lnTo>
                          <a:pt x="0" y="39"/>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65" name="Freeform 23"/>
                  <p:cNvSpPr>
                    <a:spLocks/>
                  </p:cNvSpPr>
                  <p:nvPr/>
                </p:nvSpPr>
                <p:spPr bwMode="gray">
                  <a:xfrm>
                    <a:off x="885474" y="4210335"/>
                    <a:ext cx="51648" cy="21439"/>
                  </a:xfrm>
                  <a:custGeom>
                    <a:avLst/>
                    <a:gdLst>
                      <a:gd name="T0" fmla="*/ 0 w 107"/>
                      <a:gd name="T1" fmla="*/ 44 h 44"/>
                      <a:gd name="T2" fmla="*/ 25 w 107"/>
                      <a:gd name="T3" fmla="*/ 0 h 44"/>
                      <a:gd name="T4" fmla="*/ 90 w 107"/>
                      <a:gd name="T5" fmla="*/ 0 h 44"/>
                      <a:gd name="T6" fmla="*/ 107 w 107"/>
                      <a:gd name="T7" fmla="*/ 40 h 44"/>
                      <a:gd name="T8" fmla="*/ 36 w 107"/>
                      <a:gd name="T9" fmla="*/ 31 h 44"/>
                      <a:gd name="T10" fmla="*/ 0 w 107"/>
                      <a:gd name="T11" fmla="*/ 44 h 44"/>
                      <a:gd name="T12" fmla="*/ 0 60000 65536"/>
                      <a:gd name="T13" fmla="*/ 0 60000 65536"/>
                      <a:gd name="T14" fmla="*/ 0 60000 65536"/>
                      <a:gd name="T15" fmla="*/ 0 60000 65536"/>
                      <a:gd name="T16" fmla="*/ 0 60000 65536"/>
                      <a:gd name="T17" fmla="*/ 0 60000 65536"/>
                      <a:gd name="T18" fmla="*/ 0 w 107"/>
                      <a:gd name="T19" fmla="*/ 0 h 44"/>
                      <a:gd name="T20" fmla="*/ 107 w 107"/>
                      <a:gd name="T21" fmla="*/ 44 h 44"/>
                    </a:gdLst>
                    <a:ahLst/>
                    <a:cxnLst>
                      <a:cxn ang="T12">
                        <a:pos x="T0" y="T1"/>
                      </a:cxn>
                      <a:cxn ang="T13">
                        <a:pos x="T2" y="T3"/>
                      </a:cxn>
                      <a:cxn ang="T14">
                        <a:pos x="T4" y="T5"/>
                      </a:cxn>
                      <a:cxn ang="T15">
                        <a:pos x="T6" y="T7"/>
                      </a:cxn>
                      <a:cxn ang="T16">
                        <a:pos x="T8" y="T9"/>
                      </a:cxn>
                      <a:cxn ang="T17">
                        <a:pos x="T10" y="T11"/>
                      </a:cxn>
                    </a:cxnLst>
                    <a:rect l="T18" t="T19" r="T20" b="T21"/>
                    <a:pathLst>
                      <a:path w="107" h="44">
                        <a:moveTo>
                          <a:pt x="0" y="44"/>
                        </a:moveTo>
                        <a:lnTo>
                          <a:pt x="25" y="0"/>
                        </a:lnTo>
                        <a:lnTo>
                          <a:pt x="90" y="0"/>
                        </a:lnTo>
                        <a:lnTo>
                          <a:pt x="107" y="40"/>
                        </a:lnTo>
                        <a:lnTo>
                          <a:pt x="36" y="31"/>
                        </a:lnTo>
                        <a:lnTo>
                          <a:pt x="0" y="44"/>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66" name="Freeform 24"/>
                  <p:cNvSpPr>
                    <a:spLocks/>
                  </p:cNvSpPr>
                  <p:nvPr/>
                </p:nvSpPr>
                <p:spPr bwMode="gray">
                  <a:xfrm>
                    <a:off x="934197" y="3464848"/>
                    <a:ext cx="932589" cy="787388"/>
                  </a:xfrm>
                  <a:custGeom>
                    <a:avLst/>
                    <a:gdLst>
                      <a:gd name="T0" fmla="*/ 157 w 1915"/>
                      <a:gd name="T1" fmla="*/ 1476 h 1617"/>
                      <a:gd name="T2" fmla="*/ 364 w 1915"/>
                      <a:gd name="T3" fmla="*/ 1358 h 1617"/>
                      <a:gd name="T4" fmla="*/ 371 w 1915"/>
                      <a:gd name="T5" fmla="*/ 1215 h 1617"/>
                      <a:gd name="T6" fmla="*/ 295 w 1915"/>
                      <a:gd name="T7" fmla="*/ 1205 h 1617"/>
                      <a:gd name="T8" fmla="*/ 150 w 1915"/>
                      <a:gd name="T9" fmla="*/ 1198 h 1617"/>
                      <a:gd name="T10" fmla="*/ 213 w 1915"/>
                      <a:gd name="T11" fmla="*/ 1008 h 1617"/>
                      <a:gd name="T12" fmla="*/ 83 w 1915"/>
                      <a:gd name="T13" fmla="*/ 1006 h 1617"/>
                      <a:gd name="T14" fmla="*/ 95 w 1915"/>
                      <a:gd name="T15" fmla="*/ 941 h 1617"/>
                      <a:gd name="T16" fmla="*/ 43 w 1915"/>
                      <a:gd name="T17" fmla="*/ 870 h 1617"/>
                      <a:gd name="T18" fmla="*/ 229 w 1915"/>
                      <a:gd name="T19" fmla="*/ 755 h 1617"/>
                      <a:gd name="T20" fmla="*/ 335 w 1915"/>
                      <a:gd name="T21" fmla="*/ 645 h 1617"/>
                      <a:gd name="T22" fmla="*/ 182 w 1915"/>
                      <a:gd name="T23" fmla="*/ 604 h 1617"/>
                      <a:gd name="T24" fmla="*/ 271 w 1915"/>
                      <a:gd name="T25" fmla="*/ 408 h 1617"/>
                      <a:gd name="T26" fmla="*/ 400 w 1915"/>
                      <a:gd name="T27" fmla="*/ 462 h 1617"/>
                      <a:gd name="T28" fmla="*/ 424 w 1915"/>
                      <a:gd name="T29" fmla="*/ 468 h 1617"/>
                      <a:gd name="T30" fmla="*/ 322 w 1915"/>
                      <a:gd name="T31" fmla="*/ 365 h 1617"/>
                      <a:gd name="T32" fmla="*/ 289 w 1915"/>
                      <a:gd name="T33" fmla="*/ 157 h 1617"/>
                      <a:gd name="T34" fmla="*/ 544 w 1915"/>
                      <a:gd name="T35" fmla="*/ 51 h 1617"/>
                      <a:gd name="T36" fmla="*/ 675 w 1915"/>
                      <a:gd name="T37" fmla="*/ 0 h 1617"/>
                      <a:gd name="T38" fmla="*/ 759 w 1915"/>
                      <a:gd name="T39" fmla="*/ 79 h 1617"/>
                      <a:gd name="T40" fmla="*/ 945 w 1915"/>
                      <a:gd name="T41" fmla="*/ 137 h 1617"/>
                      <a:gd name="T42" fmla="*/ 1117 w 1915"/>
                      <a:gd name="T43" fmla="*/ 170 h 1617"/>
                      <a:gd name="T44" fmla="*/ 1368 w 1915"/>
                      <a:gd name="T45" fmla="*/ 1164 h 1617"/>
                      <a:gd name="T46" fmla="*/ 1525 w 1915"/>
                      <a:gd name="T47" fmla="*/ 1192 h 1617"/>
                      <a:gd name="T48" fmla="*/ 1605 w 1915"/>
                      <a:gd name="T49" fmla="*/ 1218 h 1617"/>
                      <a:gd name="T50" fmla="*/ 1838 w 1915"/>
                      <a:gd name="T51" fmla="*/ 1465 h 1617"/>
                      <a:gd name="T52" fmla="*/ 1890 w 1915"/>
                      <a:gd name="T53" fmla="*/ 1617 h 1617"/>
                      <a:gd name="T54" fmla="*/ 1859 w 1915"/>
                      <a:gd name="T55" fmla="*/ 1561 h 1617"/>
                      <a:gd name="T56" fmla="*/ 1798 w 1915"/>
                      <a:gd name="T57" fmla="*/ 1542 h 1617"/>
                      <a:gd name="T58" fmla="*/ 1780 w 1915"/>
                      <a:gd name="T59" fmla="*/ 1501 h 1617"/>
                      <a:gd name="T60" fmla="*/ 1758 w 1915"/>
                      <a:gd name="T61" fmla="*/ 1461 h 1617"/>
                      <a:gd name="T62" fmla="*/ 1689 w 1915"/>
                      <a:gd name="T63" fmla="*/ 1412 h 1617"/>
                      <a:gd name="T64" fmla="*/ 1654 w 1915"/>
                      <a:gd name="T65" fmla="*/ 1331 h 1617"/>
                      <a:gd name="T66" fmla="*/ 1627 w 1915"/>
                      <a:gd name="T67" fmla="*/ 1309 h 1617"/>
                      <a:gd name="T68" fmla="*/ 1570 w 1915"/>
                      <a:gd name="T69" fmla="*/ 1218 h 1617"/>
                      <a:gd name="T70" fmla="*/ 1666 w 1915"/>
                      <a:gd name="T71" fmla="*/ 1354 h 1617"/>
                      <a:gd name="T72" fmla="*/ 1668 w 1915"/>
                      <a:gd name="T73" fmla="*/ 1409 h 1617"/>
                      <a:gd name="T74" fmla="*/ 1642 w 1915"/>
                      <a:gd name="T75" fmla="*/ 1437 h 1617"/>
                      <a:gd name="T76" fmla="*/ 1582 w 1915"/>
                      <a:gd name="T77" fmla="*/ 1314 h 1617"/>
                      <a:gd name="T78" fmla="*/ 1532 w 1915"/>
                      <a:gd name="T79" fmla="*/ 1268 h 1617"/>
                      <a:gd name="T80" fmla="*/ 1516 w 1915"/>
                      <a:gd name="T81" fmla="*/ 1319 h 1617"/>
                      <a:gd name="T82" fmla="*/ 1349 w 1915"/>
                      <a:gd name="T83" fmla="*/ 1182 h 1617"/>
                      <a:gd name="T84" fmla="*/ 1282 w 1915"/>
                      <a:gd name="T85" fmla="*/ 1198 h 1617"/>
                      <a:gd name="T86" fmla="*/ 1048 w 1915"/>
                      <a:gd name="T87" fmla="*/ 1150 h 1617"/>
                      <a:gd name="T88" fmla="*/ 997 w 1915"/>
                      <a:gd name="T89" fmla="*/ 1106 h 1617"/>
                      <a:gd name="T90" fmla="*/ 920 w 1915"/>
                      <a:gd name="T91" fmla="*/ 1081 h 1617"/>
                      <a:gd name="T92" fmla="*/ 913 w 1915"/>
                      <a:gd name="T93" fmla="*/ 1097 h 1617"/>
                      <a:gd name="T94" fmla="*/ 972 w 1915"/>
                      <a:gd name="T95" fmla="*/ 1195 h 1617"/>
                      <a:gd name="T96" fmla="*/ 863 w 1915"/>
                      <a:gd name="T97" fmla="*/ 1169 h 1617"/>
                      <a:gd name="T98" fmla="*/ 835 w 1915"/>
                      <a:gd name="T99" fmla="*/ 1202 h 1617"/>
                      <a:gd name="T100" fmla="*/ 742 w 1915"/>
                      <a:gd name="T101" fmla="*/ 1237 h 1617"/>
                      <a:gd name="T102" fmla="*/ 756 w 1915"/>
                      <a:gd name="T103" fmla="*/ 1198 h 1617"/>
                      <a:gd name="T104" fmla="*/ 862 w 1915"/>
                      <a:gd name="T105" fmla="*/ 1021 h 1617"/>
                      <a:gd name="T106" fmla="*/ 686 w 1915"/>
                      <a:gd name="T107" fmla="*/ 1131 h 1617"/>
                      <a:gd name="T108" fmla="*/ 614 w 1915"/>
                      <a:gd name="T109" fmla="*/ 1279 h 1617"/>
                      <a:gd name="T110" fmla="*/ 218 w 1915"/>
                      <a:gd name="T111" fmla="*/ 1505 h 1617"/>
                      <a:gd name="T112" fmla="*/ 50 w 1915"/>
                      <a:gd name="T113" fmla="*/ 1552 h 161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915"/>
                      <a:gd name="T172" fmla="*/ 0 h 1617"/>
                      <a:gd name="T173" fmla="*/ 1915 w 1915"/>
                      <a:gd name="T174" fmla="*/ 1617 h 161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915" h="1617">
                        <a:moveTo>
                          <a:pt x="0" y="1544"/>
                        </a:moveTo>
                        <a:lnTo>
                          <a:pt x="16" y="1521"/>
                        </a:lnTo>
                        <a:lnTo>
                          <a:pt x="30" y="1523"/>
                        </a:lnTo>
                        <a:lnTo>
                          <a:pt x="109" y="1466"/>
                        </a:lnTo>
                        <a:lnTo>
                          <a:pt x="157" y="1476"/>
                        </a:lnTo>
                        <a:lnTo>
                          <a:pt x="170" y="1498"/>
                        </a:lnTo>
                        <a:lnTo>
                          <a:pt x="173" y="1475"/>
                        </a:lnTo>
                        <a:lnTo>
                          <a:pt x="221" y="1442"/>
                        </a:lnTo>
                        <a:lnTo>
                          <a:pt x="296" y="1413"/>
                        </a:lnTo>
                        <a:lnTo>
                          <a:pt x="364" y="1358"/>
                        </a:lnTo>
                        <a:lnTo>
                          <a:pt x="380" y="1364"/>
                        </a:lnTo>
                        <a:lnTo>
                          <a:pt x="392" y="1293"/>
                        </a:lnTo>
                        <a:lnTo>
                          <a:pt x="431" y="1237"/>
                        </a:lnTo>
                        <a:lnTo>
                          <a:pt x="362" y="1243"/>
                        </a:lnTo>
                        <a:lnTo>
                          <a:pt x="371" y="1215"/>
                        </a:lnTo>
                        <a:lnTo>
                          <a:pt x="394" y="1217"/>
                        </a:lnTo>
                        <a:lnTo>
                          <a:pt x="372" y="1203"/>
                        </a:lnTo>
                        <a:lnTo>
                          <a:pt x="338" y="1236"/>
                        </a:lnTo>
                        <a:lnTo>
                          <a:pt x="335" y="1260"/>
                        </a:lnTo>
                        <a:lnTo>
                          <a:pt x="295" y="1205"/>
                        </a:lnTo>
                        <a:lnTo>
                          <a:pt x="282" y="1215"/>
                        </a:lnTo>
                        <a:lnTo>
                          <a:pt x="260" y="1188"/>
                        </a:lnTo>
                        <a:lnTo>
                          <a:pt x="208" y="1208"/>
                        </a:lnTo>
                        <a:lnTo>
                          <a:pt x="195" y="1212"/>
                        </a:lnTo>
                        <a:lnTo>
                          <a:pt x="150" y="1198"/>
                        </a:lnTo>
                        <a:lnTo>
                          <a:pt x="196" y="1160"/>
                        </a:lnTo>
                        <a:lnTo>
                          <a:pt x="183" y="1152"/>
                        </a:lnTo>
                        <a:lnTo>
                          <a:pt x="198" y="1125"/>
                        </a:lnTo>
                        <a:lnTo>
                          <a:pt x="190" y="1046"/>
                        </a:lnTo>
                        <a:lnTo>
                          <a:pt x="213" y="1008"/>
                        </a:lnTo>
                        <a:lnTo>
                          <a:pt x="174" y="1036"/>
                        </a:lnTo>
                        <a:lnTo>
                          <a:pt x="177" y="1060"/>
                        </a:lnTo>
                        <a:lnTo>
                          <a:pt x="143" y="1081"/>
                        </a:lnTo>
                        <a:lnTo>
                          <a:pt x="98" y="1066"/>
                        </a:lnTo>
                        <a:lnTo>
                          <a:pt x="83" y="1006"/>
                        </a:lnTo>
                        <a:lnTo>
                          <a:pt x="53" y="976"/>
                        </a:lnTo>
                        <a:lnTo>
                          <a:pt x="54" y="961"/>
                        </a:lnTo>
                        <a:lnTo>
                          <a:pt x="72" y="961"/>
                        </a:lnTo>
                        <a:lnTo>
                          <a:pt x="81" y="947"/>
                        </a:lnTo>
                        <a:lnTo>
                          <a:pt x="95" y="941"/>
                        </a:lnTo>
                        <a:lnTo>
                          <a:pt x="81" y="938"/>
                        </a:lnTo>
                        <a:lnTo>
                          <a:pt x="93" y="928"/>
                        </a:lnTo>
                        <a:lnTo>
                          <a:pt x="75" y="908"/>
                        </a:lnTo>
                        <a:lnTo>
                          <a:pt x="68" y="918"/>
                        </a:lnTo>
                        <a:lnTo>
                          <a:pt x="43" y="870"/>
                        </a:lnTo>
                        <a:lnTo>
                          <a:pt x="59" y="836"/>
                        </a:lnTo>
                        <a:lnTo>
                          <a:pt x="146" y="777"/>
                        </a:lnTo>
                        <a:lnTo>
                          <a:pt x="169" y="735"/>
                        </a:lnTo>
                        <a:lnTo>
                          <a:pt x="187" y="728"/>
                        </a:lnTo>
                        <a:lnTo>
                          <a:pt x="229" y="755"/>
                        </a:lnTo>
                        <a:lnTo>
                          <a:pt x="261" y="746"/>
                        </a:lnTo>
                        <a:lnTo>
                          <a:pt x="275" y="726"/>
                        </a:lnTo>
                        <a:lnTo>
                          <a:pt x="339" y="735"/>
                        </a:lnTo>
                        <a:lnTo>
                          <a:pt x="353" y="670"/>
                        </a:lnTo>
                        <a:lnTo>
                          <a:pt x="335" y="645"/>
                        </a:lnTo>
                        <a:lnTo>
                          <a:pt x="377" y="622"/>
                        </a:lnTo>
                        <a:lnTo>
                          <a:pt x="338" y="608"/>
                        </a:lnTo>
                        <a:lnTo>
                          <a:pt x="283" y="643"/>
                        </a:lnTo>
                        <a:lnTo>
                          <a:pt x="278" y="609"/>
                        </a:lnTo>
                        <a:lnTo>
                          <a:pt x="182" y="604"/>
                        </a:lnTo>
                        <a:lnTo>
                          <a:pt x="139" y="566"/>
                        </a:lnTo>
                        <a:lnTo>
                          <a:pt x="132" y="501"/>
                        </a:lnTo>
                        <a:lnTo>
                          <a:pt x="164" y="513"/>
                        </a:lnTo>
                        <a:lnTo>
                          <a:pt x="96" y="446"/>
                        </a:lnTo>
                        <a:lnTo>
                          <a:pt x="271" y="408"/>
                        </a:lnTo>
                        <a:lnTo>
                          <a:pt x="297" y="416"/>
                        </a:lnTo>
                        <a:lnTo>
                          <a:pt x="275" y="447"/>
                        </a:lnTo>
                        <a:lnTo>
                          <a:pt x="365" y="489"/>
                        </a:lnTo>
                        <a:lnTo>
                          <a:pt x="406" y="476"/>
                        </a:lnTo>
                        <a:lnTo>
                          <a:pt x="400" y="462"/>
                        </a:lnTo>
                        <a:lnTo>
                          <a:pt x="369" y="454"/>
                        </a:lnTo>
                        <a:lnTo>
                          <a:pt x="351" y="393"/>
                        </a:lnTo>
                        <a:lnTo>
                          <a:pt x="375" y="414"/>
                        </a:lnTo>
                        <a:lnTo>
                          <a:pt x="384" y="447"/>
                        </a:lnTo>
                        <a:lnTo>
                          <a:pt x="424" y="468"/>
                        </a:lnTo>
                        <a:lnTo>
                          <a:pt x="463" y="466"/>
                        </a:lnTo>
                        <a:lnTo>
                          <a:pt x="453" y="445"/>
                        </a:lnTo>
                        <a:lnTo>
                          <a:pt x="387" y="428"/>
                        </a:lnTo>
                        <a:lnTo>
                          <a:pt x="399" y="393"/>
                        </a:lnTo>
                        <a:lnTo>
                          <a:pt x="322" y="365"/>
                        </a:lnTo>
                        <a:lnTo>
                          <a:pt x="320" y="313"/>
                        </a:lnTo>
                        <a:lnTo>
                          <a:pt x="297" y="277"/>
                        </a:lnTo>
                        <a:lnTo>
                          <a:pt x="242" y="211"/>
                        </a:lnTo>
                        <a:lnTo>
                          <a:pt x="262" y="208"/>
                        </a:lnTo>
                        <a:lnTo>
                          <a:pt x="289" y="157"/>
                        </a:lnTo>
                        <a:lnTo>
                          <a:pt x="354" y="181"/>
                        </a:lnTo>
                        <a:lnTo>
                          <a:pt x="403" y="156"/>
                        </a:lnTo>
                        <a:lnTo>
                          <a:pt x="477" y="69"/>
                        </a:lnTo>
                        <a:lnTo>
                          <a:pt x="498" y="82"/>
                        </a:lnTo>
                        <a:lnTo>
                          <a:pt x="544" y="51"/>
                        </a:lnTo>
                        <a:lnTo>
                          <a:pt x="545" y="77"/>
                        </a:lnTo>
                        <a:lnTo>
                          <a:pt x="570" y="71"/>
                        </a:lnTo>
                        <a:lnTo>
                          <a:pt x="557" y="56"/>
                        </a:lnTo>
                        <a:lnTo>
                          <a:pt x="626" y="46"/>
                        </a:lnTo>
                        <a:lnTo>
                          <a:pt x="675" y="0"/>
                        </a:lnTo>
                        <a:lnTo>
                          <a:pt x="707" y="32"/>
                        </a:lnTo>
                        <a:lnTo>
                          <a:pt x="696" y="69"/>
                        </a:lnTo>
                        <a:lnTo>
                          <a:pt x="718" y="71"/>
                        </a:lnTo>
                        <a:lnTo>
                          <a:pt x="727" y="37"/>
                        </a:lnTo>
                        <a:lnTo>
                          <a:pt x="759" y="79"/>
                        </a:lnTo>
                        <a:lnTo>
                          <a:pt x="813" y="79"/>
                        </a:lnTo>
                        <a:lnTo>
                          <a:pt x="821" y="118"/>
                        </a:lnTo>
                        <a:lnTo>
                          <a:pt x="921" y="129"/>
                        </a:lnTo>
                        <a:lnTo>
                          <a:pt x="920" y="149"/>
                        </a:lnTo>
                        <a:lnTo>
                          <a:pt x="945" y="137"/>
                        </a:lnTo>
                        <a:lnTo>
                          <a:pt x="970" y="167"/>
                        </a:lnTo>
                        <a:lnTo>
                          <a:pt x="1022" y="157"/>
                        </a:lnTo>
                        <a:lnTo>
                          <a:pt x="1070" y="181"/>
                        </a:lnTo>
                        <a:lnTo>
                          <a:pt x="1117" y="159"/>
                        </a:lnTo>
                        <a:lnTo>
                          <a:pt x="1117" y="170"/>
                        </a:lnTo>
                        <a:lnTo>
                          <a:pt x="1135" y="166"/>
                        </a:lnTo>
                        <a:lnTo>
                          <a:pt x="1217" y="206"/>
                        </a:lnTo>
                        <a:lnTo>
                          <a:pt x="1278" y="1143"/>
                        </a:lnTo>
                        <a:lnTo>
                          <a:pt x="1370" y="1140"/>
                        </a:lnTo>
                        <a:lnTo>
                          <a:pt x="1368" y="1164"/>
                        </a:lnTo>
                        <a:lnTo>
                          <a:pt x="1399" y="1188"/>
                        </a:lnTo>
                        <a:lnTo>
                          <a:pt x="1455" y="1233"/>
                        </a:lnTo>
                        <a:lnTo>
                          <a:pt x="1465" y="1259"/>
                        </a:lnTo>
                        <a:lnTo>
                          <a:pt x="1512" y="1230"/>
                        </a:lnTo>
                        <a:lnTo>
                          <a:pt x="1525" y="1192"/>
                        </a:lnTo>
                        <a:lnTo>
                          <a:pt x="1551" y="1177"/>
                        </a:lnTo>
                        <a:lnTo>
                          <a:pt x="1557" y="1170"/>
                        </a:lnTo>
                        <a:lnTo>
                          <a:pt x="1588" y="1192"/>
                        </a:lnTo>
                        <a:lnTo>
                          <a:pt x="1585" y="1217"/>
                        </a:lnTo>
                        <a:lnTo>
                          <a:pt x="1605" y="1218"/>
                        </a:lnTo>
                        <a:lnTo>
                          <a:pt x="1617" y="1228"/>
                        </a:lnTo>
                        <a:lnTo>
                          <a:pt x="1627" y="1246"/>
                        </a:lnTo>
                        <a:lnTo>
                          <a:pt x="1657" y="1262"/>
                        </a:lnTo>
                        <a:lnTo>
                          <a:pt x="1796" y="1455"/>
                        </a:lnTo>
                        <a:lnTo>
                          <a:pt x="1838" y="1465"/>
                        </a:lnTo>
                        <a:lnTo>
                          <a:pt x="1908" y="1491"/>
                        </a:lnTo>
                        <a:lnTo>
                          <a:pt x="1915" y="1507"/>
                        </a:lnTo>
                        <a:lnTo>
                          <a:pt x="1900" y="1521"/>
                        </a:lnTo>
                        <a:lnTo>
                          <a:pt x="1903" y="1553"/>
                        </a:lnTo>
                        <a:lnTo>
                          <a:pt x="1890" y="1617"/>
                        </a:lnTo>
                        <a:lnTo>
                          <a:pt x="1882" y="1605"/>
                        </a:lnTo>
                        <a:lnTo>
                          <a:pt x="1869" y="1615"/>
                        </a:lnTo>
                        <a:lnTo>
                          <a:pt x="1854" y="1602"/>
                        </a:lnTo>
                        <a:lnTo>
                          <a:pt x="1876" y="1583"/>
                        </a:lnTo>
                        <a:lnTo>
                          <a:pt x="1859" y="1561"/>
                        </a:lnTo>
                        <a:lnTo>
                          <a:pt x="1859" y="1547"/>
                        </a:lnTo>
                        <a:lnTo>
                          <a:pt x="1838" y="1503"/>
                        </a:lnTo>
                        <a:lnTo>
                          <a:pt x="1825" y="1503"/>
                        </a:lnTo>
                        <a:lnTo>
                          <a:pt x="1802" y="1520"/>
                        </a:lnTo>
                        <a:lnTo>
                          <a:pt x="1798" y="1542"/>
                        </a:lnTo>
                        <a:lnTo>
                          <a:pt x="1777" y="1548"/>
                        </a:lnTo>
                        <a:lnTo>
                          <a:pt x="1774" y="1542"/>
                        </a:lnTo>
                        <a:lnTo>
                          <a:pt x="1790" y="1516"/>
                        </a:lnTo>
                        <a:lnTo>
                          <a:pt x="1794" y="1491"/>
                        </a:lnTo>
                        <a:lnTo>
                          <a:pt x="1780" y="1501"/>
                        </a:lnTo>
                        <a:lnTo>
                          <a:pt x="1776" y="1521"/>
                        </a:lnTo>
                        <a:lnTo>
                          <a:pt x="1727" y="1489"/>
                        </a:lnTo>
                        <a:lnTo>
                          <a:pt x="1729" y="1478"/>
                        </a:lnTo>
                        <a:lnTo>
                          <a:pt x="1754" y="1479"/>
                        </a:lnTo>
                        <a:lnTo>
                          <a:pt x="1758" y="1461"/>
                        </a:lnTo>
                        <a:lnTo>
                          <a:pt x="1774" y="1453"/>
                        </a:lnTo>
                        <a:lnTo>
                          <a:pt x="1772" y="1444"/>
                        </a:lnTo>
                        <a:lnTo>
                          <a:pt x="1747" y="1448"/>
                        </a:lnTo>
                        <a:lnTo>
                          <a:pt x="1739" y="1413"/>
                        </a:lnTo>
                        <a:lnTo>
                          <a:pt x="1689" y="1412"/>
                        </a:lnTo>
                        <a:lnTo>
                          <a:pt x="1676" y="1373"/>
                        </a:lnTo>
                        <a:lnTo>
                          <a:pt x="1689" y="1340"/>
                        </a:lnTo>
                        <a:lnTo>
                          <a:pt x="1672" y="1345"/>
                        </a:lnTo>
                        <a:lnTo>
                          <a:pt x="1664" y="1321"/>
                        </a:lnTo>
                        <a:lnTo>
                          <a:pt x="1654" y="1331"/>
                        </a:lnTo>
                        <a:lnTo>
                          <a:pt x="1646" y="1320"/>
                        </a:lnTo>
                        <a:lnTo>
                          <a:pt x="1657" y="1290"/>
                        </a:lnTo>
                        <a:lnTo>
                          <a:pt x="1647" y="1287"/>
                        </a:lnTo>
                        <a:lnTo>
                          <a:pt x="1643" y="1303"/>
                        </a:lnTo>
                        <a:lnTo>
                          <a:pt x="1627" y="1309"/>
                        </a:lnTo>
                        <a:lnTo>
                          <a:pt x="1607" y="1299"/>
                        </a:lnTo>
                        <a:lnTo>
                          <a:pt x="1604" y="1274"/>
                        </a:lnTo>
                        <a:lnTo>
                          <a:pt x="1579" y="1242"/>
                        </a:lnTo>
                        <a:lnTo>
                          <a:pt x="1581" y="1222"/>
                        </a:lnTo>
                        <a:lnTo>
                          <a:pt x="1570" y="1218"/>
                        </a:lnTo>
                        <a:lnTo>
                          <a:pt x="1568" y="1195"/>
                        </a:lnTo>
                        <a:lnTo>
                          <a:pt x="1564" y="1203"/>
                        </a:lnTo>
                        <a:lnTo>
                          <a:pt x="1575" y="1260"/>
                        </a:lnTo>
                        <a:lnTo>
                          <a:pt x="1596" y="1300"/>
                        </a:lnTo>
                        <a:lnTo>
                          <a:pt x="1666" y="1354"/>
                        </a:lnTo>
                        <a:lnTo>
                          <a:pt x="1667" y="1365"/>
                        </a:lnTo>
                        <a:lnTo>
                          <a:pt x="1649" y="1361"/>
                        </a:lnTo>
                        <a:lnTo>
                          <a:pt x="1648" y="1373"/>
                        </a:lnTo>
                        <a:lnTo>
                          <a:pt x="1657" y="1371"/>
                        </a:lnTo>
                        <a:lnTo>
                          <a:pt x="1668" y="1409"/>
                        </a:lnTo>
                        <a:lnTo>
                          <a:pt x="1712" y="1429"/>
                        </a:lnTo>
                        <a:lnTo>
                          <a:pt x="1734" y="1466"/>
                        </a:lnTo>
                        <a:lnTo>
                          <a:pt x="1682" y="1477"/>
                        </a:lnTo>
                        <a:lnTo>
                          <a:pt x="1657" y="1546"/>
                        </a:lnTo>
                        <a:lnTo>
                          <a:pt x="1642" y="1437"/>
                        </a:lnTo>
                        <a:lnTo>
                          <a:pt x="1633" y="1427"/>
                        </a:lnTo>
                        <a:lnTo>
                          <a:pt x="1631" y="1406"/>
                        </a:lnTo>
                        <a:lnTo>
                          <a:pt x="1640" y="1398"/>
                        </a:lnTo>
                        <a:lnTo>
                          <a:pt x="1597" y="1316"/>
                        </a:lnTo>
                        <a:lnTo>
                          <a:pt x="1582" y="1314"/>
                        </a:lnTo>
                        <a:lnTo>
                          <a:pt x="1572" y="1299"/>
                        </a:lnTo>
                        <a:lnTo>
                          <a:pt x="1558" y="1302"/>
                        </a:lnTo>
                        <a:lnTo>
                          <a:pt x="1549" y="1295"/>
                        </a:lnTo>
                        <a:lnTo>
                          <a:pt x="1539" y="1249"/>
                        </a:lnTo>
                        <a:lnTo>
                          <a:pt x="1532" y="1268"/>
                        </a:lnTo>
                        <a:lnTo>
                          <a:pt x="1497" y="1255"/>
                        </a:lnTo>
                        <a:lnTo>
                          <a:pt x="1490" y="1264"/>
                        </a:lnTo>
                        <a:lnTo>
                          <a:pt x="1534" y="1290"/>
                        </a:lnTo>
                        <a:lnTo>
                          <a:pt x="1513" y="1298"/>
                        </a:lnTo>
                        <a:lnTo>
                          <a:pt x="1516" y="1319"/>
                        </a:lnTo>
                        <a:lnTo>
                          <a:pt x="1479" y="1305"/>
                        </a:lnTo>
                        <a:lnTo>
                          <a:pt x="1433" y="1260"/>
                        </a:lnTo>
                        <a:lnTo>
                          <a:pt x="1364" y="1228"/>
                        </a:lnTo>
                        <a:lnTo>
                          <a:pt x="1316" y="1227"/>
                        </a:lnTo>
                        <a:lnTo>
                          <a:pt x="1349" y="1182"/>
                        </a:lnTo>
                        <a:lnTo>
                          <a:pt x="1366" y="1203"/>
                        </a:lnTo>
                        <a:lnTo>
                          <a:pt x="1368" y="1182"/>
                        </a:lnTo>
                        <a:lnTo>
                          <a:pt x="1340" y="1160"/>
                        </a:lnTo>
                        <a:lnTo>
                          <a:pt x="1322" y="1197"/>
                        </a:lnTo>
                        <a:lnTo>
                          <a:pt x="1282" y="1198"/>
                        </a:lnTo>
                        <a:lnTo>
                          <a:pt x="1107" y="1183"/>
                        </a:lnTo>
                        <a:lnTo>
                          <a:pt x="1113" y="1153"/>
                        </a:lnTo>
                        <a:lnTo>
                          <a:pt x="1096" y="1162"/>
                        </a:lnTo>
                        <a:lnTo>
                          <a:pt x="1074" y="1136"/>
                        </a:lnTo>
                        <a:lnTo>
                          <a:pt x="1048" y="1150"/>
                        </a:lnTo>
                        <a:lnTo>
                          <a:pt x="1037" y="1132"/>
                        </a:lnTo>
                        <a:lnTo>
                          <a:pt x="992" y="1152"/>
                        </a:lnTo>
                        <a:lnTo>
                          <a:pt x="990" y="1138"/>
                        </a:lnTo>
                        <a:lnTo>
                          <a:pt x="1011" y="1106"/>
                        </a:lnTo>
                        <a:lnTo>
                          <a:pt x="997" y="1106"/>
                        </a:lnTo>
                        <a:lnTo>
                          <a:pt x="1013" y="1096"/>
                        </a:lnTo>
                        <a:lnTo>
                          <a:pt x="961" y="1103"/>
                        </a:lnTo>
                        <a:lnTo>
                          <a:pt x="943" y="1084"/>
                        </a:lnTo>
                        <a:lnTo>
                          <a:pt x="925" y="1096"/>
                        </a:lnTo>
                        <a:lnTo>
                          <a:pt x="920" y="1081"/>
                        </a:lnTo>
                        <a:lnTo>
                          <a:pt x="932" y="1066"/>
                        </a:lnTo>
                        <a:lnTo>
                          <a:pt x="904" y="1075"/>
                        </a:lnTo>
                        <a:lnTo>
                          <a:pt x="908" y="1084"/>
                        </a:lnTo>
                        <a:lnTo>
                          <a:pt x="894" y="1099"/>
                        </a:lnTo>
                        <a:lnTo>
                          <a:pt x="913" y="1097"/>
                        </a:lnTo>
                        <a:lnTo>
                          <a:pt x="904" y="1124"/>
                        </a:lnTo>
                        <a:lnTo>
                          <a:pt x="925" y="1134"/>
                        </a:lnTo>
                        <a:lnTo>
                          <a:pt x="948" y="1147"/>
                        </a:lnTo>
                        <a:lnTo>
                          <a:pt x="978" y="1134"/>
                        </a:lnTo>
                        <a:lnTo>
                          <a:pt x="972" y="1195"/>
                        </a:lnTo>
                        <a:lnTo>
                          <a:pt x="922" y="1197"/>
                        </a:lnTo>
                        <a:lnTo>
                          <a:pt x="922" y="1181"/>
                        </a:lnTo>
                        <a:lnTo>
                          <a:pt x="904" y="1169"/>
                        </a:lnTo>
                        <a:lnTo>
                          <a:pt x="866" y="1185"/>
                        </a:lnTo>
                        <a:lnTo>
                          <a:pt x="863" y="1169"/>
                        </a:lnTo>
                        <a:lnTo>
                          <a:pt x="849" y="1183"/>
                        </a:lnTo>
                        <a:lnTo>
                          <a:pt x="847" y="1164"/>
                        </a:lnTo>
                        <a:lnTo>
                          <a:pt x="816" y="1160"/>
                        </a:lnTo>
                        <a:lnTo>
                          <a:pt x="839" y="1195"/>
                        </a:lnTo>
                        <a:lnTo>
                          <a:pt x="835" y="1202"/>
                        </a:lnTo>
                        <a:lnTo>
                          <a:pt x="822" y="1197"/>
                        </a:lnTo>
                        <a:lnTo>
                          <a:pt x="788" y="1217"/>
                        </a:lnTo>
                        <a:lnTo>
                          <a:pt x="781" y="1210"/>
                        </a:lnTo>
                        <a:lnTo>
                          <a:pt x="756" y="1255"/>
                        </a:lnTo>
                        <a:lnTo>
                          <a:pt x="742" y="1237"/>
                        </a:lnTo>
                        <a:lnTo>
                          <a:pt x="731" y="1248"/>
                        </a:lnTo>
                        <a:lnTo>
                          <a:pt x="707" y="1244"/>
                        </a:lnTo>
                        <a:lnTo>
                          <a:pt x="704" y="1221"/>
                        </a:lnTo>
                        <a:lnTo>
                          <a:pt x="736" y="1221"/>
                        </a:lnTo>
                        <a:lnTo>
                          <a:pt x="756" y="1198"/>
                        </a:lnTo>
                        <a:lnTo>
                          <a:pt x="703" y="1197"/>
                        </a:lnTo>
                        <a:lnTo>
                          <a:pt x="748" y="1091"/>
                        </a:lnTo>
                        <a:lnTo>
                          <a:pt x="823" y="1073"/>
                        </a:lnTo>
                        <a:lnTo>
                          <a:pt x="815" y="1049"/>
                        </a:lnTo>
                        <a:lnTo>
                          <a:pt x="862" y="1021"/>
                        </a:lnTo>
                        <a:lnTo>
                          <a:pt x="798" y="1039"/>
                        </a:lnTo>
                        <a:lnTo>
                          <a:pt x="809" y="984"/>
                        </a:lnTo>
                        <a:lnTo>
                          <a:pt x="777" y="1048"/>
                        </a:lnTo>
                        <a:lnTo>
                          <a:pt x="736" y="1067"/>
                        </a:lnTo>
                        <a:lnTo>
                          <a:pt x="686" y="1131"/>
                        </a:lnTo>
                        <a:lnTo>
                          <a:pt x="652" y="1131"/>
                        </a:lnTo>
                        <a:lnTo>
                          <a:pt x="671" y="1164"/>
                        </a:lnTo>
                        <a:lnTo>
                          <a:pt x="583" y="1234"/>
                        </a:lnTo>
                        <a:lnTo>
                          <a:pt x="622" y="1248"/>
                        </a:lnTo>
                        <a:lnTo>
                          <a:pt x="614" y="1279"/>
                        </a:lnTo>
                        <a:lnTo>
                          <a:pt x="419" y="1426"/>
                        </a:lnTo>
                        <a:lnTo>
                          <a:pt x="280" y="1465"/>
                        </a:lnTo>
                        <a:lnTo>
                          <a:pt x="320" y="1481"/>
                        </a:lnTo>
                        <a:lnTo>
                          <a:pt x="236" y="1527"/>
                        </a:lnTo>
                        <a:lnTo>
                          <a:pt x="218" y="1505"/>
                        </a:lnTo>
                        <a:lnTo>
                          <a:pt x="163" y="1527"/>
                        </a:lnTo>
                        <a:lnTo>
                          <a:pt x="118" y="1528"/>
                        </a:lnTo>
                        <a:lnTo>
                          <a:pt x="119" y="1502"/>
                        </a:lnTo>
                        <a:lnTo>
                          <a:pt x="65" y="1555"/>
                        </a:lnTo>
                        <a:lnTo>
                          <a:pt x="50" y="1552"/>
                        </a:lnTo>
                        <a:lnTo>
                          <a:pt x="49" y="1526"/>
                        </a:lnTo>
                        <a:lnTo>
                          <a:pt x="39" y="1552"/>
                        </a:lnTo>
                        <a:lnTo>
                          <a:pt x="0" y="1544"/>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67" name="Freeform 25"/>
                  <p:cNvSpPr>
                    <a:spLocks/>
                  </p:cNvSpPr>
                  <p:nvPr/>
                </p:nvSpPr>
                <p:spPr bwMode="gray">
                  <a:xfrm>
                    <a:off x="1182694" y="4104115"/>
                    <a:ext cx="92576" cy="93551"/>
                  </a:xfrm>
                  <a:custGeom>
                    <a:avLst/>
                    <a:gdLst>
                      <a:gd name="T0" fmla="*/ 0 w 190"/>
                      <a:gd name="T1" fmla="*/ 190 h 190"/>
                      <a:gd name="T2" fmla="*/ 54 w 190"/>
                      <a:gd name="T3" fmla="*/ 139 h 190"/>
                      <a:gd name="T4" fmla="*/ 19 w 190"/>
                      <a:gd name="T5" fmla="*/ 74 h 190"/>
                      <a:gd name="T6" fmla="*/ 69 w 190"/>
                      <a:gd name="T7" fmla="*/ 96 h 190"/>
                      <a:gd name="T8" fmla="*/ 145 w 190"/>
                      <a:gd name="T9" fmla="*/ 0 h 190"/>
                      <a:gd name="T10" fmla="*/ 190 w 190"/>
                      <a:gd name="T11" fmla="*/ 11 h 190"/>
                      <a:gd name="T12" fmla="*/ 150 w 190"/>
                      <a:gd name="T13" fmla="*/ 104 h 190"/>
                      <a:gd name="T14" fmla="*/ 0 w 190"/>
                      <a:gd name="T15" fmla="*/ 190 h 190"/>
                      <a:gd name="T16" fmla="*/ 0 60000 65536"/>
                      <a:gd name="T17" fmla="*/ 0 60000 65536"/>
                      <a:gd name="T18" fmla="*/ 0 60000 65536"/>
                      <a:gd name="T19" fmla="*/ 0 60000 65536"/>
                      <a:gd name="T20" fmla="*/ 0 60000 65536"/>
                      <a:gd name="T21" fmla="*/ 0 60000 65536"/>
                      <a:gd name="T22" fmla="*/ 0 60000 65536"/>
                      <a:gd name="T23" fmla="*/ 0 60000 65536"/>
                      <a:gd name="T24" fmla="*/ 0 w 190"/>
                      <a:gd name="T25" fmla="*/ 0 h 190"/>
                      <a:gd name="T26" fmla="*/ 190 w 190"/>
                      <a:gd name="T27" fmla="*/ 190 h 19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0" h="190">
                        <a:moveTo>
                          <a:pt x="0" y="190"/>
                        </a:moveTo>
                        <a:lnTo>
                          <a:pt x="54" y="139"/>
                        </a:lnTo>
                        <a:lnTo>
                          <a:pt x="19" y="74"/>
                        </a:lnTo>
                        <a:lnTo>
                          <a:pt x="69" y="96"/>
                        </a:lnTo>
                        <a:lnTo>
                          <a:pt x="145" y="0"/>
                        </a:lnTo>
                        <a:lnTo>
                          <a:pt x="190" y="11"/>
                        </a:lnTo>
                        <a:lnTo>
                          <a:pt x="150" y="104"/>
                        </a:lnTo>
                        <a:lnTo>
                          <a:pt x="0" y="190"/>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68" name="Freeform 26"/>
                  <p:cNvSpPr>
                    <a:spLocks/>
                  </p:cNvSpPr>
                  <p:nvPr/>
                </p:nvSpPr>
                <p:spPr bwMode="gray">
                  <a:xfrm>
                    <a:off x="1674811" y="4100217"/>
                    <a:ext cx="54571" cy="105245"/>
                  </a:xfrm>
                  <a:custGeom>
                    <a:avLst/>
                    <a:gdLst>
                      <a:gd name="T0" fmla="*/ 0 w 114"/>
                      <a:gd name="T1" fmla="*/ 58 h 217"/>
                      <a:gd name="T2" fmla="*/ 25 w 114"/>
                      <a:gd name="T3" fmla="*/ 0 h 217"/>
                      <a:gd name="T4" fmla="*/ 82 w 114"/>
                      <a:gd name="T5" fmla="*/ 56 h 217"/>
                      <a:gd name="T6" fmla="*/ 114 w 114"/>
                      <a:gd name="T7" fmla="*/ 217 h 217"/>
                      <a:gd name="T8" fmla="*/ 0 w 114"/>
                      <a:gd name="T9" fmla="*/ 58 h 217"/>
                      <a:gd name="T10" fmla="*/ 0 60000 65536"/>
                      <a:gd name="T11" fmla="*/ 0 60000 65536"/>
                      <a:gd name="T12" fmla="*/ 0 60000 65536"/>
                      <a:gd name="T13" fmla="*/ 0 60000 65536"/>
                      <a:gd name="T14" fmla="*/ 0 60000 65536"/>
                      <a:gd name="T15" fmla="*/ 0 w 114"/>
                      <a:gd name="T16" fmla="*/ 0 h 217"/>
                      <a:gd name="T17" fmla="*/ 114 w 114"/>
                      <a:gd name="T18" fmla="*/ 217 h 217"/>
                    </a:gdLst>
                    <a:ahLst/>
                    <a:cxnLst>
                      <a:cxn ang="T10">
                        <a:pos x="T0" y="T1"/>
                      </a:cxn>
                      <a:cxn ang="T11">
                        <a:pos x="T2" y="T3"/>
                      </a:cxn>
                      <a:cxn ang="T12">
                        <a:pos x="T4" y="T5"/>
                      </a:cxn>
                      <a:cxn ang="T13">
                        <a:pos x="T6" y="T7"/>
                      </a:cxn>
                      <a:cxn ang="T14">
                        <a:pos x="T8" y="T9"/>
                      </a:cxn>
                    </a:cxnLst>
                    <a:rect l="T15" t="T16" r="T17" b="T18"/>
                    <a:pathLst>
                      <a:path w="114" h="217">
                        <a:moveTo>
                          <a:pt x="0" y="58"/>
                        </a:moveTo>
                        <a:lnTo>
                          <a:pt x="25" y="0"/>
                        </a:lnTo>
                        <a:lnTo>
                          <a:pt x="82" y="56"/>
                        </a:lnTo>
                        <a:lnTo>
                          <a:pt x="114" y="217"/>
                        </a:lnTo>
                        <a:lnTo>
                          <a:pt x="0" y="58"/>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69" name="Freeform 27"/>
                  <p:cNvSpPr>
                    <a:spLocks/>
                  </p:cNvSpPr>
                  <p:nvPr/>
                </p:nvSpPr>
                <p:spPr bwMode="gray">
                  <a:xfrm>
                    <a:off x="1757643" y="4205462"/>
                    <a:ext cx="52622" cy="57495"/>
                  </a:xfrm>
                  <a:custGeom>
                    <a:avLst/>
                    <a:gdLst>
                      <a:gd name="T0" fmla="*/ 0 w 108"/>
                      <a:gd name="T1" fmla="*/ 0 h 117"/>
                      <a:gd name="T2" fmla="*/ 13 w 108"/>
                      <a:gd name="T3" fmla="*/ 79 h 117"/>
                      <a:gd name="T4" fmla="*/ 108 w 108"/>
                      <a:gd name="T5" fmla="*/ 117 h 117"/>
                      <a:gd name="T6" fmla="*/ 55 w 108"/>
                      <a:gd name="T7" fmla="*/ 1 h 117"/>
                      <a:gd name="T8" fmla="*/ 0 w 108"/>
                      <a:gd name="T9" fmla="*/ 0 h 117"/>
                      <a:gd name="T10" fmla="*/ 0 60000 65536"/>
                      <a:gd name="T11" fmla="*/ 0 60000 65536"/>
                      <a:gd name="T12" fmla="*/ 0 60000 65536"/>
                      <a:gd name="T13" fmla="*/ 0 60000 65536"/>
                      <a:gd name="T14" fmla="*/ 0 60000 65536"/>
                      <a:gd name="T15" fmla="*/ 0 w 108"/>
                      <a:gd name="T16" fmla="*/ 0 h 117"/>
                      <a:gd name="T17" fmla="*/ 108 w 108"/>
                      <a:gd name="T18" fmla="*/ 117 h 117"/>
                    </a:gdLst>
                    <a:ahLst/>
                    <a:cxnLst>
                      <a:cxn ang="T10">
                        <a:pos x="T0" y="T1"/>
                      </a:cxn>
                      <a:cxn ang="T11">
                        <a:pos x="T2" y="T3"/>
                      </a:cxn>
                      <a:cxn ang="T12">
                        <a:pos x="T4" y="T5"/>
                      </a:cxn>
                      <a:cxn ang="T13">
                        <a:pos x="T6" y="T7"/>
                      </a:cxn>
                      <a:cxn ang="T14">
                        <a:pos x="T8" y="T9"/>
                      </a:cxn>
                    </a:cxnLst>
                    <a:rect l="T15" t="T16" r="T17" b="T18"/>
                    <a:pathLst>
                      <a:path w="108" h="117">
                        <a:moveTo>
                          <a:pt x="0" y="0"/>
                        </a:moveTo>
                        <a:lnTo>
                          <a:pt x="13" y="79"/>
                        </a:lnTo>
                        <a:lnTo>
                          <a:pt x="108" y="117"/>
                        </a:lnTo>
                        <a:lnTo>
                          <a:pt x="55" y="1"/>
                        </a:lnTo>
                        <a:lnTo>
                          <a:pt x="0" y="0"/>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70" name="Freeform 28"/>
                  <p:cNvSpPr>
                    <a:spLocks/>
                  </p:cNvSpPr>
                  <p:nvPr/>
                </p:nvSpPr>
                <p:spPr bwMode="gray">
                  <a:xfrm>
                    <a:off x="1817087" y="4205462"/>
                    <a:ext cx="16567" cy="31184"/>
                  </a:xfrm>
                  <a:custGeom>
                    <a:avLst/>
                    <a:gdLst>
                      <a:gd name="T0" fmla="*/ 0 w 34"/>
                      <a:gd name="T1" fmla="*/ 62 h 62"/>
                      <a:gd name="T2" fmla="*/ 7 w 34"/>
                      <a:gd name="T3" fmla="*/ 0 h 62"/>
                      <a:gd name="T4" fmla="*/ 34 w 34"/>
                      <a:gd name="T5" fmla="*/ 53 h 62"/>
                      <a:gd name="T6" fmla="*/ 0 w 34"/>
                      <a:gd name="T7" fmla="*/ 62 h 62"/>
                      <a:gd name="T8" fmla="*/ 0 60000 65536"/>
                      <a:gd name="T9" fmla="*/ 0 60000 65536"/>
                      <a:gd name="T10" fmla="*/ 0 60000 65536"/>
                      <a:gd name="T11" fmla="*/ 0 60000 65536"/>
                      <a:gd name="T12" fmla="*/ 0 w 34"/>
                      <a:gd name="T13" fmla="*/ 0 h 62"/>
                      <a:gd name="T14" fmla="*/ 34 w 34"/>
                      <a:gd name="T15" fmla="*/ 62 h 62"/>
                    </a:gdLst>
                    <a:ahLst/>
                    <a:cxnLst>
                      <a:cxn ang="T8">
                        <a:pos x="T0" y="T1"/>
                      </a:cxn>
                      <a:cxn ang="T9">
                        <a:pos x="T2" y="T3"/>
                      </a:cxn>
                      <a:cxn ang="T10">
                        <a:pos x="T4" y="T5"/>
                      </a:cxn>
                      <a:cxn ang="T11">
                        <a:pos x="T6" y="T7"/>
                      </a:cxn>
                    </a:cxnLst>
                    <a:rect l="T12" t="T13" r="T14" b="T15"/>
                    <a:pathLst>
                      <a:path w="34" h="62">
                        <a:moveTo>
                          <a:pt x="0" y="62"/>
                        </a:moveTo>
                        <a:lnTo>
                          <a:pt x="7" y="0"/>
                        </a:lnTo>
                        <a:lnTo>
                          <a:pt x="34" y="53"/>
                        </a:lnTo>
                        <a:lnTo>
                          <a:pt x="0" y="62"/>
                        </a:lnTo>
                        <a:close/>
                      </a:path>
                    </a:pathLst>
                  </a:custGeom>
                  <a:grpFill/>
                  <a:ln w="9525">
                    <a:solidFill>
                      <a:schemeClr val="tx1"/>
                    </a:solidFill>
                    <a:round/>
                    <a:headEnd/>
                    <a:tailEnd/>
                  </a:ln>
                </p:spPr>
                <p:txBody>
                  <a:bodyPr/>
                  <a:lstStyle/>
                  <a:p>
                    <a:pPr>
                      <a:defRPr/>
                    </a:pPr>
                    <a:endParaRPr lang="en-US" sz="1100" dirty="0">
                      <a:latin typeface="+mj-lt"/>
                    </a:endParaRPr>
                  </a:p>
                </p:txBody>
              </p:sp>
            </p:grpSp>
            <p:sp>
              <p:nvSpPr>
                <p:cNvPr id="78" name="Freeform 29"/>
                <p:cNvSpPr>
                  <a:spLocks/>
                </p:cNvSpPr>
                <p:nvPr/>
              </p:nvSpPr>
              <p:spPr bwMode="gray">
                <a:xfrm>
                  <a:off x="1227520" y="2749573"/>
                  <a:ext cx="660705" cy="765949"/>
                </a:xfrm>
                <a:custGeom>
                  <a:avLst/>
                  <a:gdLst>
                    <a:gd name="T0" fmla="*/ 0 w 1357"/>
                    <a:gd name="T1" fmla="*/ 1074 h 1570"/>
                    <a:gd name="T2" fmla="*/ 88 w 1357"/>
                    <a:gd name="T3" fmla="*/ 999 h 1570"/>
                    <a:gd name="T4" fmla="*/ 53 w 1357"/>
                    <a:gd name="T5" fmla="*/ 939 h 1570"/>
                    <a:gd name="T6" fmla="*/ 71 w 1357"/>
                    <a:gd name="T7" fmla="*/ 853 h 1570"/>
                    <a:gd name="T8" fmla="*/ 160 w 1357"/>
                    <a:gd name="T9" fmla="*/ 705 h 1570"/>
                    <a:gd name="T10" fmla="*/ 227 w 1357"/>
                    <a:gd name="T11" fmla="*/ 663 h 1570"/>
                    <a:gd name="T12" fmla="*/ 188 w 1357"/>
                    <a:gd name="T13" fmla="*/ 611 h 1570"/>
                    <a:gd name="T14" fmla="*/ 162 w 1357"/>
                    <a:gd name="T15" fmla="*/ 464 h 1570"/>
                    <a:gd name="T16" fmla="*/ 192 w 1357"/>
                    <a:gd name="T17" fmla="*/ 203 h 1570"/>
                    <a:gd name="T18" fmla="*/ 237 w 1357"/>
                    <a:gd name="T19" fmla="*/ 188 h 1570"/>
                    <a:gd name="T20" fmla="*/ 312 w 1357"/>
                    <a:gd name="T21" fmla="*/ 233 h 1570"/>
                    <a:gd name="T22" fmla="*/ 378 w 1357"/>
                    <a:gd name="T23" fmla="*/ 0 h 1570"/>
                    <a:gd name="T24" fmla="*/ 1357 w 1357"/>
                    <a:gd name="T25" fmla="*/ 168 h 1570"/>
                    <a:gd name="T26" fmla="*/ 1151 w 1357"/>
                    <a:gd name="T27" fmla="*/ 1570 h 1570"/>
                    <a:gd name="T28" fmla="*/ 852 w 1357"/>
                    <a:gd name="T29" fmla="*/ 1525 h 1570"/>
                    <a:gd name="T30" fmla="*/ 664 w 1357"/>
                    <a:gd name="T31" fmla="*/ 1471 h 1570"/>
                    <a:gd name="T32" fmla="*/ 281 w 1357"/>
                    <a:gd name="T33" fmla="*/ 1246 h 1570"/>
                    <a:gd name="T34" fmla="*/ 0 w 1357"/>
                    <a:gd name="T35" fmla="*/ 1074 h 157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57"/>
                    <a:gd name="T55" fmla="*/ 0 h 1570"/>
                    <a:gd name="T56" fmla="*/ 1357 w 1357"/>
                    <a:gd name="T57" fmla="*/ 1570 h 157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57" h="1570">
                      <a:moveTo>
                        <a:pt x="0" y="1074"/>
                      </a:moveTo>
                      <a:lnTo>
                        <a:pt x="88" y="999"/>
                      </a:lnTo>
                      <a:lnTo>
                        <a:pt x="53" y="939"/>
                      </a:lnTo>
                      <a:lnTo>
                        <a:pt x="71" y="853"/>
                      </a:lnTo>
                      <a:lnTo>
                        <a:pt x="160" y="705"/>
                      </a:lnTo>
                      <a:lnTo>
                        <a:pt x="227" y="663"/>
                      </a:lnTo>
                      <a:lnTo>
                        <a:pt x="188" y="611"/>
                      </a:lnTo>
                      <a:lnTo>
                        <a:pt x="162" y="464"/>
                      </a:lnTo>
                      <a:lnTo>
                        <a:pt x="192" y="203"/>
                      </a:lnTo>
                      <a:lnTo>
                        <a:pt x="237" y="188"/>
                      </a:lnTo>
                      <a:lnTo>
                        <a:pt x="312" y="233"/>
                      </a:lnTo>
                      <a:lnTo>
                        <a:pt x="378" y="0"/>
                      </a:lnTo>
                      <a:lnTo>
                        <a:pt x="1357" y="168"/>
                      </a:lnTo>
                      <a:lnTo>
                        <a:pt x="1151" y="1570"/>
                      </a:lnTo>
                      <a:lnTo>
                        <a:pt x="852" y="1525"/>
                      </a:lnTo>
                      <a:lnTo>
                        <a:pt x="664" y="1471"/>
                      </a:lnTo>
                      <a:lnTo>
                        <a:pt x="281" y="1246"/>
                      </a:lnTo>
                      <a:lnTo>
                        <a:pt x="0" y="1074"/>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79" name="Freeform 30"/>
                <p:cNvSpPr>
                  <a:spLocks/>
                </p:cNvSpPr>
                <p:nvPr/>
              </p:nvSpPr>
              <p:spPr bwMode="gray">
                <a:xfrm>
                  <a:off x="3277848" y="2969808"/>
                  <a:ext cx="487245" cy="438521"/>
                </a:xfrm>
                <a:custGeom>
                  <a:avLst/>
                  <a:gdLst>
                    <a:gd name="T0" fmla="*/ 0 w 1001"/>
                    <a:gd name="T1" fmla="*/ 29 h 900"/>
                    <a:gd name="T2" fmla="*/ 40 w 1001"/>
                    <a:gd name="T3" fmla="*/ 309 h 900"/>
                    <a:gd name="T4" fmla="*/ 33 w 1001"/>
                    <a:gd name="T5" fmla="*/ 743 h 900"/>
                    <a:gd name="T6" fmla="*/ 53 w 1001"/>
                    <a:gd name="T7" fmla="*/ 768 h 900"/>
                    <a:gd name="T8" fmla="*/ 124 w 1001"/>
                    <a:gd name="T9" fmla="*/ 766 h 900"/>
                    <a:gd name="T10" fmla="*/ 127 w 1001"/>
                    <a:gd name="T11" fmla="*/ 900 h 900"/>
                    <a:gd name="T12" fmla="*/ 723 w 1001"/>
                    <a:gd name="T13" fmla="*/ 892 h 900"/>
                    <a:gd name="T14" fmla="*/ 710 w 1001"/>
                    <a:gd name="T15" fmla="*/ 755 h 900"/>
                    <a:gd name="T16" fmla="*/ 762 w 1001"/>
                    <a:gd name="T17" fmla="*/ 606 h 900"/>
                    <a:gd name="T18" fmla="*/ 836 w 1001"/>
                    <a:gd name="T19" fmla="*/ 502 h 900"/>
                    <a:gd name="T20" fmla="*/ 833 w 1001"/>
                    <a:gd name="T21" fmla="*/ 473 h 900"/>
                    <a:gd name="T22" fmla="*/ 887 w 1001"/>
                    <a:gd name="T23" fmla="*/ 381 h 900"/>
                    <a:gd name="T24" fmla="*/ 917 w 1001"/>
                    <a:gd name="T25" fmla="*/ 279 h 900"/>
                    <a:gd name="T26" fmla="*/ 905 w 1001"/>
                    <a:gd name="T27" fmla="*/ 271 h 900"/>
                    <a:gd name="T28" fmla="*/ 956 w 1001"/>
                    <a:gd name="T29" fmla="*/ 232 h 900"/>
                    <a:gd name="T30" fmla="*/ 1001 w 1001"/>
                    <a:gd name="T31" fmla="*/ 141 h 900"/>
                    <a:gd name="T32" fmla="*/ 985 w 1001"/>
                    <a:gd name="T33" fmla="*/ 121 h 900"/>
                    <a:gd name="T34" fmla="*/ 852 w 1001"/>
                    <a:gd name="T35" fmla="*/ 128 h 900"/>
                    <a:gd name="T36" fmla="*/ 888 w 1001"/>
                    <a:gd name="T37" fmla="*/ 78 h 900"/>
                    <a:gd name="T38" fmla="*/ 878 w 1001"/>
                    <a:gd name="T39" fmla="*/ 0 h 900"/>
                    <a:gd name="T40" fmla="*/ 0 w 1001"/>
                    <a:gd name="T41" fmla="*/ 29 h 90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001"/>
                    <a:gd name="T64" fmla="*/ 0 h 900"/>
                    <a:gd name="T65" fmla="*/ 1001 w 1001"/>
                    <a:gd name="T66" fmla="*/ 900 h 90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001" h="900">
                      <a:moveTo>
                        <a:pt x="0" y="29"/>
                      </a:moveTo>
                      <a:lnTo>
                        <a:pt x="40" y="309"/>
                      </a:lnTo>
                      <a:lnTo>
                        <a:pt x="33" y="743"/>
                      </a:lnTo>
                      <a:lnTo>
                        <a:pt x="53" y="768"/>
                      </a:lnTo>
                      <a:lnTo>
                        <a:pt x="124" y="766"/>
                      </a:lnTo>
                      <a:lnTo>
                        <a:pt x="127" y="900"/>
                      </a:lnTo>
                      <a:lnTo>
                        <a:pt x="723" y="892"/>
                      </a:lnTo>
                      <a:lnTo>
                        <a:pt x="710" y="755"/>
                      </a:lnTo>
                      <a:lnTo>
                        <a:pt x="762" y="606"/>
                      </a:lnTo>
                      <a:lnTo>
                        <a:pt x="836" y="502"/>
                      </a:lnTo>
                      <a:lnTo>
                        <a:pt x="833" y="473"/>
                      </a:lnTo>
                      <a:lnTo>
                        <a:pt x="887" y="381"/>
                      </a:lnTo>
                      <a:lnTo>
                        <a:pt x="917" y="279"/>
                      </a:lnTo>
                      <a:lnTo>
                        <a:pt x="905" y="271"/>
                      </a:lnTo>
                      <a:lnTo>
                        <a:pt x="956" y="232"/>
                      </a:lnTo>
                      <a:lnTo>
                        <a:pt x="1001" y="141"/>
                      </a:lnTo>
                      <a:lnTo>
                        <a:pt x="985" y="121"/>
                      </a:lnTo>
                      <a:lnTo>
                        <a:pt x="852" y="128"/>
                      </a:lnTo>
                      <a:lnTo>
                        <a:pt x="888" y="78"/>
                      </a:lnTo>
                      <a:lnTo>
                        <a:pt x="878" y="0"/>
                      </a:lnTo>
                      <a:lnTo>
                        <a:pt x="0" y="29"/>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80" name="Freeform 31"/>
                <p:cNvSpPr>
                  <a:spLocks/>
                </p:cNvSpPr>
                <p:nvPr/>
              </p:nvSpPr>
              <p:spPr bwMode="gray">
                <a:xfrm>
                  <a:off x="570714" y="1922231"/>
                  <a:ext cx="767899" cy="1314587"/>
                </a:xfrm>
                <a:custGeom>
                  <a:avLst/>
                  <a:gdLst>
                    <a:gd name="T0" fmla="*/ 37 w 1575"/>
                    <a:gd name="T1" fmla="*/ 490 h 2698"/>
                    <a:gd name="T2" fmla="*/ 57 w 1575"/>
                    <a:gd name="T3" fmla="*/ 548 h 2698"/>
                    <a:gd name="T4" fmla="*/ 11 w 1575"/>
                    <a:gd name="T5" fmla="*/ 758 h 2698"/>
                    <a:gd name="T6" fmla="*/ 39 w 1575"/>
                    <a:gd name="T7" fmla="*/ 821 h 2698"/>
                    <a:gd name="T8" fmla="*/ 164 w 1575"/>
                    <a:gd name="T9" fmla="*/ 1099 h 2698"/>
                    <a:gd name="T10" fmla="*/ 177 w 1575"/>
                    <a:gd name="T11" fmla="*/ 1092 h 2698"/>
                    <a:gd name="T12" fmla="*/ 183 w 1575"/>
                    <a:gd name="T13" fmla="*/ 1030 h 2698"/>
                    <a:gd name="T14" fmla="*/ 204 w 1575"/>
                    <a:gd name="T15" fmla="*/ 1022 h 2698"/>
                    <a:gd name="T16" fmla="*/ 225 w 1575"/>
                    <a:gd name="T17" fmla="*/ 1037 h 2698"/>
                    <a:gd name="T18" fmla="*/ 188 w 1575"/>
                    <a:gd name="T19" fmla="*/ 1074 h 2698"/>
                    <a:gd name="T20" fmla="*/ 203 w 1575"/>
                    <a:gd name="T21" fmla="*/ 1094 h 2698"/>
                    <a:gd name="T22" fmla="*/ 235 w 1575"/>
                    <a:gd name="T23" fmla="*/ 1214 h 2698"/>
                    <a:gd name="T24" fmla="*/ 215 w 1575"/>
                    <a:gd name="T25" fmla="*/ 1207 h 2698"/>
                    <a:gd name="T26" fmla="*/ 171 w 1575"/>
                    <a:gd name="T27" fmla="*/ 1160 h 2698"/>
                    <a:gd name="T28" fmla="*/ 183 w 1575"/>
                    <a:gd name="T29" fmla="*/ 1114 h 2698"/>
                    <a:gd name="T30" fmla="*/ 162 w 1575"/>
                    <a:gd name="T31" fmla="*/ 1116 h 2698"/>
                    <a:gd name="T32" fmla="*/ 138 w 1575"/>
                    <a:gd name="T33" fmla="*/ 1167 h 2698"/>
                    <a:gd name="T34" fmla="*/ 145 w 1575"/>
                    <a:gd name="T35" fmla="*/ 1276 h 2698"/>
                    <a:gd name="T36" fmla="*/ 173 w 1575"/>
                    <a:gd name="T37" fmla="*/ 1326 h 2698"/>
                    <a:gd name="T38" fmla="*/ 229 w 1575"/>
                    <a:gd name="T39" fmla="*/ 1369 h 2698"/>
                    <a:gd name="T40" fmla="*/ 209 w 1575"/>
                    <a:gd name="T41" fmla="*/ 1421 h 2698"/>
                    <a:gd name="T42" fmla="*/ 177 w 1575"/>
                    <a:gd name="T43" fmla="*/ 1431 h 2698"/>
                    <a:gd name="T44" fmla="*/ 173 w 1575"/>
                    <a:gd name="T45" fmla="*/ 1500 h 2698"/>
                    <a:gd name="T46" fmla="*/ 249 w 1575"/>
                    <a:gd name="T47" fmla="*/ 1661 h 2698"/>
                    <a:gd name="T48" fmla="*/ 311 w 1575"/>
                    <a:gd name="T49" fmla="*/ 1762 h 2698"/>
                    <a:gd name="T50" fmla="*/ 301 w 1575"/>
                    <a:gd name="T51" fmla="*/ 1821 h 2698"/>
                    <a:gd name="T52" fmla="*/ 338 w 1575"/>
                    <a:gd name="T53" fmla="*/ 1857 h 2698"/>
                    <a:gd name="T54" fmla="*/ 323 w 1575"/>
                    <a:gd name="T55" fmla="*/ 1896 h 2698"/>
                    <a:gd name="T56" fmla="*/ 300 w 1575"/>
                    <a:gd name="T57" fmla="*/ 1990 h 2698"/>
                    <a:gd name="T58" fmla="*/ 327 w 1575"/>
                    <a:gd name="T59" fmla="*/ 2025 h 2698"/>
                    <a:gd name="T60" fmla="*/ 520 w 1575"/>
                    <a:gd name="T61" fmla="*/ 2094 h 2698"/>
                    <a:gd name="T62" fmla="*/ 598 w 1575"/>
                    <a:gd name="T63" fmla="*/ 2199 h 2698"/>
                    <a:gd name="T64" fmla="*/ 688 w 1575"/>
                    <a:gd name="T65" fmla="*/ 2234 h 2698"/>
                    <a:gd name="T66" fmla="*/ 690 w 1575"/>
                    <a:gd name="T67" fmla="*/ 2298 h 2698"/>
                    <a:gd name="T68" fmla="*/ 750 w 1575"/>
                    <a:gd name="T69" fmla="*/ 2314 h 2698"/>
                    <a:gd name="T70" fmla="*/ 832 w 1575"/>
                    <a:gd name="T71" fmla="*/ 2423 h 2698"/>
                    <a:gd name="T72" fmla="*/ 876 w 1575"/>
                    <a:gd name="T73" fmla="*/ 2518 h 2698"/>
                    <a:gd name="T74" fmla="*/ 878 w 1575"/>
                    <a:gd name="T75" fmla="*/ 2662 h 2698"/>
                    <a:gd name="T76" fmla="*/ 1436 w 1575"/>
                    <a:gd name="T77" fmla="*/ 2698 h 2698"/>
                    <a:gd name="T78" fmla="*/ 1401 w 1575"/>
                    <a:gd name="T79" fmla="*/ 2638 h 2698"/>
                    <a:gd name="T80" fmla="*/ 1419 w 1575"/>
                    <a:gd name="T81" fmla="*/ 2552 h 2698"/>
                    <a:gd name="T82" fmla="*/ 1508 w 1575"/>
                    <a:gd name="T83" fmla="*/ 2404 h 2698"/>
                    <a:gd name="T84" fmla="*/ 1575 w 1575"/>
                    <a:gd name="T85" fmla="*/ 2362 h 2698"/>
                    <a:gd name="T86" fmla="*/ 1536 w 1575"/>
                    <a:gd name="T87" fmla="*/ 2310 h 2698"/>
                    <a:gd name="T88" fmla="*/ 1510 w 1575"/>
                    <a:gd name="T89" fmla="*/ 2163 h 2698"/>
                    <a:gd name="T90" fmla="*/ 766 w 1575"/>
                    <a:gd name="T91" fmla="*/ 1041 h 2698"/>
                    <a:gd name="T92" fmla="*/ 708 w 1575"/>
                    <a:gd name="T93" fmla="*/ 927 h 2698"/>
                    <a:gd name="T94" fmla="*/ 896 w 1575"/>
                    <a:gd name="T95" fmla="*/ 210 h 2698"/>
                    <a:gd name="T96" fmla="*/ 152 w 1575"/>
                    <a:gd name="T97" fmla="*/ 0 h 2698"/>
                    <a:gd name="T98" fmla="*/ 130 w 1575"/>
                    <a:gd name="T99" fmla="*/ 44 h 2698"/>
                    <a:gd name="T100" fmla="*/ 137 w 1575"/>
                    <a:gd name="T101" fmla="*/ 137 h 2698"/>
                    <a:gd name="T102" fmla="*/ 0 w 1575"/>
                    <a:gd name="T103" fmla="*/ 360 h 2698"/>
                    <a:gd name="T104" fmla="*/ 37 w 1575"/>
                    <a:gd name="T105" fmla="*/ 490 h 269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575"/>
                    <a:gd name="T160" fmla="*/ 0 h 2698"/>
                    <a:gd name="T161" fmla="*/ 1575 w 1575"/>
                    <a:gd name="T162" fmla="*/ 2698 h 2698"/>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575" h="2698">
                      <a:moveTo>
                        <a:pt x="37" y="490"/>
                      </a:moveTo>
                      <a:lnTo>
                        <a:pt x="57" y="548"/>
                      </a:lnTo>
                      <a:lnTo>
                        <a:pt x="11" y="758"/>
                      </a:lnTo>
                      <a:lnTo>
                        <a:pt x="39" y="821"/>
                      </a:lnTo>
                      <a:lnTo>
                        <a:pt x="164" y="1099"/>
                      </a:lnTo>
                      <a:lnTo>
                        <a:pt x="177" y="1092"/>
                      </a:lnTo>
                      <a:lnTo>
                        <a:pt x="183" y="1030"/>
                      </a:lnTo>
                      <a:lnTo>
                        <a:pt x="204" y="1022"/>
                      </a:lnTo>
                      <a:lnTo>
                        <a:pt x="225" y="1037"/>
                      </a:lnTo>
                      <a:lnTo>
                        <a:pt x="188" y="1074"/>
                      </a:lnTo>
                      <a:lnTo>
                        <a:pt x="203" y="1094"/>
                      </a:lnTo>
                      <a:lnTo>
                        <a:pt x="235" y="1214"/>
                      </a:lnTo>
                      <a:lnTo>
                        <a:pt x="215" y="1207"/>
                      </a:lnTo>
                      <a:lnTo>
                        <a:pt x="171" y="1160"/>
                      </a:lnTo>
                      <a:lnTo>
                        <a:pt x="183" y="1114"/>
                      </a:lnTo>
                      <a:lnTo>
                        <a:pt x="162" y="1116"/>
                      </a:lnTo>
                      <a:lnTo>
                        <a:pt x="138" y="1167"/>
                      </a:lnTo>
                      <a:lnTo>
                        <a:pt x="145" y="1276"/>
                      </a:lnTo>
                      <a:lnTo>
                        <a:pt x="173" y="1326"/>
                      </a:lnTo>
                      <a:lnTo>
                        <a:pt x="229" y="1369"/>
                      </a:lnTo>
                      <a:lnTo>
                        <a:pt x="209" y="1421"/>
                      </a:lnTo>
                      <a:lnTo>
                        <a:pt x="177" y="1431"/>
                      </a:lnTo>
                      <a:lnTo>
                        <a:pt x="173" y="1500"/>
                      </a:lnTo>
                      <a:lnTo>
                        <a:pt x="249" y="1661"/>
                      </a:lnTo>
                      <a:lnTo>
                        <a:pt x="311" y="1762"/>
                      </a:lnTo>
                      <a:lnTo>
                        <a:pt x="301" y="1821"/>
                      </a:lnTo>
                      <a:lnTo>
                        <a:pt x="338" y="1857"/>
                      </a:lnTo>
                      <a:lnTo>
                        <a:pt x="323" y="1896"/>
                      </a:lnTo>
                      <a:lnTo>
                        <a:pt x="300" y="1990"/>
                      </a:lnTo>
                      <a:lnTo>
                        <a:pt x="327" y="2025"/>
                      </a:lnTo>
                      <a:lnTo>
                        <a:pt x="520" y="2094"/>
                      </a:lnTo>
                      <a:lnTo>
                        <a:pt x="598" y="2199"/>
                      </a:lnTo>
                      <a:lnTo>
                        <a:pt x="688" y="2234"/>
                      </a:lnTo>
                      <a:lnTo>
                        <a:pt x="690" y="2298"/>
                      </a:lnTo>
                      <a:lnTo>
                        <a:pt x="750" y="2314"/>
                      </a:lnTo>
                      <a:lnTo>
                        <a:pt x="832" y="2423"/>
                      </a:lnTo>
                      <a:lnTo>
                        <a:pt x="876" y="2518"/>
                      </a:lnTo>
                      <a:lnTo>
                        <a:pt x="878" y="2662"/>
                      </a:lnTo>
                      <a:lnTo>
                        <a:pt x="1436" y="2698"/>
                      </a:lnTo>
                      <a:lnTo>
                        <a:pt x="1401" y="2638"/>
                      </a:lnTo>
                      <a:lnTo>
                        <a:pt x="1419" y="2552"/>
                      </a:lnTo>
                      <a:lnTo>
                        <a:pt x="1508" y="2404"/>
                      </a:lnTo>
                      <a:lnTo>
                        <a:pt x="1575" y="2362"/>
                      </a:lnTo>
                      <a:lnTo>
                        <a:pt x="1536" y="2310"/>
                      </a:lnTo>
                      <a:lnTo>
                        <a:pt x="1510" y="2163"/>
                      </a:lnTo>
                      <a:lnTo>
                        <a:pt x="766" y="1041"/>
                      </a:lnTo>
                      <a:lnTo>
                        <a:pt x="708" y="927"/>
                      </a:lnTo>
                      <a:lnTo>
                        <a:pt x="896" y="210"/>
                      </a:lnTo>
                      <a:lnTo>
                        <a:pt x="152" y="0"/>
                      </a:lnTo>
                      <a:lnTo>
                        <a:pt x="130" y="44"/>
                      </a:lnTo>
                      <a:lnTo>
                        <a:pt x="137" y="137"/>
                      </a:lnTo>
                      <a:lnTo>
                        <a:pt x="0" y="360"/>
                      </a:lnTo>
                      <a:lnTo>
                        <a:pt x="37" y="490"/>
                      </a:lnTo>
                      <a:close/>
                    </a:path>
                  </a:pathLst>
                </a:custGeom>
                <a:solidFill>
                  <a:schemeClr val="accent4">
                    <a:lumMod val="40000"/>
                    <a:lumOff val="60000"/>
                  </a:schemeClr>
                </a:solidFill>
                <a:ln w="9525">
                  <a:solidFill>
                    <a:schemeClr val="tx1"/>
                  </a:solidFill>
                  <a:round/>
                  <a:headEnd/>
                  <a:tailEnd/>
                </a:ln>
              </p:spPr>
              <p:txBody>
                <a:bodyPr/>
                <a:lstStyle/>
                <a:p>
                  <a:pPr>
                    <a:defRPr/>
                  </a:pPr>
                  <a:endParaRPr lang="en-US" sz="1100" dirty="0">
                    <a:latin typeface="+mj-lt"/>
                  </a:endParaRPr>
                </a:p>
              </p:txBody>
            </p:sp>
            <p:sp>
              <p:nvSpPr>
                <p:cNvPr id="81" name="Freeform 32"/>
                <p:cNvSpPr>
                  <a:spLocks/>
                </p:cNvSpPr>
                <p:nvPr/>
              </p:nvSpPr>
              <p:spPr bwMode="gray">
                <a:xfrm>
                  <a:off x="1888225" y="2345160"/>
                  <a:ext cx="704556" cy="556434"/>
                </a:xfrm>
                <a:custGeom>
                  <a:avLst/>
                  <a:gdLst>
                    <a:gd name="T0" fmla="*/ 0 w 1445"/>
                    <a:gd name="T1" fmla="*/ 1000 h 1144"/>
                    <a:gd name="T2" fmla="*/ 140 w 1445"/>
                    <a:gd name="T3" fmla="*/ 0 h 1144"/>
                    <a:gd name="T4" fmla="*/ 1070 w 1445"/>
                    <a:gd name="T5" fmla="*/ 106 h 1144"/>
                    <a:gd name="T6" fmla="*/ 1445 w 1445"/>
                    <a:gd name="T7" fmla="*/ 137 h 1144"/>
                    <a:gd name="T8" fmla="*/ 1429 w 1445"/>
                    <a:gd name="T9" fmla="*/ 386 h 1144"/>
                    <a:gd name="T10" fmla="*/ 1379 w 1445"/>
                    <a:gd name="T11" fmla="*/ 1144 h 1144"/>
                    <a:gd name="T12" fmla="*/ 1190 w 1445"/>
                    <a:gd name="T13" fmla="*/ 1130 h 1144"/>
                    <a:gd name="T14" fmla="*/ 596 w 1445"/>
                    <a:gd name="T15" fmla="*/ 1078 h 1144"/>
                    <a:gd name="T16" fmla="*/ 0 w 1445"/>
                    <a:gd name="T17" fmla="*/ 1000 h 114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45"/>
                    <a:gd name="T28" fmla="*/ 0 h 1144"/>
                    <a:gd name="T29" fmla="*/ 1445 w 1445"/>
                    <a:gd name="T30" fmla="*/ 1144 h 114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45" h="1144">
                      <a:moveTo>
                        <a:pt x="0" y="1000"/>
                      </a:moveTo>
                      <a:lnTo>
                        <a:pt x="140" y="0"/>
                      </a:lnTo>
                      <a:lnTo>
                        <a:pt x="1070" y="106"/>
                      </a:lnTo>
                      <a:lnTo>
                        <a:pt x="1445" y="137"/>
                      </a:lnTo>
                      <a:lnTo>
                        <a:pt x="1429" y="386"/>
                      </a:lnTo>
                      <a:lnTo>
                        <a:pt x="1379" y="1144"/>
                      </a:lnTo>
                      <a:lnTo>
                        <a:pt x="1190" y="1130"/>
                      </a:lnTo>
                      <a:lnTo>
                        <a:pt x="596" y="1078"/>
                      </a:lnTo>
                      <a:lnTo>
                        <a:pt x="0" y="1000"/>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82" name="Freeform 33"/>
                <p:cNvSpPr>
                  <a:spLocks/>
                </p:cNvSpPr>
                <p:nvPr/>
              </p:nvSpPr>
              <p:spPr bwMode="gray">
                <a:xfrm>
                  <a:off x="5157640" y="2044042"/>
                  <a:ext cx="166638" cy="156893"/>
                </a:xfrm>
                <a:custGeom>
                  <a:avLst/>
                  <a:gdLst>
                    <a:gd name="T0" fmla="*/ 0 w 341"/>
                    <a:gd name="T1" fmla="*/ 65 h 324"/>
                    <a:gd name="T2" fmla="*/ 28 w 341"/>
                    <a:gd name="T3" fmla="*/ 235 h 324"/>
                    <a:gd name="T4" fmla="*/ 27 w 341"/>
                    <a:gd name="T5" fmla="*/ 324 h 324"/>
                    <a:gd name="T6" fmla="*/ 55 w 341"/>
                    <a:gd name="T7" fmla="*/ 316 h 324"/>
                    <a:gd name="T8" fmla="*/ 69 w 341"/>
                    <a:gd name="T9" fmla="*/ 291 h 324"/>
                    <a:gd name="T10" fmla="*/ 119 w 341"/>
                    <a:gd name="T11" fmla="*/ 271 h 324"/>
                    <a:gd name="T12" fmla="*/ 143 w 341"/>
                    <a:gd name="T13" fmla="*/ 226 h 324"/>
                    <a:gd name="T14" fmla="*/ 156 w 341"/>
                    <a:gd name="T15" fmla="*/ 235 h 324"/>
                    <a:gd name="T16" fmla="*/ 193 w 341"/>
                    <a:gd name="T17" fmla="*/ 220 h 324"/>
                    <a:gd name="T18" fmla="*/ 244 w 341"/>
                    <a:gd name="T19" fmla="*/ 209 h 324"/>
                    <a:gd name="T20" fmla="*/ 248 w 341"/>
                    <a:gd name="T21" fmla="*/ 193 h 324"/>
                    <a:gd name="T22" fmla="*/ 262 w 341"/>
                    <a:gd name="T23" fmla="*/ 201 h 324"/>
                    <a:gd name="T24" fmla="*/ 279 w 341"/>
                    <a:gd name="T25" fmla="*/ 187 h 324"/>
                    <a:gd name="T26" fmla="*/ 306 w 341"/>
                    <a:gd name="T27" fmla="*/ 182 h 324"/>
                    <a:gd name="T28" fmla="*/ 341 w 341"/>
                    <a:gd name="T29" fmla="*/ 164 h 324"/>
                    <a:gd name="T30" fmla="*/ 308 w 341"/>
                    <a:gd name="T31" fmla="*/ 0 h 324"/>
                    <a:gd name="T32" fmla="*/ 0 w 341"/>
                    <a:gd name="T33" fmla="*/ 65 h 3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1"/>
                    <a:gd name="T52" fmla="*/ 0 h 324"/>
                    <a:gd name="T53" fmla="*/ 341 w 341"/>
                    <a:gd name="T54" fmla="*/ 324 h 3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1" h="324">
                      <a:moveTo>
                        <a:pt x="0" y="65"/>
                      </a:moveTo>
                      <a:lnTo>
                        <a:pt x="28" y="235"/>
                      </a:lnTo>
                      <a:lnTo>
                        <a:pt x="27" y="324"/>
                      </a:lnTo>
                      <a:lnTo>
                        <a:pt x="55" y="316"/>
                      </a:lnTo>
                      <a:lnTo>
                        <a:pt x="69" y="291"/>
                      </a:lnTo>
                      <a:lnTo>
                        <a:pt x="119" y="271"/>
                      </a:lnTo>
                      <a:lnTo>
                        <a:pt x="143" y="226"/>
                      </a:lnTo>
                      <a:lnTo>
                        <a:pt x="156" y="235"/>
                      </a:lnTo>
                      <a:lnTo>
                        <a:pt x="193" y="220"/>
                      </a:lnTo>
                      <a:lnTo>
                        <a:pt x="244" y="209"/>
                      </a:lnTo>
                      <a:lnTo>
                        <a:pt x="248" y="193"/>
                      </a:lnTo>
                      <a:lnTo>
                        <a:pt x="262" y="201"/>
                      </a:lnTo>
                      <a:lnTo>
                        <a:pt x="279" y="187"/>
                      </a:lnTo>
                      <a:lnTo>
                        <a:pt x="306" y="182"/>
                      </a:lnTo>
                      <a:lnTo>
                        <a:pt x="341" y="164"/>
                      </a:lnTo>
                      <a:lnTo>
                        <a:pt x="308" y="0"/>
                      </a:lnTo>
                      <a:lnTo>
                        <a:pt x="0" y="65"/>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83" name="Freeform 34"/>
                <p:cNvSpPr>
                  <a:spLocks/>
                </p:cNvSpPr>
                <p:nvPr/>
              </p:nvSpPr>
              <p:spPr bwMode="gray">
                <a:xfrm>
                  <a:off x="5013416" y="2383165"/>
                  <a:ext cx="101347" cy="166638"/>
                </a:xfrm>
                <a:custGeom>
                  <a:avLst/>
                  <a:gdLst>
                    <a:gd name="T0" fmla="*/ 0 w 208"/>
                    <a:gd name="T1" fmla="*/ 34 h 343"/>
                    <a:gd name="T2" fmla="*/ 29 w 208"/>
                    <a:gd name="T3" fmla="*/ 0 h 343"/>
                    <a:gd name="T4" fmla="*/ 69 w 208"/>
                    <a:gd name="T5" fmla="*/ 0 h 343"/>
                    <a:gd name="T6" fmla="*/ 55 w 208"/>
                    <a:gd name="T7" fmla="*/ 36 h 343"/>
                    <a:gd name="T8" fmla="*/ 43 w 208"/>
                    <a:gd name="T9" fmla="*/ 49 h 343"/>
                    <a:gd name="T10" fmla="*/ 51 w 208"/>
                    <a:gd name="T11" fmla="*/ 86 h 343"/>
                    <a:gd name="T12" fmla="*/ 72 w 208"/>
                    <a:gd name="T13" fmla="*/ 111 h 343"/>
                    <a:gd name="T14" fmla="*/ 102 w 208"/>
                    <a:gd name="T15" fmla="*/ 141 h 343"/>
                    <a:gd name="T16" fmla="*/ 111 w 208"/>
                    <a:gd name="T17" fmla="*/ 181 h 343"/>
                    <a:gd name="T18" fmla="*/ 133 w 208"/>
                    <a:gd name="T19" fmla="*/ 208 h 343"/>
                    <a:gd name="T20" fmla="*/ 152 w 208"/>
                    <a:gd name="T21" fmla="*/ 228 h 343"/>
                    <a:gd name="T22" fmla="*/ 183 w 208"/>
                    <a:gd name="T23" fmla="*/ 240 h 343"/>
                    <a:gd name="T24" fmla="*/ 199 w 208"/>
                    <a:gd name="T25" fmla="*/ 271 h 343"/>
                    <a:gd name="T26" fmla="*/ 173 w 208"/>
                    <a:gd name="T27" fmla="*/ 297 h 343"/>
                    <a:gd name="T28" fmla="*/ 200 w 208"/>
                    <a:gd name="T29" fmla="*/ 291 h 343"/>
                    <a:gd name="T30" fmla="*/ 208 w 208"/>
                    <a:gd name="T31" fmla="*/ 318 h 343"/>
                    <a:gd name="T32" fmla="*/ 153 w 208"/>
                    <a:gd name="T33" fmla="*/ 330 h 343"/>
                    <a:gd name="T34" fmla="*/ 83 w 208"/>
                    <a:gd name="T35" fmla="*/ 343 h 343"/>
                    <a:gd name="T36" fmla="*/ 78 w 208"/>
                    <a:gd name="T37" fmla="*/ 319 h 343"/>
                    <a:gd name="T38" fmla="*/ 0 w 208"/>
                    <a:gd name="T39" fmla="*/ 34 h 3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8"/>
                    <a:gd name="T61" fmla="*/ 0 h 343"/>
                    <a:gd name="T62" fmla="*/ 208 w 208"/>
                    <a:gd name="T63" fmla="*/ 343 h 3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8" h="343">
                      <a:moveTo>
                        <a:pt x="0" y="34"/>
                      </a:moveTo>
                      <a:lnTo>
                        <a:pt x="29" y="0"/>
                      </a:lnTo>
                      <a:lnTo>
                        <a:pt x="69" y="0"/>
                      </a:lnTo>
                      <a:lnTo>
                        <a:pt x="55" y="36"/>
                      </a:lnTo>
                      <a:lnTo>
                        <a:pt x="43" y="49"/>
                      </a:lnTo>
                      <a:lnTo>
                        <a:pt x="51" y="86"/>
                      </a:lnTo>
                      <a:lnTo>
                        <a:pt x="72" y="111"/>
                      </a:lnTo>
                      <a:lnTo>
                        <a:pt x="102" y="141"/>
                      </a:lnTo>
                      <a:lnTo>
                        <a:pt x="111" y="181"/>
                      </a:lnTo>
                      <a:lnTo>
                        <a:pt x="133" y="208"/>
                      </a:lnTo>
                      <a:lnTo>
                        <a:pt x="152" y="228"/>
                      </a:lnTo>
                      <a:lnTo>
                        <a:pt x="183" y="240"/>
                      </a:lnTo>
                      <a:lnTo>
                        <a:pt x="199" y="271"/>
                      </a:lnTo>
                      <a:lnTo>
                        <a:pt x="173" y="297"/>
                      </a:lnTo>
                      <a:lnTo>
                        <a:pt x="200" y="291"/>
                      </a:lnTo>
                      <a:lnTo>
                        <a:pt x="208" y="318"/>
                      </a:lnTo>
                      <a:lnTo>
                        <a:pt x="153" y="330"/>
                      </a:lnTo>
                      <a:lnTo>
                        <a:pt x="83" y="343"/>
                      </a:lnTo>
                      <a:lnTo>
                        <a:pt x="78" y="319"/>
                      </a:lnTo>
                      <a:lnTo>
                        <a:pt x="0" y="34"/>
                      </a:lnTo>
                      <a:close/>
                    </a:path>
                  </a:pathLst>
                </a:custGeom>
                <a:grpFill/>
                <a:ln w="9525">
                  <a:solidFill>
                    <a:schemeClr val="tx1"/>
                  </a:solidFill>
                  <a:round/>
                  <a:headEnd/>
                  <a:tailEnd/>
                </a:ln>
              </p:spPr>
              <p:txBody>
                <a:bodyPr/>
                <a:lstStyle/>
                <a:p>
                  <a:pPr>
                    <a:defRPr/>
                  </a:pPr>
                  <a:endParaRPr lang="en-US" sz="1100" dirty="0">
                    <a:solidFill>
                      <a:srgbClr val="CCACCA"/>
                    </a:solidFill>
                    <a:latin typeface="+mj-lt"/>
                  </a:endParaRPr>
                </a:p>
              </p:txBody>
            </p:sp>
            <p:sp>
              <p:nvSpPr>
                <p:cNvPr id="84" name="Freeform 35"/>
                <p:cNvSpPr>
                  <a:spLocks/>
                </p:cNvSpPr>
                <p:nvPr/>
              </p:nvSpPr>
              <p:spPr bwMode="gray">
                <a:xfrm>
                  <a:off x="4910120" y="2512773"/>
                  <a:ext cx="15592" cy="20464"/>
                </a:xfrm>
                <a:custGeom>
                  <a:avLst/>
                  <a:gdLst>
                    <a:gd name="T0" fmla="*/ 0 w 32"/>
                    <a:gd name="T1" fmla="*/ 12 h 43"/>
                    <a:gd name="T2" fmla="*/ 21 w 32"/>
                    <a:gd name="T3" fmla="*/ 0 h 43"/>
                    <a:gd name="T4" fmla="*/ 32 w 32"/>
                    <a:gd name="T5" fmla="*/ 24 h 43"/>
                    <a:gd name="T6" fmla="*/ 21 w 32"/>
                    <a:gd name="T7" fmla="*/ 43 h 43"/>
                    <a:gd name="T8" fmla="*/ 0 w 32"/>
                    <a:gd name="T9" fmla="*/ 12 h 43"/>
                    <a:gd name="T10" fmla="*/ 0 60000 65536"/>
                    <a:gd name="T11" fmla="*/ 0 60000 65536"/>
                    <a:gd name="T12" fmla="*/ 0 60000 65536"/>
                    <a:gd name="T13" fmla="*/ 0 60000 65536"/>
                    <a:gd name="T14" fmla="*/ 0 60000 65536"/>
                    <a:gd name="T15" fmla="*/ 0 w 32"/>
                    <a:gd name="T16" fmla="*/ 0 h 43"/>
                    <a:gd name="T17" fmla="*/ 32 w 32"/>
                    <a:gd name="T18" fmla="*/ 43 h 43"/>
                  </a:gdLst>
                  <a:ahLst/>
                  <a:cxnLst>
                    <a:cxn ang="T10">
                      <a:pos x="T0" y="T1"/>
                    </a:cxn>
                    <a:cxn ang="T11">
                      <a:pos x="T2" y="T3"/>
                    </a:cxn>
                    <a:cxn ang="T12">
                      <a:pos x="T4" y="T5"/>
                    </a:cxn>
                    <a:cxn ang="T13">
                      <a:pos x="T6" y="T7"/>
                    </a:cxn>
                    <a:cxn ang="T14">
                      <a:pos x="T8" y="T9"/>
                    </a:cxn>
                  </a:cxnLst>
                  <a:rect l="T15" t="T16" r="T17" b="T18"/>
                  <a:pathLst>
                    <a:path w="32" h="43">
                      <a:moveTo>
                        <a:pt x="0" y="12"/>
                      </a:moveTo>
                      <a:lnTo>
                        <a:pt x="21" y="0"/>
                      </a:lnTo>
                      <a:lnTo>
                        <a:pt x="32" y="24"/>
                      </a:lnTo>
                      <a:lnTo>
                        <a:pt x="21" y="43"/>
                      </a:lnTo>
                      <a:lnTo>
                        <a:pt x="0" y="12"/>
                      </a:lnTo>
                      <a:close/>
                    </a:path>
                  </a:pathLst>
                </a:custGeom>
                <a:grpFill/>
                <a:ln w="9525">
                  <a:solidFill>
                    <a:schemeClr val="tx1"/>
                  </a:solidFill>
                  <a:round/>
                  <a:headEnd/>
                  <a:tailEnd/>
                </a:ln>
              </p:spPr>
              <p:txBody>
                <a:bodyPr/>
                <a:lstStyle/>
                <a:p>
                  <a:pPr>
                    <a:defRPr/>
                  </a:pPr>
                  <a:endParaRPr lang="en-US" sz="1100" dirty="0">
                    <a:latin typeface="+mj-lt"/>
                  </a:endParaRPr>
                </a:p>
              </p:txBody>
            </p:sp>
            <p:grpSp>
              <p:nvGrpSpPr>
                <p:cNvPr id="85" name="Group 111"/>
                <p:cNvGrpSpPr/>
                <p:nvPr/>
              </p:nvGrpSpPr>
              <p:grpSpPr bwMode="gray">
                <a:xfrm>
                  <a:off x="4014563" y="3578865"/>
                  <a:ext cx="877041" cy="745485"/>
                  <a:chOff x="4014563" y="3578865"/>
                  <a:chExt cx="877041" cy="745485"/>
                </a:xfrm>
                <a:grpFill/>
              </p:grpSpPr>
              <p:sp>
                <p:nvSpPr>
                  <p:cNvPr id="159" name="Freeform 36"/>
                  <p:cNvSpPr>
                    <a:spLocks/>
                  </p:cNvSpPr>
                  <p:nvPr/>
                </p:nvSpPr>
                <p:spPr bwMode="gray">
                  <a:xfrm>
                    <a:off x="4014563" y="3578865"/>
                    <a:ext cx="877041" cy="665577"/>
                  </a:xfrm>
                  <a:custGeom>
                    <a:avLst/>
                    <a:gdLst>
                      <a:gd name="T0" fmla="*/ 0 w 1801"/>
                      <a:gd name="T1" fmla="*/ 130 h 1367"/>
                      <a:gd name="T2" fmla="*/ 43 w 1801"/>
                      <a:gd name="T3" fmla="*/ 209 h 1367"/>
                      <a:gd name="T4" fmla="*/ 38 w 1801"/>
                      <a:gd name="T5" fmla="*/ 263 h 1367"/>
                      <a:gd name="T6" fmla="*/ 102 w 1801"/>
                      <a:gd name="T7" fmla="*/ 222 h 1367"/>
                      <a:gd name="T8" fmla="*/ 117 w 1801"/>
                      <a:gd name="T9" fmla="*/ 212 h 1367"/>
                      <a:gd name="T10" fmla="*/ 149 w 1801"/>
                      <a:gd name="T11" fmla="*/ 208 h 1367"/>
                      <a:gd name="T12" fmla="*/ 225 w 1801"/>
                      <a:gd name="T13" fmla="*/ 214 h 1367"/>
                      <a:gd name="T14" fmla="*/ 264 w 1801"/>
                      <a:gd name="T15" fmla="*/ 199 h 1367"/>
                      <a:gd name="T16" fmla="*/ 330 w 1801"/>
                      <a:gd name="T17" fmla="*/ 202 h 1367"/>
                      <a:gd name="T18" fmla="*/ 274 w 1801"/>
                      <a:gd name="T19" fmla="*/ 220 h 1367"/>
                      <a:gd name="T20" fmla="*/ 420 w 1801"/>
                      <a:gd name="T21" fmla="*/ 269 h 1367"/>
                      <a:gd name="T22" fmla="*/ 430 w 1801"/>
                      <a:gd name="T23" fmla="*/ 260 h 1367"/>
                      <a:gd name="T24" fmla="*/ 435 w 1801"/>
                      <a:gd name="T25" fmla="*/ 274 h 1367"/>
                      <a:gd name="T26" fmla="*/ 520 w 1801"/>
                      <a:gd name="T27" fmla="*/ 334 h 1367"/>
                      <a:gd name="T28" fmla="*/ 494 w 1801"/>
                      <a:gd name="T29" fmla="*/ 327 h 1367"/>
                      <a:gd name="T30" fmla="*/ 557 w 1801"/>
                      <a:gd name="T31" fmla="*/ 357 h 1367"/>
                      <a:gd name="T32" fmla="*/ 609 w 1801"/>
                      <a:gd name="T33" fmla="*/ 332 h 1367"/>
                      <a:gd name="T34" fmla="*/ 682 w 1801"/>
                      <a:gd name="T35" fmla="*/ 298 h 1367"/>
                      <a:gd name="T36" fmla="*/ 709 w 1801"/>
                      <a:gd name="T37" fmla="*/ 279 h 1367"/>
                      <a:gd name="T38" fmla="*/ 801 w 1801"/>
                      <a:gd name="T39" fmla="*/ 238 h 1367"/>
                      <a:gd name="T40" fmla="*/ 906 w 1801"/>
                      <a:gd name="T41" fmla="*/ 319 h 1367"/>
                      <a:gd name="T42" fmla="*/ 948 w 1801"/>
                      <a:gd name="T43" fmla="*/ 365 h 1367"/>
                      <a:gd name="T44" fmla="*/ 1006 w 1801"/>
                      <a:gd name="T45" fmla="*/ 412 h 1367"/>
                      <a:gd name="T46" fmla="*/ 1085 w 1801"/>
                      <a:gd name="T47" fmla="*/ 436 h 1367"/>
                      <a:gd name="T48" fmla="*/ 1138 w 1801"/>
                      <a:gd name="T49" fmla="*/ 547 h 1367"/>
                      <a:gd name="T50" fmla="*/ 1125 w 1801"/>
                      <a:gd name="T51" fmla="*/ 764 h 1367"/>
                      <a:gd name="T52" fmla="*/ 1169 w 1801"/>
                      <a:gd name="T53" fmla="*/ 750 h 1367"/>
                      <a:gd name="T54" fmla="*/ 1147 w 1801"/>
                      <a:gd name="T55" fmla="*/ 710 h 1367"/>
                      <a:gd name="T56" fmla="*/ 1184 w 1801"/>
                      <a:gd name="T57" fmla="*/ 727 h 1367"/>
                      <a:gd name="T58" fmla="*/ 1208 w 1801"/>
                      <a:gd name="T59" fmla="*/ 723 h 1367"/>
                      <a:gd name="T60" fmla="*/ 1172 w 1801"/>
                      <a:gd name="T61" fmla="*/ 835 h 1367"/>
                      <a:gd name="T62" fmla="*/ 1199 w 1801"/>
                      <a:gd name="T63" fmla="*/ 868 h 1367"/>
                      <a:gd name="T64" fmla="*/ 1262 w 1801"/>
                      <a:gd name="T65" fmla="*/ 970 h 1367"/>
                      <a:gd name="T66" fmla="*/ 1308 w 1801"/>
                      <a:gd name="T67" fmla="*/ 995 h 1367"/>
                      <a:gd name="T68" fmla="*/ 1302 w 1801"/>
                      <a:gd name="T69" fmla="*/ 962 h 1367"/>
                      <a:gd name="T70" fmla="*/ 1315 w 1801"/>
                      <a:gd name="T71" fmla="*/ 970 h 1367"/>
                      <a:gd name="T72" fmla="*/ 1340 w 1801"/>
                      <a:gd name="T73" fmla="*/ 1055 h 1367"/>
                      <a:gd name="T74" fmla="*/ 1394 w 1801"/>
                      <a:gd name="T75" fmla="*/ 1105 h 1367"/>
                      <a:gd name="T76" fmla="*/ 1478 w 1801"/>
                      <a:gd name="T77" fmla="*/ 1197 h 1367"/>
                      <a:gd name="T78" fmla="*/ 1585 w 1801"/>
                      <a:gd name="T79" fmla="*/ 1309 h 1367"/>
                      <a:gd name="T80" fmla="*/ 1641 w 1801"/>
                      <a:gd name="T81" fmla="*/ 1335 h 1367"/>
                      <a:gd name="T82" fmla="*/ 1585 w 1801"/>
                      <a:gd name="T83" fmla="*/ 1329 h 1367"/>
                      <a:gd name="T84" fmla="*/ 1651 w 1801"/>
                      <a:gd name="T85" fmla="*/ 1353 h 1367"/>
                      <a:gd name="T86" fmla="*/ 1717 w 1801"/>
                      <a:gd name="T87" fmla="*/ 1329 h 1367"/>
                      <a:gd name="T88" fmla="*/ 1772 w 1801"/>
                      <a:gd name="T89" fmla="*/ 1287 h 1367"/>
                      <a:gd name="T90" fmla="*/ 1783 w 1801"/>
                      <a:gd name="T91" fmla="*/ 1169 h 1367"/>
                      <a:gd name="T92" fmla="*/ 1784 w 1801"/>
                      <a:gd name="T93" fmla="*/ 957 h 1367"/>
                      <a:gd name="T94" fmla="*/ 1570 w 1801"/>
                      <a:gd name="T95" fmla="*/ 574 h 1367"/>
                      <a:gd name="T96" fmla="*/ 1544 w 1801"/>
                      <a:gd name="T97" fmla="*/ 471 h 1367"/>
                      <a:gd name="T98" fmla="*/ 1329 w 1801"/>
                      <a:gd name="T99" fmla="*/ 58 h 1367"/>
                      <a:gd name="T100" fmla="*/ 1301 w 1801"/>
                      <a:gd name="T101" fmla="*/ 15 h 1367"/>
                      <a:gd name="T102" fmla="*/ 1195 w 1801"/>
                      <a:gd name="T103" fmla="*/ 27 h 1367"/>
                      <a:gd name="T104" fmla="*/ 1172 w 1801"/>
                      <a:gd name="T105" fmla="*/ 116 h 1367"/>
                      <a:gd name="T106" fmla="*/ 596 w 1801"/>
                      <a:gd name="T107" fmla="*/ 108 h 1367"/>
                      <a:gd name="T108" fmla="*/ 4 w 1801"/>
                      <a:gd name="T109" fmla="*/ 91 h 136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801"/>
                      <a:gd name="T166" fmla="*/ 0 h 1367"/>
                      <a:gd name="T167" fmla="*/ 1801 w 1801"/>
                      <a:gd name="T168" fmla="*/ 1367 h 136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801" h="1367">
                        <a:moveTo>
                          <a:pt x="4" y="91"/>
                        </a:moveTo>
                        <a:lnTo>
                          <a:pt x="0" y="130"/>
                        </a:lnTo>
                        <a:lnTo>
                          <a:pt x="52" y="180"/>
                        </a:lnTo>
                        <a:lnTo>
                          <a:pt x="43" y="209"/>
                        </a:lnTo>
                        <a:lnTo>
                          <a:pt x="60" y="228"/>
                        </a:lnTo>
                        <a:lnTo>
                          <a:pt x="38" y="263"/>
                        </a:lnTo>
                        <a:lnTo>
                          <a:pt x="77" y="246"/>
                        </a:lnTo>
                        <a:lnTo>
                          <a:pt x="102" y="222"/>
                        </a:lnTo>
                        <a:lnTo>
                          <a:pt x="99" y="194"/>
                        </a:lnTo>
                        <a:lnTo>
                          <a:pt x="117" y="212"/>
                        </a:lnTo>
                        <a:lnTo>
                          <a:pt x="134" y="187"/>
                        </a:lnTo>
                        <a:lnTo>
                          <a:pt x="149" y="208"/>
                        </a:lnTo>
                        <a:lnTo>
                          <a:pt x="108" y="240"/>
                        </a:lnTo>
                        <a:lnTo>
                          <a:pt x="225" y="214"/>
                        </a:lnTo>
                        <a:lnTo>
                          <a:pt x="248" y="189"/>
                        </a:lnTo>
                        <a:lnTo>
                          <a:pt x="264" y="199"/>
                        </a:lnTo>
                        <a:lnTo>
                          <a:pt x="307" y="188"/>
                        </a:lnTo>
                        <a:lnTo>
                          <a:pt x="330" y="202"/>
                        </a:lnTo>
                        <a:lnTo>
                          <a:pt x="249" y="212"/>
                        </a:lnTo>
                        <a:lnTo>
                          <a:pt x="274" y="220"/>
                        </a:lnTo>
                        <a:lnTo>
                          <a:pt x="364" y="239"/>
                        </a:lnTo>
                        <a:lnTo>
                          <a:pt x="420" y="269"/>
                        </a:lnTo>
                        <a:lnTo>
                          <a:pt x="404" y="227"/>
                        </a:lnTo>
                        <a:lnTo>
                          <a:pt x="430" y="260"/>
                        </a:lnTo>
                        <a:lnTo>
                          <a:pt x="468" y="265"/>
                        </a:lnTo>
                        <a:lnTo>
                          <a:pt x="435" y="274"/>
                        </a:lnTo>
                        <a:lnTo>
                          <a:pt x="498" y="307"/>
                        </a:lnTo>
                        <a:lnTo>
                          <a:pt x="520" y="334"/>
                        </a:lnTo>
                        <a:lnTo>
                          <a:pt x="519" y="365"/>
                        </a:lnTo>
                        <a:lnTo>
                          <a:pt x="494" y="327"/>
                        </a:lnTo>
                        <a:lnTo>
                          <a:pt x="508" y="375"/>
                        </a:lnTo>
                        <a:lnTo>
                          <a:pt x="557" y="357"/>
                        </a:lnTo>
                        <a:lnTo>
                          <a:pt x="588" y="354"/>
                        </a:lnTo>
                        <a:lnTo>
                          <a:pt x="609" y="332"/>
                        </a:lnTo>
                        <a:lnTo>
                          <a:pt x="617" y="346"/>
                        </a:lnTo>
                        <a:lnTo>
                          <a:pt x="682" y="298"/>
                        </a:lnTo>
                        <a:lnTo>
                          <a:pt x="724" y="295"/>
                        </a:lnTo>
                        <a:lnTo>
                          <a:pt x="709" y="279"/>
                        </a:lnTo>
                        <a:lnTo>
                          <a:pt x="739" y="241"/>
                        </a:lnTo>
                        <a:lnTo>
                          <a:pt x="801" y="238"/>
                        </a:lnTo>
                        <a:lnTo>
                          <a:pt x="869" y="271"/>
                        </a:lnTo>
                        <a:lnTo>
                          <a:pt x="906" y="319"/>
                        </a:lnTo>
                        <a:lnTo>
                          <a:pt x="939" y="328"/>
                        </a:lnTo>
                        <a:lnTo>
                          <a:pt x="948" y="365"/>
                        </a:lnTo>
                        <a:lnTo>
                          <a:pt x="989" y="385"/>
                        </a:lnTo>
                        <a:lnTo>
                          <a:pt x="1006" y="412"/>
                        </a:lnTo>
                        <a:lnTo>
                          <a:pt x="1028" y="434"/>
                        </a:lnTo>
                        <a:lnTo>
                          <a:pt x="1085" y="436"/>
                        </a:lnTo>
                        <a:lnTo>
                          <a:pt x="1107" y="474"/>
                        </a:lnTo>
                        <a:lnTo>
                          <a:pt x="1138" y="547"/>
                        </a:lnTo>
                        <a:lnTo>
                          <a:pt x="1121" y="682"/>
                        </a:lnTo>
                        <a:lnTo>
                          <a:pt x="1125" y="764"/>
                        </a:lnTo>
                        <a:lnTo>
                          <a:pt x="1162" y="789"/>
                        </a:lnTo>
                        <a:lnTo>
                          <a:pt x="1169" y="750"/>
                        </a:lnTo>
                        <a:lnTo>
                          <a:pt x="1144" y="737"/>
                        </a:lnTo>
                        <a:lnTo>
                          <a:pt x="1147" y="710"/>
                        </a:lnTo>
                        <a:lnTo>
                          <a:pt x="1158" y="717"/>
                        </a:lnTo>
                        <a:lnTo>
                          <a:pt x="1184" y="727"/>
                        </a:lnTo>
                        <a:lnTo>
                          <a:pt x="1191" y="753"/>
                        </a:lnTo>
                        <a:lnTo>
                          <a:pt x="1208" y="723"/>
                        </a:lnTo>
                        <a:lnTo>
                          <a:pt x="1222" y="749"/>
                        </a:lnTo>
                        <a:lnTo>
                          <a:pt x="1172" y="835"/>
                        </a:lnTo>
                        <a:lnTo>
                          <a:pt x="1170" y="851"/>
                        </a:lnTo>
                        <a:lnTo>
                          <a:pt x="1199" y="868"/>
                        </a:lnTo>
                        <a:lnTo>
                          <a:pt x="1227" y="936"/>
                        </a:lnTo>
                        <a:lnTo>
                          <a:pt x="1262" y="970"/>
                        </a:lnTo>
                        <a:lnTo>
                          <a:pt x="1280" y="995"/>
                        </a:lnTo>
                        <a:lnTo>
                          <a:pt x="1308" y="995"/>
                        </a:lnTo>
                        <a:lnTo>
                          <a:pt x="1279" y="955"/>
                        </a:lnTo>
                        <a:lnTo>
                          <a:pt x="1302" y="962"/>
                        </a:lnTo>
                        <a:lnTo>
                          <a:pt x="1329" y="953"/>
                        </a:lnTo>
                        <a:lnTo>
                          <a:pt x="1315" y="970"/>
                        </a:lnTo>
                        <a:lnTo>
                          <a:pt x="1327" y="1007"/>
                        </a:lnTo>
                        <a:lnTo>
                          <a:pt x="1340" y="1055"/>
                        </a:lnTo>
                        <a:lnTo>
                          <a:pt x="1384" y="1075"/>
                        </a:lnTo>
                        <a:lnTo>
                          <a:pt x="1394" y="1105"/>
                        </a:lnTo>
                        <a:lnTo>
                          <a:pt x="1431" y="1197"/>
                        </a:lnTo>
                        <a:lnTo>
                          <a:pt x="1478" y="1197"/>
                        </a:lnTo>
                        <a:lnTo>
                          <a:pt x="1518" y="1219"/>
                        </a:lnTo>
                        <a:lnTo>
                          <a:pt x="1585" y="1309"/>
                        </a:lnTo>
                        <a:lnTo>
                          <a:pt x="1640" y="1319"/>
                        </a:lnTo>
                        <a:lnTo>
                          <a:pt x="1641" y="1335"/>
                        </a:lnTo>
                        <a:lnTo>
                          <a:pt x="1628" y="1346"/>
                        </a:lnTo>
                        <a:lnTo>
                          <a:pt x="1585" y="1329"/>
                        </a:lnTo>
                        <a:lnTo>
                          <a:pt x="1599" y="1367"/>
                        </a:lnTo>
                        <a:lnTo>
                          <a:pt x="1651" y="1353"/>
                        </a:lnTo>
                        <a:lnTo>
                          <a:pt x="1693" y="1352"/>
                        </a:lnTo>
                        <a:lnTo>
                          <a:pt x="1717" y="1329"/>
                        </a:lnTo>
                        <a:lnTo>
                          <a:pt x="1752" y="1327"/>
                        </a:lnTo>
                        <a:lnTo>
                          <a:pt x="1772" y="1287"/>
                        </a:lnTo>
                        <a:lnTo>
                          <a:pt x="1765" y="1231"/>
                        </a:lnTo>
                        <a:lnTo>
                          <a:pt x="1783" y="1169"/>
                        </a:lnTo>
                        <a:lnTo>
                          <a:pt x="1801" y="1176"/>
                        </a:lnTo>
                        <a:lnTo>
                          <a:pt x="1784" y="957"/>
                        </a:lnTo>
                        <a:lnTo>
                          <a:pt x="1765" y="891"/>
                        </a:lnTo>
                        <a:lnTo>
                          <a:pt x="1570" y="574"/>
                        </a:lnTo>
                        <a:lnTo>
                          <a:pt x="1525" y="471"/>
                        </a:lnTo>
                        <a:lnTo>
                          <a:pt x="1544" y="471"/>
                        </a:lnTo>
                        <a:lnTo>
                          <a:pt x="1417" y="269"/>
                        </a:lnTo>
                        <a:lnTo>
                          <a:pt x="1329" y="58"/>
                        </a:lnTo>
                        <a:lnTo>
                          <a:pt x="1323" y="21"/>
                        </a:lnTo>
                        <a:lnTo>
                          <a:pt x="1301" y="15"/>
                        </a:lnTo>
                        <a:lnTo>
                          <a:pt x="1217" y="0"/>
                        </a:lnTo>
                        <a:lnTo>
                          <a:pt x="1195" y="27"/>
                        </a:lnTo>
                        <a:lnTo>
                          <a:pt x="1209" y="119"/>
                        </a:lnTo>
                        <a:lnTo>
                          <a:pt x="1172" y="116"/>
                        </a:lnTo>
                        <a:lnTo>
                          <a:pt x="1166" y="74"/>
                        </a:lnTo>
                        <a:lnTo>
                          <a:pt x="596" y="108"/>
                        </a:lnTo>
                        <a:lnTo>
                          <a:pt x="555" y="41"/>
                        </a:lnTo>
                        <a:lnTo>
                          <a:pt x="4" y="91"/>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60" name="Freeform 37"/>
                  <p:cNvSpPr>
                    <a:spLocks/>
                  </p:cNvSpPr>
                  <p:nvPr/>
                </p:nvSpPr>
                <p:spPr bwMode="gray">
                  <a:xfrm>
                    <a:off x="4739584" y="4294141"/>
                    <a:ext cx="43852" cy="30209"/>
                  </a:xfrm>
                  <a:custGeom>
                    <a:avLst/>
                    <a:gdLst>
                      <a:gd name="T0" fmla="*/ 0 w 91"/>
                      <a:gd name="T1" fmla="*/ 62 h 62"/>
                      <a:gd name="T2" fmla="*/ 5 w 91"/>
                      <a:gd name="T3" fmla="*/ 28 h 62"/>
                      <a:gd name="T4" fmla="*/ 36 w 91"/>
                      <a:gd name="T5" fmla="*/ 23 h 62"/>
                      <a:gd name="T6" fmla="*/ 40 w 91"/>
                      <a:gd name="T7" fmla="*/ 0 h 62"/>
                      <a:gd name="T8" fmla="*/ 91 w 91"/>
                      <a:gd name="T9" fmla="*/ 26 h 62"/>
                      <a:gd name="T10" fmla="*/ 41 w 91"/>
                      <a:gd name="T11" fmla="*/ 42 h 62"/>
                      <a:gd name="T12" fmla="*/ 16 w 91"/>
                      <a:gd name="T13" fmla="*/ 35 h 62"/>
                      <a:gd name="T14" fmla="*/ 25 w 91"/>
                      <a:gd name="T15" fmla="*/ 50 h 62"/>
                      <a:gd name="T16" fmla="*/ 0 w 91"/>
                      <a:gd name="T17" fmla="*/ 62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1"/>
                      <a:gd name="T28" fmla="*/ 0 h 62"/>
                      <a:gd name="T29" fmla="*/ 91 w 91"/>
                      <a:gd name="T30" fmla="*/ 62 h 6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1" h="62">
                        <a:moveTo>
                          <a:pt x="0" y="62"/>
                        </a:moveTo>
                        <a:lnTo>
                          <a:pt x="5" y="28"/>
                        </a:lnTo>
                        <a:lnTo>
                          <a:pt x="36" y="23"/>
                        </a:lnTo>
                        <a:lnTo>
                          <a:pt x="40" y="0"/>
                        </a:lnTo>
                        <a:lnTo>
                          <a:pt x="91" y="26"/>
                        </a:lnTo>
                        <a:lnTo>
                          <a:pt x="41" y="42"/>
                        </a:lnTo>
                        <a:lnTo>
                          <a:pt x="16" y="35"/>
                        </a:lnTo>
                        <a:lnTo>
                          <a:pt x="25" y="50"/>
                        </a:lnTo>
                        <a:lnTo>
                          <a:pt x="0" y="62"/>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61" name="Freeform 38"/>
                  <p:cNvSpPr>
                    <a:spLocks/>
                  </p:cNvSpPr>
                  <p:nvPr/>
                </p:nvSpPr>
                <p:spPr bwMode="gray">
                  <a:xfrm>
                    <a:off x="4801951" y="4275625"/>
                    <a:ext cx="35082" cy="23388"/>
                  </a:xfrm>
                  <a:custGeom>
                    <a:avLst/>
                    <a:gdLst>
                      <a:gd name="T0" fmla="*/ 0 w 74"/>
                      <a:gd name="T1" fmla="*/ 44 h 46"/>
                      <a:gd name="T2" fmla="*/ 12 w 74"/>
                      <a:gd name="T3" fmla="*/ 46 h 46"/>
                      <a:gd name="T4" fmla="*/ 74 w 74"/>
                      <a:gd name="T5" fmla="*/ 0 h 46"/>
                      <a:gd name="T6" fmla="*/ 18 w 74"/>
                      <a:gd name="T7" fmla="*/ 33 h 46"/>
                      <a:gd name="T8" fmla="*/ 0 w 74"/>
                      <a:gd name="T9" fmla="*/ 44 h 46"/>
                      <a:gd name="T10" fmla="*/ 0 60000 65536"/>
                      <a:gd name="T11" fmla="*/ 0 60000 65536"/>
                      <a:gd name="T12" fmla="*/ 0 60000 65536"/>
                      <a:gd name="T13" fmla="*/ 0 60000 65536"/>
                      <a:gd name="T14" fmla="*/ 0 60000 65536"/>
                      <a:gd name="T15" fmla="*/ 0 w 74"/>
                      <a:gd name="T16" fmla="*/ 0 h 46"/>
                      <a:gd name="T17" fmla="*/ 74 w 74"/>
                      <a:gd name="T18" fmla="*/ 46 h 46"/>
                    </a:gdLst>
                    <a:ahLst/>
                    <a:cxnLst>
                      <a:cxn ang="T10">
                        <a:pos x="T0" y="T1"/>
                      </a:cxn>
                      <a:cxn ang="T11">
                        <a:pos x="T2" y="T3"/>
                      </a:cxn>
                      <a:cxn ang="T12">
                        <a:pos x="T4" y="T5"/>
                      </a:cxn>
                      <a:cxn ang="T13">
                        <a:pos x="T6" y="T7"/>
                      </a:cxn>
                      <a:cxn ang="T14">
                        <a:pos x="T8" y="T9"/>
                      </a:cxn>
                    </a:cxnLst>
                    <a:rect l="T15" t="T16" r="T17" b="T18"/>
                    <a:pathLst>
                      <a:path w="74" h="46">
                        <a:moveTo>
                          <a:pt x="0" y="44"/>
                        </a:moveTo>
                        <a:lnTo>
                          <a:pt x="12" y="46"/>
                        </a:lnTo>
                        <a:lnTo>
                          <a:pt x="74" y="0"/>
                        </a:lnTo>
                        <a:lnTo>
                          <a:pt x="18" y="33"/>
                        </a:lnTo>
                        <a:lnTo>
                          <a:pt x="0" y="44"/>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62" name="Freeform 39"/>
                  <p:cNvSpPr>
                    <a:spLocks/>
                  </p:cNvSpPr>
                  <p:nvPr/>
                </p:nvSpPr>
                <p:spPr bwMode="gray">
                  <a:xfrm>
                    <a:off x="4862370" y="4207411"/>
                    <a:ext cx="24362" cy="44827"/>
                  </a:xfrm>
                  <a:custGeom>
                    <a:avLst/>
                    <a:gdLst>
                      <a:gd name="T0" fmla="*/ 0 w 49"/>
                      <a:gd name="T1" fmla="*/ 94 h 94"/>
                      <a:gd name="T2" fmla="*/ 26 w 49"/>
                      <a:gd name="T3" fmla="*/ 64 h 94"/>
                      <a:gd name="T4" fmla="*/ 49 w 49"/>
                      <a:gd name="T5" fmla="*/ 0 h 94"/>
                      <a:gd name="T6" fmla="*/ 33 w 49"/>
                      <a:gd name="T7" fmla="*/ 30 h 94"/>
                      <a:gd name="T8" fmla="*/ 0 w 49"/>
                      <a:gd name="T9" fmla="*/ 94 h 94"/>
                      <a:gd name="T10" fmla="*/ 0 60000 65536"/>
                      <a:gd name="T11" fmla="*/ 0 60000 65536"/>
                      <a:gd name="T12" fmla="*/ 0 60000 65536"/>
                      <a:gd name="T13" fmla="*/ 0 60000 65536"/>
                      <a:gd name="T14" fmla="*/ 0 60000 65536"/>
                      <a:gd name="T15" fmla="*/ 0 w 49"/>
                      <a:gd name="T16" fmla="*/ 0 h 94"/>
                      <a:gd name="T17" fmla="*/ 49 w 49"/>
                      <a:gd name="T18" fmla="*/ 94 h 94"/>
                    </a:gdLst>
                    <a:ahLst/>
                    <a:cxnLst>
                      <a:cxn ang="T10">
                        <a:pos x="T0" y="T1"/>
                      </a:cxn>
                      <a:cxn ang="T11">
                        <a:pos x="T2" y="T3"/>
                      </a:cxn>
                      <a:cxn ang="T12">
                        <a:pos x="T4" y="T5"/>
                      </a:cxn>
                      <a:cxn ang="T13">
                        <a:pos x="T6" y="T7"/>
                      </a:cxn>
                      <a:cxn ang="T14">
                        <a:pos x="T8" y="T9"/>
                      </a:cxn>
                    </a:cxnLst>
                    <a:rect l="T15" t="T16" r="T17" b="T18"/>
                    <a:pathLst>
                      <a:path w="49" h="94">
                        <a:moveTo>
                          <a:pt x="0" y="94"/>
                        </a:moveTo>
                        <a:lnTo>
                          <a:pt x="26" y="64"/>
                        </a:lnTo>
                        <a:lnTo>
                          <a:pt x="49" y="0"/>
                        </a:lnTo>
                        <a:lnTo>
                          <a:pt x="33" y="30"/>
                        </a:lnTo>
                        <a:lnTo>
                          <a:pt x="0" y="94"/>
                        </a:lnTo>
                        <a:close/>
                      </a:path>
                    </a:pathLst>
                  </a:custGeom>
                  <a:grpFill/>
                  <a:ln w="9525">
                    <a:solidFill>
                      <a:schemeClr val="tx1"/>
                    </a:solidFill>
                    <a:round/>
                    <a:headEnd/>
                    <a:tailEnd/>
                  </a:ln>
                </p:spPr>
                <p:txBody>
                  <a:bodyPr/>
                  <a:lstStyle/>
                  <a:p>
                    <a:pPr>
                      <a:defRPr/>
                    </a:pPr>
                    <a:endParaRPr lang="en-US" sz="1100" dirty="0">
                      <a:latin typeface="+mj-lt"/>
                    </a:endParaRPr>
                  </a:p>
                </p:txBody>
              </p:sp>
            </p:grpSp>
            <p:sp>
              <p:nvSpPr>
                <p:cNvPr id="86" name="Freeform 40"/>
                <p:cNvSpPr>
                  <a:spLocks/>
                </p:cNvSpPr>
                <p:nvPr/>
              </p:nvSpPr>
              <p:spPr bwMode="gray">
                <a:xfrm>
                  <a:off x="4172431" y="3090645"/>
                  <a:ext cx="524276" cy="545715"/>
                </a:xfrm>
                <a:custGeom>
                  <a:avLst/>
                  <a:gdLst>
                    <a:gd name="T0" fmla="*/ 0 w 1075"/>
                    <a:gd name="T1" fmla="*/ 63 h 1121"/>
                    <a:gd name="T2" fmla="*/ 142 w 1075"/>
                    <a:gd name="T3" fmla="*/ 581 h 1121"/>
                    <a:gd name="T4" fmla="*/ 195 w 1075"/>
                    <a:gd name="T5" fmla="*/ 669 h 1121"/>
                    <a:gd name="T6" fmla="*/ 214 w 1075"/>
                    <a:gd name="T7" fmla="*/ 733 h 1121"/>
                    <a:gd name="T8" fmla="*/ 191 w 1075"/>
                    <a:gd name="T9" fmla="*/ 779 h 1121"/>
                    <a:gd name="T10" fmla="*/ 183 w 1075"/>
                    <a:gd name="T11" fmla="*/ 848 h 1121"/>
                    <a:gd name="T12" fmla="*/ 230 w 1075"/>
                    <a:gd name="T13" fmla="*/ 1043 h 1121"/>
                    <a:gd name="T14" fmla="*/ 271 w 1075"/>
                    <a:gd name="T15" fmla="*/ 1110 h 1121"/>
                    <a:gd name="T16" fmla="*/ 841 w 1075"/>
                    <a:gd name="T17" fmla="*/ 1076 h 1121"/>
                    <a:gd name="T18" fmla="*/ 847 w 1075"/>
                    <a:gd name="T19" fmla="*/ 1118 h 1121"/>
                    <a:gd name="T20" fmla="*/ 884 w 1075"/>
                    <a:gd name="T21" fmla="*/ 1121 h 1121"/>
                    <a:gd name="T22" fmla="*/ 870 w 1075"/>
                    <a:gd name="T23" fmla="*/ 1029 h 1121"/>
                    <a:gd name="T24" fmla="*/ 892 w 1075"/>
                    <a:gd name="T25" fmla="*/ 1002 h 1121"/>
                    <a:gd name="T26" fmla="*/ 976 w 1075"/>
                    <a:gd name="T27" fmla="*/ 1017 h 1121"/>
                    <a:gd name="T28" fmla="*/ 989 w 1075"/>
                    <a:gd name="T29" fmla="*/ 954 h 1121"/>
                    <a:gd name="T30" fmla="*/ 976 w 1075"/>
                    <a:gd name="T31" fmla="*/ 949 h 1121"/>
                    <a:gd name="T32" fmla="*/ 995 w 1075"/>
                    <a:gd name="T33" fmla="*/ 932 h 1121"/>
                    <a:gd name="T34" fmla="*/ 964 w 1075"/>
                    <a:gd name="T35" fmla="*/ 915 h 1121"/>
                    <a:gd name="T36" fmla="*/ 982 w 1075"/>
                    <a:gd name="T37" fmla="*/ 895 h 1121"/>
                    <a:gd name="T38" fmla="*/ 978 w 1075"/>
                    <a:gd name="T39" fmla="*/ 863 h 1121"/>
                    <a:gd name="T40" fmla="*/ 1015 w 1075"/>
                    <a:gd name="T41" fmla="*/ 839 h 1121"/>
                    <a:gd name="T42" fmla="*/ 1002 w 1075"/>
                    <a:gd name="T43" fmla="*/ 806 h 1121"/>
                    <a:gd name="T44" fmla="*/ 1021 w 1075"/>
                    <a:gd name="T45" fmla="*/ 794 h 1121"/>
                    <a:gd name="T46" fmla="*/ 1029 w 1075"/>
                    <a:gd name="T47" fmla="*/ 766 h 1121"/>
                    <a:gd name="T48" fmla="*/ 1014 w 1075"/>
                    <a:gd name="T49" fmla="*/ 755 h 1121"/>
                    <a:gd name="T50" fmla="*/ 1042 w 1075"/>
                    <a:gd name="T51" fmla="*/ 731 h 1121"/>
                    <a:gd name="T52" fmla="*/ 1029 w 1075"/>
                    <a:gd name="T53" fmla="*/ 713 h 1121"/>
                    <a:gd name="T54" fmla="*/ 1052 w 1075"/>
                    <a:gd name="T55" fmla="*/ 713 h 1121"/>
                    <a:gd name="T56" fmla="*/ 1075 w 1075"/>
                    <a:gd name="T57" fmla="*/ 678 h 1121"/>
                    <a:gd name="T58" fmla="*/ 1067 w 1075"/>
                    <a:gd name="T59" fmla="*/ 669 h 1121"/>
                    <a:gd name="T60" fmla="*/ 1030 w 1075"/>
                    <a:gd name="T61" fmla="*/ 662 h 1121"/>
                    <a:gd name="T62" fmla="*/ 1006 w 1075"/>
                    <a:gd name="T63" fmla="*/ 631 h 1121"/>
                    <a:gd name="T64" fmla="*/ 963 w 1075"/>
                    <a:gd name="T65" fmla="*/ 554 h 1121"/>
                    <a:gd name="T66" fmla="*/ 939 w 1075"/>
                    <a:gd name="T67" fmla="*/ 544 h 1121"/>
                    <a:gd name="T68" fmla="*/ 891 w 1075"/>
                    <a:gd name="T69" fmla="*/ 442 h 1121"/>
                    <a:gd name="T70" fmla="*/ 821 w 1075"/>
                    <a:gd name="T71" fmla="*/ 399 h 1121"/>
                    <a:gd name="T72" fmla="*/ 772 w 1075"/>
                    <a:gd name="T73" fmla="*/ 330 h 1121"/>
                    <a:gd name="T74" fmla="*/ 651 w 1075"/>
                    <a:gd name="T75" fmla="*/ 242 h 1121"/>
                    <a:gd name="T76" fmla="*/ 593 w 1075"/>
                    <a:gd name="T77" fmla="*/ 163 h 1121"/>
                    <a:gd name="T78" fmla="*/ 463 w 1075"/>
                    <a:gd name="T79" fmla="*/ 78 h 1121"/>
                    <a:gd name="T80" fmla="*/ 505 w 1075"/>
                    <a:gd name="T81" fmla="*/ 0 h 1121"/>
                    <a:gd name="T82" fmla="*/ 260 w 1075"/>
                    <a:gd name="T83" fmla="*/ 30 h 1121"/>
                    <a:gd name="T84" fmla="*/ 0 w 1075"/>
                    <a:gd name="T85" fmla="*/ 63 h 112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75"/>
                    <a:gd name="T130" fmla="*/ 0 h 1121"/>
                    <a:gd name="T131" fmla="*/ 1075 w 1075"/>
                    <a:gd name="T132" fmla="*/ 1121 h 112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75" h="1121">
                      <a:moveTo>
                        <a:pt x="0" y="63"/>
                      </a:moveTo>
                      <a:lnTo>
                        <a:pt x="142" y="581"/>
                      </a:lnTo>
                      <a:lnTo>
                        <a:pt x="195" y="669"/>
                      </a:lnTo>
                      <a:lnTo>
                        <a:pt x="214" y="733"/>
                      </a:lnTo>
                      <a:lnTo>
                        <a:pt x="191" y="779"/>
                      </a:lnTo>
                      <a:lnTo>
                        <a:pt x="183" y="848"/>
                      </a:lnTo>
                      <a:lnTo>
                        <a:pt x="230" y="1043"/>
                      </a:lnTo>
                      <a:lnTo>
                        <a:pt x="271" y="1110"/>
                      </a:lnTo>
                      <a:lnTo>
                        <a:pt x="841" y="1076"/>
                      </a:lnTo>
                      <a:lnTo>
                        <a:pt x="847" y="1118"/>
                      </a:lnTo>
                      <a:lnTo>
                        <a:pt x="884" y="1121"/>
                      </a:lnTo>
                      <a:lnTo>
                        <a:pt x="870" y="1029"/>
                      </a:lnTo>
                      <a:lnTo>
                        <a:pt x="892" y="1002"/>
                      </a:lnTo>
                      <a:lnTo>
                        <a:pt x="976" y="1017"/>
                      </a:lnTo>
                      <a:lnTo>
                        <a:pt x="989" y="954"/>
                      </a:lnTo>
                      <a:lnTo>
                        <a:pt x="976" y="949"/>
                      </a:lnTo>
                      <a:lnTo>
                        <a:pt x="995" y="932"/>
                      </a:lnTo>
                      <a:lnTo>
                        <a:pt x="964" y="915"/>
                      </a:lnTo>
                      <a:lnTo>
                        <a:pt x="982" y="895"/>
                      </a:lnTo>
                      <a:lnTo>
                        <a:pt x="978" y="863"/>
                      </a:lnTo>
                      <a:lnTo>
                        <a:pt x="1015" y="839"/>
                      </a:lnTo>
                      <a:lnTo>
                        <a:pt x="1002" y="806"/>
                      </a:lnTo>
                      <a:lnTo>
                        <a:pt x="1021" y="794"/>
                      </a:lnTo>
                      <a:lnTo>
                        <a:pt x="1029" y="766"/>
                      </a:lnTo>
                      <a:lnTo>
                        <a:pt x="1014" y="755"/>
                      </a:lnTo>
                      <a:lnTo>
                        <a:pt x="1042" y="731"/>
                      </a:lnTo>
                      <a:lnTo>
                        <a:pt x="1029" y="713"/>
                      </a:lnTo>
                      <a:lnTo>
                        <a:pt x="1052" y="713"/>
                      </a:lnTo>
                      <a:lnTo>
                        <a:pt x="1075" y="678"/>
                      </a:lnTo>
                      <a:lnTo>
                        <a:pt x="1067" y="669"/>
                      </a:lnTo>
                      <a:lnTo>
                        <a:pt x="1030" y="662"/>
                      </a:lnTo>
                      <a:lnTo>
                        <a:pt x="1006" y="631"/>
                      </a:lnTo>
                      <a:lnTo>
                        <a:pt x="963" y="554"/>
                      </a:lnTo>
                      <a:lnTo>
                        <a:pt x="939" y="544"/>
                      </a:lnTo>
                      <a:lnTo>
                        <a:pt x="891" y="442"/>
                      </a:lnTo>
                      <a:lnTo>
                        <a:pt x="821" y="399"/>
                      </a:lnTo>
                      <a:lnTo>
                        <a:pt x="772" y="330"/>
                      </a:lnTo>
                      <a:lnTo>
                        <a:pt x="651" y="242"/>
                      </a:lnTo>
                      <a:lnTo>
                        <a:pt x="593" y="163"/>
                      </a:lnTo>
                      <a:lnTo>
                        <a:pt x="463" y="78"/>
                      </a:lnTo>
                      <a:lnTo>
                        <a:pt x="505" y="0"/>
                      </a:lnTo>
                      <a:lnTo>
                        <a:pt x="260" y="30"/>
                      </a:lnTo>
                      <a:lnTo>
                        <a:pt x="0" y="63"/>
                      </a:lnTo>
                      <a:close/>
                    </a:path>
                  </a:pathLst>
                </a:custGeom>
                <a:grpFill/>
                <a:ln w="9525">
                  <a:solidFill>
                    <a:schemeClr val="tx1"/>
                  </a:solidFill>
                  <a:round/>
                  <a:headEnd/>
                  <a:tailEnd/>
                </a:ln>
              </p:spPr>
              <p:txBody>
                <a:bodyPr/>
                <a:lstStyle/>
                <a:p>
                  <a:pPr>
                    <a:defRPr/>
                  </a:pPr>
                  <a:endParaRPr lang="en-US" sz="1100" dirty="0">
                    <a:latin typeface="+mj-lt"/>
                  </a:endParaRPr>
                </a:p>
              </p:txBody>
            </p:sp>
            <p:grpSp>
              <p:nvGrpSpPr>
                <p:cNvPr id="87" name="Group 109"/>
                <p:cNvGrpSpPr/>
                <p:nvPr/>
              </p:nvGrpSpPr>
              <p:grpSpPr bwMode="gray">
                <a:xfrm>
                  <a:off x="1821959" y="3830284"/>
                  <a:ext cx="566179" cy="396617"/>
                  <a:chOff x="1821959" y="3830284"/>
                  <a:chExt cx="566179" cy="396617"/>
                </a:xfrm>
                <a:grpFill/>
              </p:grpSpPr>
              <p:sp>
                <p:nvSpPr>
                  <p:cNvPr id="140" name="Freeform 41"/>
                  <p:cNvSpPr>
                    <a:spLocks/>
                  </p:cNvSpPr>
                  <p:nvPr/>
                </p:nvSpPr>
                <p:spPr bwMode="gray">
                  <a:xfrm>
                    <a:off x="1821959" y="3830284"/>
                    <a:ext cx="57495" cy="45801"/>
                  </a:xfrm>
                  <a:custGeom>
                    <a:avLst/>
                    <a:gdLst>
                      <a:gd name="T0" fmla="*/ 0 w 117"/>
                      <a:gd name="T1" fmla="*/ 55 h 95"/>
                      <a:gd name="T2" fmla="*/ 43 w 117"/>
                      <a:gd name="T3" fmla="*/ 95 h 95"/>
                      <a:gd name="T4" fmla="*/ 67 w 117"/>
                      <a:gd name="T5" fmla="*/ 94 h 95"/>
                      <a:gd name="T6" fmla="*/ 105 w 117"/>
                      <a:gd name="T7" fmla="*/ 71 h 95"/>
                      <a:gd name="T8" fmla="*/ 117 w 117"/>
                      <a:gd name="T9" fmla="*/ 20 h 95"/>
                      <a:gd name="T10" fmla="*/ 91 w 117"/>
                      <a:gd name="T11" fmla="*/ 0 h 95"/>
                      <a:gd name="T12" fmla="*/ 56 w 117"/>
                      <a:gd name="T13" fmla="*/ 6 h 95"/>
                      <a:gd name="T14" fmla="*/ 0 w 117"/>
                      <a:gd name="T15" fmla="*/ 55 h 95"/>
                      <a:gd name="T16" fmla="*/ 0 60000 65536"/>
                      <a:gd name="T17" fmla="*/ 0 60000 65536"/>
                      <a:gd name="T18" fmla="*/ 0 60000 65536"/>
                      <a:gd name="T19" fmla="*/ 0 60000 65536"/>
                      <a:gd name="T20" fmla="*/ 0 60000 65536"/>
                      <a:gd name="T21" fmla="*/ 0 60000 65536"/>
                      <a:gd name="T22" fmla="*/ 0 60000 65536"/>
                      <a:gd name="T23" fmla="*/ 0 60000 65536"/>
                      <a:gd name="T24" fmla="*/ 0 w 117"/>
                      <a:gd name="T25" fmla="*/ 0 h 95"/>
                      <a:gd name="T26" fmla="*/ 117 w 117"/>
                      <a:gd name="T27" fmla="*/ 95 h 9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7" h="95">
                        <a:moveTo>
                          <a:pt x="0" y="55"/>
                        </a:moveTo>
                        <a:lnTo>
                          <a:pt x="43" y="95"/>
                        </a:lnTo>
                        <a:lnTo>
                          <a:pt x="67" y="94"/>
                        </a:lnTo>
                        <a:lnTo>
                          <a:pt x="105" y="71"/>
                        </a:lnTo>
                        <a:lnTo>
                          <a:pt x="117" y="20"/>
                        </a:lnTo>
                        <a:lnTo>
                          <a:pt x="91" y="0"/>
                        </a:lnTo>
                        <a:lnTo>
                          <a:pt x="56" y="6"/>
                        </a:lnTo>
                        <a:lnTo>
                          <a:pt x="0" y="55"/>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41" name="Freeform 42"/>
                  <p:cNvSpPr>
                    <a:spLocks/>
                  </p:cNvSpPr>
                  <p:nvPr/>
                </p:nvSpPr>
                <p:spPr bwMode="gray">
                  <a:xfrm>
                    <a:off x="1996393" y="3896549"/>
                    <a:ext cx="65291" cy="55546"/>
                  </a:xfrm>
                  <a:custGeom>
                    <a:avLst/>
                    <a:gdLst>
                      <a:gd name="T0" fmla="*/ 0 w 134"/>
                      <a:gd name="T1" fmla="*/ 30 h 115"/>
                      <a:gd name="T2" fmla="*/ 29 w 134"/>
                      <a:gd name="T3" fmla="*/ 96 h 115"/>
                      <a:gd name="T4" fmla="*/ 59 w 134"/>
                      <a:gd name="T5" fmla="*/ 95 h 115"/>
                      <a:gd name="T6" fmla="*/ 62 w 134"/>
                      <a:gd name="T7" fmla="*/ 76 h 115"/>
                      <a:gd name="T8" fmla="*/ 102 w 134"/>
                      <a:gd name="T9" fmla="*/ 115 h 115"/>
                      <a:gd name="T10" fmla="*/ 134 w 134"/>
                      <a:gd name="T11" fmla="*/ 109 h 115"/>
                      <a:gd name="T12" fmla="*/ 127 w 134"/>
                      <a:gd name="T13" fmla="*/ 71 h 115"/>
                      <a:gd name="T14" fmla="*/ 97 w 134"/>
                      <a:gd name="T15" fmla="*/ 62 h 115"/>
                      <a:gd name="T16" fmla="*/ 71 w 134"/>
                      <a:gd name="T17" fmla="*/ 0 h 115"/>
                      <a:gd name="T18" fmla="*/ 0 w 134"/>
                      <a:gd name="T19" fmla="*/ 30 h 1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4"/>
                      <a:gd name="T31" fmla="*/ 0 h 115"/>
                      <a:gd name="T32" fmla="*/ 134 w 134"/>
                      <a:gd name="T33" fmla="*/ 115 h 11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4" h="115">
                        <a:moveTo>
                          <a:pt x="0" y="30"/>
                        </a:moveTo>
                        <a:lnTo>
                          <a:pt x="29" y="96"/>
                        </a:lnTo>
                        <a:lnTo>
                          <a:pt x="59" y="95"/>
                        </a:lnTo>
                        <a:lnTo>
                          <a:pt x="62" y="76"/>
                        </a:lnTo>
                        <a:lnTo>
                          <a:pt x="102" y="115"/>
                        </a:lnTo>
                        <a:lnTo>
                          <a:pt x="134" y="109"/>
                        </a:lnTo>
                        <a:lnTo>
                          <a:pt x="127" y="71"/>
                        </a:lnTo>
                        <a:lnTo>
                          <a:pt x="97" y="62"/>
                        </a:lnTo>
                        <a:lnTo>
                          <a:pt x="71" y="0"/>
                        </a:lnTo>
                        <a:lnTo>
                          <a:pt x="0" y="30"/>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42" name="Freeform 43"/>
                  <p:cNvSpPr>
                    <a:spLocks/>
                  </p:cNvSpPr>
                  <p:nvPr/>
                </p:nvSpPr>
                <p:spPr bwMode="gray">
                  <a:xfrm>
                    <a:off x="2101638" y="3955018"/>
                    <a:ext cx="67240" cy="18515"/>
                  </a:xfrm>
                  <a:custGeom>
                    <a:avLst/>
                    <a:gdLst>
                      <a:gd name="T0" fmla="*/ 0 w 138"/>
                      <a:gd name="T1" fmla="*/ 31 h 37"/>
                      <a:gd name="T2" fmla="*/ 15 w 138"/>
                      <a:gd name="T3" fmla="*/ 0 h 37"/>
                      <a:gd name="T4" fmla="*/ 138 w 138"/>
                      <a:gd name="T5" fmla="*/ 13 h 37"/>
                      <a:gd name="T6" fmla="*/ 112 w 138"/>
                      <a:gd name="T7" fmla="*/ 37 h 37"/>
                      <a:gd name="T8" fmla="*/ 0 w 138"/>
                      <a:gd name="T9" fmla="*/ 31 h 37"/>
                      <a:gd name="T10" fmla="*/ 0 60000 65536"/>
                      <a:gd name="T11" fmla="*/ 0 60000 65536"/>
                      <a:gd name="T12" fmla="*/ 0 60000 65536"/>
                      <a:gd name="T13" fmla="*/ 0 60000 65536"/>
                      <a:gd name="T14" fmla="*/ 0 60000 65536"/>
                      <a:gd name="T15" fmla="*/ 0 w 138"/>
                      <a:gd name="T16" fmla="*/ 0 h 37"/>
                      <a:gd name="T17" fmla="*/ 138 w 138"/>
                      <a:gd name="T18" fmla="*/ 37 h 37"/>
                    </a:gdLst>
                    <a:ahLst/>
                    <a:cxnLst>
                      <a:cxn ang="T10">
                        <a:pos x="T0" y="T1"/>
                      </a:cxn>
                      <a:cxn ang="T11">
                        <a:pos x="T2" y="T3"/>
                      </a:cxn>
                      <a:cxn ang="T12">
                        <a:pos x="T4" y="T5"/>
                      </a:cxn>
                      <a:cxn ang="T13">
                        <a:pos x="T6" y="T7"/>
                      </a:cxn>
                      <a:cxn ang="T14">
                        <a:pos x="T8" y="T9"/>
                      </a:cxn>
                    </a:cxnLst>
                    <a:rect l="T15" t="T16" r="T17" b="T18"/>
                    <a:pathLst>
                      <a:path w="138" h="37">
                        <a:moveTo>
                          <a:pt x="0" y="31"/>
                        </a:moveTo>
                        <a:lnTo>
                          <a:pt x="15" y="0"/>
                        </a:lnTo>
                        <a:lnTo>
                          <a:pt x="138" y="13"/>
                        </a:lnTo>
                        <a:lnTo>
                          <a:pt x="112" y="37"/>
                        </a:lnTo>
                        <a:lnTo>
                          <a:pt x="0" y="31"/>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43" name="Freeform 44"/>
                  <p:cNvSpPr>
                    <a:spLocks/>
                  </p:cNvSpPr>
                  <p:nvPr/>
                </p:nvSpPr>
                <p:spPr bwMode="gray">
                  <a:xfrm>
                    <a:off x="2131847" y="3992049"/>
                    <a:ext cx="26311" cy="19490"/>
                  </a:xfrm>
                  <a:custGeom>
                    <a:avLst/>
                    <a:gdLst>
                      <a:gd name="T0" fmla="*/ 0 w 56"/>
                      <a:gd name="T1" fmla="*/ 0 h 40"/>
                      <a:gd name="T2" fmla="*/ 20 w 56"/>
                      <a:gd name="T3" fmla="*/ 40 h 40"/>
                      <a:gd name="T4" fmla="*/ 56 w 56"/>
                      <a:gd name="T5" fmla="*/ 23 h 40"/>
                      <a:gd name="T6" fmla="*/ 38 w 56"/>
                      <a:gd name="T7" fmla="*/ 0 h 40"/>
                      <a:gd name="T8" fmla="*/ 0 w 56"/>
                      <a:gd name="T9" fmla="*/ 0 h 40"/>
                      <a:gd name="T10" fmla="*/ 0 60000 65536"/>
                      <a:gd name="T11" fmla="*/ 0 60000 65536"/>
                      <a:gd name="T12" fmla="*/ 0 60000 65536"/>
                      <a:gd name="T13" fmla="*/ 0 60000 65536"/>
                      <a:gd name="T14" fmla="*/ 0 60000 65536"/>
                      <a:gd name="T15" fmla="*/ 0 w 56"/>
                      <a:gd name="T16" fmla="*/ 0 h 40"/>
                      <a:gd name="T17" fmla="*/ 56 w 56"/>
                      <a:gd name="T18" fmla="*/ 40 h 40"/>
                    </a:gdLst>
                    <a:ahLst/>
                    <a:cxnLst>
                      <a:cxn ang="T10">
                        <a:pos x="T0" y="T1"/>
                      </a:cxn>
                      <a:cxn ang="T11">
                        <a:pos x="T2" y="T3"/>
                      </a:cxn>
                      <a:cxn ang="T12">
                        <a:pos x="T4" y="T5"/>
                      </a:cxn>
                      <a:cxn ang="T13">
                        <a:pos x="T6" y="T7"/>
                      </a:cxn>
                      <a:cxn ang="T14">
                        <a:pos x="T8" y="T9"/>
                      </a:cxn>
                    </a:cxnLst>
                    <a:rect l="T15" t="T16" r="T17" b="T18"/>
                    <a:pathLst>
                      <a:path w="56" h="40">
                        <a:moveTo>
                          <a:pt x="0" y="0"/>
                        </a:moveTo>
                        <a:lnTo>
                          <a:pt x="20" y="40"/>
                        </a:lnTo>
                        <a:lnTo>
                          <a:pt x="56" y="23"/>
                        </a:lnTo>
                        <a:lnTo>
                          <a:pt x="38" y="0"/>
                        </a:lnTo>
                        <a:lnTo>
                          <a:pt x="0" y="0"/>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57" name="Freeform 45"/>
                  <p:cNvSpPr>
                    <a:spLocks/>
                  </p:cNvSpPr>
                  <p:nvPr/>
                </p:nvSpPr>
                <p:spPr bwMode="gray">
                  <a:xfrm>
                    <a:off x="2170827" y="3975482"/>
                    <a:ext cx="84780" cy="50674"/>
                  </a:xfrm>
                  <a:custGeom>
                    <a:avLst/>
                    <a:gdLst>
                      <a:gd name="T0" fmla="*/ 0 w 172"/>
                      <a:gd name="T1" fmla="*/ 27 h 104"/>
                      <a:gd name="T2" fmla="*/ 22 w 172"/>
                      <a:gd name="T3" fmla="*/ 0 h 104"/>
                      <a:gd name="T4" fmla="*/ 47 w 172"/>
                      <a:gd name="T5" fmla="*/ 27 h 104"/>
                      <a:gd name="T6" fmla="*/ 106 w 172"/>
                      <a:gd name="T7" fmla="*/ 22 h 104"/>
                      <a:gd name="T8" fmla="*/ 172 w 172"/>
                      <a:gd name="T9" fmla="*/ 68 h 104"/>
                      <a:gd name="T10" fmla="*/ 148 w 172"/>
                      <a:gd name="T11" fmla="*/ 90 h 104"/>
                      <a:gd name="T12" fmla="*/ 68 w 172"/>
                      <a:gd name="T13" fmla="*/ 104 h 104"/>
                      <a:gd name="T14" fmla="*/ 54 w 172"/>
                      <a:gd name="T15" fmla="*/ 58 h 104"/>
                      <a:gd name="T16" fmla="*/ 23 w 172"/>
                      <a:gd name="T17" fmla="*/ 58 h 104"/>
                      <a:gd name="T18" fmla="*/ 0 w 172"/>
                      <a:gd name="T19" fmla="*/ 27 h 10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2"/>
                      <a:gd name="T31" fmla="*/ 0 h 104"/>
                      <a:gd name="T32" fmla="*/ 172 w 172"/>
                      <a:gd name="T33" fmla="*/ 104 h 10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2" h="104">
                        <a:moveTo>
                          <a:pt x="0" y="27"/>
                        </a:moveTo>
                        <a:lnTo>
                          <a:pt x="22" y="0"/>
                        </a:lnTo>
                        <a:lnTo>
                          <a:pt x="47" y="27"/>
                        </a:lnTo>
                        <a:lnTo>
                          <a:pt x="106" y="22"/>
                        </a:lnTo>
                        <a:lnTo>
                          <a:pt x="172" y="68"/>
                        </a:lnTo>
                        <a:lnTo>
                          <a:pt x="148" y="90"/>
                        </a:lnTo>
                        <a:lnTo>
                          <a:pt x="68" y="104"/>
                        </a:lnTo>
                        <a:lnTo>
                          <a:pt x="54" y="58"/>
                        </a:lnTo>
                        <a:lnTo>
                          <a:pt x="23" y="58"/>
                        </a:lnTo>
                        <a:lnTo>
                          <a:pt x="0" y="27"/>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58" name="Freeform 46"/>
                  <p:cNvSpPr>
                    <a:spLocks/>
                  </p:cNvSpPr>
                  <p:nvPr/>
                </p:nvSpPr>
                <p:spPr bwMode="gray">
                  <a:xfrm>
                    <a:off x="2246837" y="4067085"/>
                    <a:ext cx="141301" cy="159816"/>
                  </a:xfrm>
                  <a:custGeom>
                    <a:avLst/>
                    <a:gdLst>
                      <a:gd name="T0" fmla="*/ 0 w 289"/>
                      <a:gd name="T1" fmla="*/ 129 h 329"/>
                      <a:gd name="T2" fmla="*/ 39 w 289"/>
                      <a:gd name="T3" fmla="*/ 220 h 329"/>
                      <a:gd name="T4" fmla="*/ 33 w 289"/>
                      <a:gd name="T5" fmla="*/ 292 h 329"/>
                      <a:gd name="T6" fmla="*/ 93 w 289"/>
                      <a:gd name="T7" fmla="*/ 329 h 329"/>
                      <a:gd name="T8" fmla="*/ 127 w 289"/>
                      <a:gd name="T9" fmla="*/ 273 h 329"/>
                      <a:gd name="T10" fmla="*/ 250 w 289"/>
                      <a:gd name="T11" fmla="*/ 222 h 329"/>
                      <a:gd name="T12" fmla="*/ 289 w 289"/>
                      <a:gd name="T13" fmla="*/ 182 h 329"/>
                      <a:gd name="T14" fmla="*/ 189 w 289"/>
                      <a:gd name="T15" fmla="*/ 66 h 329"/>
                      <a:gd name="T16" fmla="*/ 47 w 289"/>
                      <a:gd name="T17" fmla="*/ 0 h 329"/>
                      <a:gd name="T18" fmla="*/ 34 w 289"/>
                      <a:gd name="T19" fmla="*/ 20 h 329"/>
                      <a:gd name="T20" fmla="*/ 50 w 289"/>
                      <a:gd name="T21" fmla="*/ 69 h 329"/>
                      <a:gd name="T22" fmla="*/ 0 w 289"/>
                      <a:gd name="T23" fmla="*/ 129 h 3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89"/>
                      <a:gd name="T37" fmla="*/ 0 h 329"/>
                      <a:gd name="T38" fmla="*/ 289 w 289"/>
                      <a:gd name="T39" fmla="*/ 329 h 32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89" h="329">
                        <a:moveTo>
                          <a:pt x="0" y="129"/>
                        </a:moveTo>
                        <a:lnTo>
                          <a:pt x="39" y="220"/>
                        </a:lnTo>
                        <a:lnTo>
                          <a:pt x="33" y="292"/>
                        </a:lnTo>
                        <a:lnTo>
                          <a:pt x="93" y="329"/>
                        </a:lnTo>
                        <a:lnTo>
                          <a:pt x="127" y="273"/>
                        </a:lnTo>
                        <a:lnTo>
                          <a:pt x="250" y="222"/>
                        </a:lnTo>
                        <a:lnTo>
                          <a:pt x="289" y="182"/>
                        </a:lnTo>
                        <a:lnTo>
                          <a:pt x="189" y="66"/>
                        </a:lnTo>
                        <a:lnTo>
                          <a:pt x="47" y="0"/>
                        </a:lnTo>
                        <a:lnTo>
                          <a:pt x="34" y="20"/>
                        </a:lnTo>
                        <a:lnTo>
                          <a:pt x="50" y="69"/>
                        </a:lnTo>
                        <a:lnTo>
                          <a:pt x="0" y="129"/>
                        </a:lnTo>
                        <a:close/>
                      </a:path>
                    </a:pathLst>
                  </a:custGeom>
                  <a:grpFill/>
                  <a:ln w="9525">
                    <a:solidFill>
                      <a:schemeClr val="tx1"/>
                    </a:solidFill>
                    <a:round/>
                    <a:headEnd/>
                    <a:tailEnd/>
                  </a:ln>
                </p:spPr>
                <p:txBody>
                  <a:bodyPr/>
                  <a:lstStyle/>
                  <a:p>
                    <a:pPr>
                      <a:defRPr/>
                    </a:pPr>
                    <a:endParaRPr lang="en-US" sz="1100" dirty="0">
                      <a:latin typeface="+mj-lt"/>
                    </a:endParaRPr>
                  </a:p>
                </p:txBody>
              </p:sp>
            </p:grpSp>
            <p:sp>
              <p:nvSpPr>
                <p:cNvPr id="88" name="Freeform 47"/>
                <p:cNvSpPr>
                  <a:spLocks/>
                </p:cNvSpPr>
                <p:nvPr/>
              </p:nvSpPr>
              <p:spPr bwMode="gray">
                <a:xfrm>
                  <a:off x="1267474" y="1261527"/>
                  <a:ext cx="577873" cy="934536"/>
                </a:xfrm>
                <a:custGeom>
                  <a:avLst/>
                  <a:gdLst>
                    <a:gd name="T0" fmla="*/ 0 w 1185"/>
                    <a:gd name="T1" fmla="*/ 1699 h 1916"/>
                    <a:gd name="T2" fmla="*/ 94 w 1185"/>
                    <a:gd name="T3" fmla="*/ 1290 h 1916"/>
                    <a:gd name="T4" fmla="*/ 142 w 1185"/>
                    <a:gd name="T5" fmla="*/ 1181 h 1916"/>
                    <a:gd name="T6" fmla="*/ 99 w 1185"/>
                    <a:gd name="T7" fmla="*/ 1129 h 1916"/>
                    <a:gd name="T8" fmla="*/ 110 w 1185"/>
                    <a:gd name="T9" fmla="*/ 1082 h 1916"/>
                    <a:gd name="T10" fmla="*/ 185 w 1185"/>
                    <a:gd name="T11" fmla="*/ 1011 h 1916"/>
                    <a:gd name="T12" fmla="*/ 246 w 1185"/>
                    <a:gd name="T13" fmla="*/ 915 h 1916"/>
                    <a:gd name="T14" fmla="*/ 301 w 1185"/>
                    <a:gd name="T15" fmla="*/ 832 h 1916"/>
                    <a:gd name="T16" fmla="*/ 260 w 1185"/>
                    <a:gd name="T17" fmla="*/ 769 h 1916"/>
                    <a:gd name="T18" fmla="*/ 242 w 1185"/>
                    <a:gd name="T19" fmla="*/ 726 h 1916"/>
                    <a:gd name="T20" fmla="*/ 249 w 1185"/>
                    <a:gd name="T21" fmla="*/ 620 h 1916"/>
                    <a:gd name="T22" fmla="*/ 393 w 1185"/>
                    <a:gd name="T23" fmla="*/ 0 h 1916"/>
                    <a:gd name="T24" fmla="*/ 552 w 1185"/>
                    <a:gd name="T25" fmla="*/ 35 h 1916"/>
                    <a:gd name="T26" fmla="*/ 499 w 1185"/>
                    <a:gd name="T27" fmla="*/ 276 h 1916"/>
                    <a:gd name="T28" fmla="*/ 534 w 1185"/>
                    <a:gd name="T29" fmla="*/ 363 h 1916"/>
                    <a:gd name="T30" fmla="*/ 538 w 1185"/>
                    <a:gd name="T31" fmla="*/ 417 h 1916"/>
                    <a:gd name="T32" fmla="*/ 519 w 1185"/>
                    <a:gd name="T33" fmla="*/ 425 h 1916"/>
                    <a:gd name="T34" fmla="*/ 580 w 1185"/>
                    <a:gd name="T35" fmla="*/ 484 h 1916"/>
                    <a:gd name="T36" fmla="*/ 642 w 1185"/>
                    <a:gd name="T37" fmla="*/ 638 h 1916"/>
                    <a:gd name="T38" fmla="*/ 664 w 1185"/>
                    <a:gd name="T39" fmla="*/ 632 h 1916"/>
                    <a:gd name="T40" fmla="*/ 666 w 1185"/>
                    <a:gd name="T41" fmla="*/ 654 h 1916"/>
                    <a:gd name="T42" fmla="*/ 696 w 1185"/>
                    <a:gd name="T43" fmla="*/ 663 h 1916"/>
                    <a:gd name="T44" fmla="*/ 718 w 1185"/>
                    <a:gd name="T45" fmla="*/ 666 h 1916"/>
                    <a:gd name="T46" fmla="*/ 663 w 1185"/>
                    <a:gd name="T47" fmla="*/ 778 h 1916"/>
                    <a:gd name="T48" fmla="*/ 672 w 1185"/>
                    <a:gd name="T49" fmla="*/ 852 h 1916"/>
                    <a:gd name="T50" fmla="*/ 627 w 1185"/>
                    <a:gd name="T51" fmla="*/ 924 h 1916"/>
                    <a:gd name="T52" fmla="*/ 658 w 1185"/>
                    <a:gd name="T53" fmla="*/ 956 h 1916"/>
                    <a:gd name="T54" fmla="*/ 738 w 1185"/>
                    <a:gd name="T55" fmla="*/ 911 h 1916"/>
                    <a:gd name="T56" fmla="*/ 796 w 1185"/>
                    <a:gd name="T57" fmla="*/ 1154 h 1916"/>
                    <a:gd name="T58" fmla="*/ 833 w 1185"/>
                    <a:gd name="T59" fmla="*/ 1166 h 1916"/>
                    <a:gd name="T60" fmla="*/ 840 w 1185"/>
                    <a:gd name="T61" fmla="*/ 1240 h 1916"/>
                    <a:gd name="T62" fmla="*/ 871 w 1185"/>
                    <a:gd name="T63" fmla="*/ 1271 h 1916"/>
                    <a:gd name="T64" fmla="*/ 894 w 1185"/>
                    <a:gd name="T65" fmla="*/ 1244 h 1916"/>
                    <a:gd name="T66" fmla="*/ 948 w 1185"/>
                    <a:gd name="T67" fmla="*/ 1268 h 1916"/>
                    <a:gd name="T68" fmla="*/ 981 w 1185"/>
                    <a:gd name="T69" fmla="*/ 1242 h 1916"/>
                    <a:gd name="T70" fmla="*/ 1089 w 1185"/>
                    <a:gd name="T71" fmla="*/ 1263 h 1916"/>
                    <a:gd name="T72" fmla="*/ 1115 w 1185"/>
                    <a:gd name="T73" fmla="*/ 1269 h 1916"/>
                    <a:gd name="T74" fmla="*/ 1139 w 1185"/>
                    <a:gd name="T75" fmla="*/ 1220 h 1916"/>
                    <a:gd name="T76" fmla="*/ 1185 w 1185"/>
                    <a:gd name="T77" fmla="*/ 1298 h 1916"/>
                    <a:gd name="T78" fmla="*/ 1085 w 1185"/>
                    <a:gd name="T79" fmla="*/ 1916 h 1916"/>
                    <a:gd name="T80" fmla="*/ 539 w 1185"/>
                    <a:gd name="T81" fmla="*/ 1816 h 1916"/>
                    <a:gd name="T82" fmla="*/ 0 w 1185"/>
                    <a:gd name="T83" fmla="*/ 1699 h 191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185"/>
                    <a:gd name="T127" fmla="*/ 0 h 1916"/>
                    <a:gd name="T128" fmla="*/ 1185 w 1185"/>
                    <a:gd name="T129" fmla="*/ 1916 h 191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185" h="1916">
                      <a:moveTo>
                        <a:pt x="0" y="1699"/>
                      </a:moveTo>
                      <a:lnTo>
                        <a:pt x="94" y="1290"/>
                      </a:lnTo>
                      <a:lnTo>
                        <a:pt x="142" y="1181"/>
                      </a:lnTo>
                      <a:lnTo>
                        <a:pt x="99" y="1129"/>
                      </a:lnTo>
                      <a:lnTo>
                        <a:pt x="110" y="1082"/>
                      </a:lnTo>
                      <a:lnTo>
                        <a:pt x="185" y="1011"/>
                      </a:lnTo>
                      <a:lnTo>
                        <a:pt x="246" y="915"/>
                      </a:lnTo>
                      <a:lnTo>
                        <a:pt x="301" y="832"/>
                      </a:lnTo>
                      <a:lnTo>
                        <a:pt x="260" y="769"/>
                      </a:lnTo>
                      <a:lnTo>
                        <a:pt x="242" y="726"/>
                      </a:lnTo>
                      <a:lnTo>
                        <a:pt x="249" y="620"/>
                      </a:lnTo>
                      <a:lnTo>
                        <a:pt x="393" y="0"/>
                      </a:lnTo>
                      <a:lnTo>
                        <a:pt x="552" y="35"/>
                      </a:lnTo>
                      <a:lnTo>
                        <a:pt x="499" y="276"/>
                      </a:lnTo>
                      <a:lnTo>
                        <a:pt x="534" y="363"/>
                      </a:lnTo>
                      <a:lnTo>
                        <a:pt x="538" y="417"/>
                      </a:lnTo>
                      <a:lnTo>
                        <a:pt x="519" y="425"/>
                      </a:lnTo>
                      <a:lnTo>
                        <a:pt x="580" y="484"/>
                      </a:lnTo>
                      <a:lnTo>
                        <a:pt x="642" y="638"/>
                      </a:lnTo>
                      <a:lnTo>
                        <a:pt x="664" y="632"/>
                      </a:lnTo>
                      <a:lnTo>
                        <a:pt x="666" y="654"/>
                      </a:lnTo>
                      <a:lnTo>
                        <a:pt x="696" y="663"/>
                      </a:lnTo>
                      <a:lnTo>
                        <a:pt x="718" y="666"/>
                      </a:lnTo>
                      <a:lnTo>
                        <a:pt x="663" y="778"/>
                      </a:lnTo>
                      <a:lnTo>
                        <a:pt x="672" y="852"/>
                      </a:lnTo>
                      <a:lnTo>
                        <a:pt x="627" y="924"/>
                      </a:lnTo>
                      <a:lnTo>
                        <a:pt x="658" y="956"/>
                      </a:lnTo>
                      <a:lnTo>
                        <a:pt x="738" y="911"/>
                      </a:lnTo>
                      <a:lnTo>
                        <a:pt x="796" y="1154"/>
                      </a:lnTo>
                      <a:lnTo>
                        <a:pt x="833" y="1166"/>
                      </a:lnTo>
                      <a:lnTo>
                        <a:pt x="840" y="1240"/>
                      </a:lnTo>
                      <a:lnTo>
                        <a:pt x="871" y="1271"/>
                      </a:lnTo>
                      <a:lnTo>
                        <a:pt x="894" y="1244"/>
                      </a:lnTo>
                      <a:lnTo>
                        <a:pt x="948" y="1268"/>
                      </a:lnTo>
                      <a:lnTo>
                        <a:pt x="981" y="1242"/>
                      </a:lnTo>
                      <a:lnTo>
                        <a:pt x="1089" y="1263"/>
                      </a:lnTo>
                      <a:lnTo>
                        <a:pt x="1115" y="1269"/>
                      </a:lnTo>
                      <a:lnTo>
                        <a:pt x="1139" y="1220"/>
                      </a:lnTo>
                      <a:lnTo>
                        <a:pt x="1185" y="1298"/>
                      </a:lnTo>
                      <a:lnTo>
                        <a:pt x="1085" y="1916"/>
                      </a:lnTo>
                      <a:lnTo>
                        <a:pt x="539" y="1816"/>
                      </a:lnTo>
                      <a:lnTo>
                        <a:pt x="0" y="1699"/>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89" name="Freeform 48"/>
                <p:cNvSpPr>
                  <a:spLocks/>
                </p:cNvSpPr>
                <p:nvPr/>
              </p:nvSpPr>
              <p:spPr bwMode="gray">
                <a:xfrm>
                  <a:off x="3562400" y="2220425"/>
                  <a:ext cx="379077" cy="683117"/>
                </a:xfrm>
                <a:custGeom>
                  <a:avLst/>
                  <a:gdLst>
                    <a:gd name="T0" fmla="*/ 0 w 777"/>
                    <a:gd name="T1" fmla="*/ 619 h 1402"/>
                    <a:gd name="T2" fmla="*/ 14 w 777"/>
                    <a:gd name="T3" fmla="*/ 575 h 1402"/>
                    <a:gd name="T4" fmla="*/ 67 w 777"/>
                    <a:gd name="T5" fmla="*/ 489 h 1402"/>
                    <a:gd name="T6" fmla="*/ 94 w 777"/>
                    <a:gd name="T7" fmla="*/ 397 h 1402"/>
                    <a:gd name="T8" fmla="*/ 68 w 777"/>
                    <a:gd name="T9" fmla="*/ 330 h 1402"/>
                    <a:gd name="T10" fmla="*/ 202 w 777"/>
                    <a:gd name="T11" fmla="*/ 226 h 1402"/>
                    <a:gd name="T12" fmla="*/ 229 w 777"/>
                    <a:gd name="T13" fmla="*/ 172 h 1402"/>
                    <a:gd name="T14" fmla="*/ 229 w 777"/>
                    <a:gd name="T15" fmla="*/ 146 h 1402"/>
                    <a:gd name="T16" fmla="*/ 132 w 777"/>
                    <a:gd name="T17" fmla="*/ 33 h 1402"/>
                    <a:gd name="T18" fmla="*/ 653 w 777"/>
                    <a:gd name="T19" fmla="*/ 0 h 1402"/>
                    <a:gd name="T20" fmla="*/ 666 w 777"/>
                    <a:gd name="T21" fmla="*/ 85 h 1402"/>
                    <a:gd name="T22" fmla="*/ 718 w 777"/>
                    <a:gd name="T23" fmla="*/ 187 h 1402"/>
                    <a:gd name="T24" fmla="*/ 763 w 777"/>
                    <a:gd name="T25" fmla="*/ 722 h 1402"/>
                    <a:gd name="T26" fmla="*/ 754 w 777"/>
                    <a:gd name="T27" fmla="*/ 833 h 1402"/>
                    <a:gd name="T28" fmla="*/ 777 w 777"/>
                    <a:gd name="T29" fmla="*/ 898 h 1402"/>
                    <a:gd name="T30" fmla="*/ 748 w 777"/>
                    <a:gd name="T31" fmla="*/ 1020 h 1402"/>
                    <a:gd name="T32" fmla="*/ 707 w 777"/>
                    <a:gd name="T33" fmla="*/ 1074 h 1402"/>
                    <a:gd name="T34" fmla="*/ 687 w 777"/>
                    <a:gd name="T35" fmla="*/ 1160 h 1402"/>
                    <a:gd name="T36" fmla="*/ 706 w 777"/>
                    <a:gd name="T37" fmla="*/ 1185 h 1402"/>
                    <a:gd name="T38" fmla="*/ 690 w 777"/>
                    <a:gd name="T39" fmla="*/ 1239 h 1402"/>
                    <a:gd name="T40" fmla="*/ 700 w 777"/>
                    <a:gd name="T41" fmla="*/ 1258 h 1402"/>
                    <a:gd name="T42" fmla="*/ 638 w 777"/>
                    <a:gd name="T43" fmla="*/ 1283 h 1402"/>
                    <a:gd name="T44" fmla="*/ 625 w 777"/>
                    <a:gd name="T45" fmla="*/ 1372 h 1402"/>
                    <a:gd name="T46" fmla="*/ 536 w 777"/>
                    <a:gd name="T47" fmla="*/ 1340 h 1402"/>
                    <a:gd name="T48" fmla="*/ 490 w 777"/>
                    <a:gd name="T49" fmla="*/ 1385 h 1402"/>
                    <a:gd name="T50" fmla="*/ 492 w 777"/>
                    <a:gd name="T51" fmla="*/ 1402 h 1402"/>
                    <a:gd name="T52" fmla="*/ 463 w 777"/>
                    <a:gd name="T53" fmla="*/ 1400 h 1402"/>
                    <a:gd name="T54" fmla="*/ 432 w 777"/>
                    <a:gd name="T55" fmla="*/ 1341 h 1402"/>
                    <a:gd name="T56" fmla="*/ 416 w 777"/>
                    <a:gd name="T57" fmla="*/ 1261 h 1402"/>
                    <a:gd name="T58" fmla="*/ 383 w 777"/>
                    <a:gd name="T59" fmla="*/ 1206 h 1402"/>
                    <a:gd name="T60" fmla="*/ 331 w 777"/>
                    <a:gd name="T61" fmla="*/ 1185 h 1402"/>
                    <a:gd name="T62" fmla="*/ 264 w 777"/>
                    <a:gd name="T63" fmla="*/ 1133 h 1402"/>
                    <a:gd name="T64" fmla="*/ 243 w 777"/>
                    <a:gd name="T65" fmla="*/ 1062 h 1402"/>
                    <a:gd name="T66" fmla="*/ 280 w 777"/>
                    <a:gd name="T67" fmla="*/ 952 h 1402"/>
                    <a:gd name="T68" fmla="*/ 249 w 777"/>
                    <a:gd name="T69" fmla="*/ 931 h 1402"/>
                    <a:gd name="T70" fmla="*/ 171 w 777"/>
                    <a:gd name="T71" fmla="*/ 932 h 1402"/>
                    <a:gd name="T72" fmla="*/ 158 w 777"/>
                    <a:gd name="T73" fmla="*/ 861 h 1402"/>
                    <a:gd name="T74" fmla="*/ 29 w 777"/>
                    <a:gd name="T75" fmla="*/ 730 h 1402"/>
                    <a:gd name="T76" fmla="*/ 0 w 777"/>
                    <a:gd name="T77" fmla="*/ 619 h 140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777"/>
                    <a:gd name="T118" fmla="*/ 0 h 1402"/>
                    <a:gd name="T119" fmla="*/ 777 w 777"/>
                    <a:gd name="T120" fmla="*/ 1402 h 140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777" h="1402">
                      <a:moveTo>
                        <a:pt x="0" y="619"/>
                      </a:moveTo>
                      <a:lnTo>
                        <a:pt x="14" y="575"/>
                      </a:lnTo>
                      <a:lnTo>
                        <a:pt x="67" y="489"/>
                      </a:lnTo>
                      <a:lnTo>
                        <a:pt x="94" y="397"/>
                      </a:lnTo>
                      <a:lnTo>
                        <a:pt x="68" y="330"/>
                      </a:lnTo>
                      <a:lnTo>
                        <a:pt x="202" y="226"/>
                      </a:lnTo>
                      <a:lnTo>
                        <a:pt x="229" y="172"/>
                      </a:lnTo>
                      <a:lnTo>
                        <a:pt x="229" y="146"/>
                      </a:lnTo>
                      <a:lnTo>
                        <a:pt x="132" y="33"/>
                      </a:lnTo>
                      <a:lnTo>
                        <a:pt x="653" y="0"/>
                      </a:lnTo>
                      <a:lnTo>
                        <a:pt x="666" y="85"/>
                      </a:lnTo>
                      <a:lnTo>
                        <a:pt x="718" y="187"/>
                      </a:lnTo>
                      <a:lnTo>
                        <a:pt x="763" y="722"/>
                      </a:lnTo>
                      <a:lnTo>
                        <a:pt x="754" y="833"/>
                      </a:lnTo>
                      <a:lnTo>
                        <a:pt x="777" y="898"/>
                      </a:lnTo>
                      <a:lnTo>
                        <a:pt x="748" y="1020"/>
                      </a:lnTo>
                      <a:lnTo>
                        <a:pt x="707" y="1074"/>
                      </a:lnTo>
                      <a:lnTo>
                        <a:pt x="687" y="1160"/>
                      </a:lnTo>
                      <a:lnTo>
                        <a:pt x="706" y="1185"/>
                      </a:lnTo>
                      <a:lnTo>
                        <a:pt x="690" y="1239"/>
                      </a:lnTo>
                      <a:lnTo>
                        <a:pt x="700" y="1258"/>
                      </a:lnTo>
                      <a:lnTo>
                        <a:pt x="638" y="1283"/>
                      </a:lnTo>
                      <a:lnTo>
                        <a:pt x="625" y="1372"/>
                      </a:lnTo>
                      <a:lnTo>
                        <a:pt x="536" y="1340"/>
                      </a:lnTo>
                      <a:lnTo>
                        <a:pt x="490" y="1385"/>
                      </a:lnTo>
                      <a:lnTo>
                        <a:pt x="492" y="1402"/>
                      </a:lnTo>
                      <a:lnTo>
                        <a:pt x="463" y="1400"/>
                      </a:lnTo>
                      <a:lnTo>
                        <a:pt x="432" y="1341"/>
                      </a:lnTo>
                      <a:lnTo>
                        <a:pt x="416" y="1261"/>
                      </a:lnTo>
                      <a:lnTo>
                        <a:pt x="383" y="1206"/>
                      </a:lnTo>
                      <a:lnTo>
                        <a:pt x="331" y="1185"/>
                      </a:lnTo>
                      <a:lnTo>
                        <a:pt x="264" y="1133"/>
                      </a:lnTo>
                      <a:lnTo>
                        <a:pt x="243" y="1062"/>
                      </a:lnTo>
                      <a:lnTo>
                        <a:pt x="280" y="952"/>
                      </a:lnTo>
                      <a:lnTo>
                        <a:pt x="249" y="931"/>
                      </a:lnTo>
                      <a:lnTo>
                        <a:pt x="171" y="932"/>
                      </a:lnTo>
                      <a:lnTo>
                        <a:pt x="158" y="861"/>
                      </a:lnTo>
                      <a:lnTo>
                        <a:pt x="29" y="730"/>
                      </a:lnTo>
                      <a:lnTo>
                        <a:pt x="0" y="619"/>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90" name="Freeform 49"/>
                <p:cNvSpPr>
                  <a:spLocks/>
                </p:cNvSpPr>
                <p:nvPr/>
              </p:nvSpPr>
              <p:spPr bwMode="gray">
                <a:xfrm>
                  <a:off x="3897624" y="2282793"/>
                  <a:ext cx="300143" cy="514531"/>
                </a:xfrm>
                <a:custGeom>
                  <a:avLst/>
                  <a:gdLst>
                    <a:gd name="T0" fmla="*/ 0 w 616"/>
                    <a:gd name="T1" fmla="*/ 1032 h 1057"/>
                    <a:gd name="T2" fmla="*/ 19 w 616"/>
                    <a:gd name="T3" fmla="*/ 1057 h 1057"/>
                    <a:gd name="T4" fmla="*/ 37 w 616"/>
                    <a:gd name="T5" fmla="*/ 1027 h 1057"/>
                    <a:gd name="T6" fmla="*/ 126 w 616"/>
                    <a:gd name="T7" fmla="*/ 1012 h 1057"/>
                    <a:gd name="T8" fmla="*/ 158 w 616"/>
                    <a:gd name="T9" fmla="*/ 1020 h 1057"/>
                    <a:gd name="T10" fmla="*/ 252 w 616"/>
                    <a:gd name="T11" fmla="*/ 987 h 1057"/>
                    <a:gd name="T12" fmla="*/ 285 w 616"/>
                    <a:gd name="T13" fmla="*/ 1017 h 1057"/>
                    <a:gd name="T14" fmla="*/ 316 w 616"/>
                    <a:gd name="T15" fmla="*/ 946 h 1057"/>
                    <a:gd name="T16" fmla="*/ 347 w 616"/>
                    <a:gd name="T17" fmla="*/ 928 h 1057"/>
                    <a:gd name="T18" fmla="*/ 416 w 616"/>
                    <a:gd name="T19" fmla="*/ 967 h 1057"/>
                    <a:gd name="T20" fmla="*/ 426 w 616"/>
                    <a:gd name="T21" fmla="*/ 922 h 1057"/>
                    <a:gd name="T22" fmla="*/ 501 w 616"/>
                    <a:gd name="T23" fmla="*/ 828 h 1057"/>
                    <a:gd name="T24" fmla="*/ 518 w 616"/>
                    <a:gd name="T25" fmla="*/ 771 h 1057"/>
                    <a:gd name="T26" fmla="*/ 545 w 616"/>
                    <a:gd name="T27" fmla="*/ 779 h 1057"/>
                    <a:gd name="T28" fmla="*/ 616 w 616"/>
                    <a:gd name="T29" fmla="*/ 730 h 1057"/>
                    <a:gd name="T30" fmla="*/ 596 w 616"/>
                    <a:gd name="T31" fmla="*/ 690 h 1057"/>
                    <a:gd name="T32" fmla="*/ 607 w 616"/>
                    <a:gd name="T33" fmla="*/ 667 h 1057"/>
                    <a:gd name="T34" fmla="*/ 537 w 616"/>
                    <a:gd name="T35" fmla="*/ 16 h 1057"/>
                    <a:gd name="T36" fmla="*/ 530 w 616"/>
                    <a:gd name="T37" fmla="*/ 0 h 1057"/>
                    <a:gd name="T38" fmla="*/ 162 w 616"/>
                    <a:gd name="T39" fmla="*/ 40 h 1057"/>
                    <a:gd name="T40" fmla="*/ 91 w 616"/>
                    <a:gd name="T41" fmla="*/ 81 h 1057"/>
                    <a:gd name="T42" fmla="*/ 31 w 616"/>
                    <a:gd name="T43" fmla="*/ 59 h 1057"/>
                    <a:gd name="T44" fmla="*/ 76 w 616"/>
                    <a:gd name="T45" fmla="*/ 594 h 1057"/>
                    <a:gd name="T46" fmla="*/ 67 w 616"/>
                    <a:gd name="T47" fmla="*/ 705 h 1057"/>
                    <a:gd name="T48" fmla="*/ 90 w 616"/>
                    <a:gd name="T49" fmla="*/ 770 h 1057"/>
                    <a:gd name="T50" fmla="*/ 61 w 616"/>
                    <a:gd name="T51" fmla="*/ 892 h 1057"/>
                    <a:gd name="T52" fmla="*/ 20 w 616"/>
                    <a:gd name="T53" fmla="*/ 946 h 1057"/>
                    <a:gd name="T54" fmla="*/ 0 w 616"/>
                    <a:gd name="T55" fmla="*/ 1032 h 105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16"/>
                    <a:gd name="T85" fmla="*/ 0 h 1057"/>
                    <a:gd name="T86" fmla="*/ 616 w 616"/>
                    <a:gd name="T87" fmla="*/ 1057 h 105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16" h="1057">
                      <a:moveTo>
                        <a:pt x="0" y="1032"/>
                      </a:moveTo>
                      <a:lnTo>
                        <a:pt x="19" y="1057"/>
                      </a:lnTo>
                      <a:lnTo>
                        <a:pt x="37" y="1027"/>
                      </a:lnTo>
                      <a:lnTo>
                        <a:pt x="126" y="1012"/>
                      </a:lnTo>
                      <a:lnTo>
                        <a:pt x="158" y="1020"/>
                      </a:lnTo>
                      <a:lnTo>
                        <a:pt x="252" y="987"/>
                      </a:lnTo>
                      <a:lnTo>
                        <a:pt x="285" y="1017"/>
                      </a:lnTo>
                      <a:lnTo>
                        <a:pt x="316" y="946"/>
                      </a:lnTo>
                      <a:lnTo>
                        <a:pt x="347" y="928"/>
                      </a:lnTo>
                      <a:lnTo>
                        <a:pt x="416" y="967"/>
                      </a:lnTo>
                      <a:lnTo>
                        <a:pt x="426" y="922"/>
                      </a:lnTo>
                      <a:lnTo>
                        <a:pt x="501" y="828"/>
                      </a:lnTo>
                      <a:lnTo>
                        <a:pt x="518" y="771"/>
                      </a:lnTo>
                      <a:lnTo>
                        <a:pt x="545" y="779"/>
                      </a:lnTo>
                      <a:lnTo>
                        <a:pt x="616" y="730"/>
                      </a:lnTo>
                      <a:lnTo>
                        <a:pt x="596" y="690"/>
                      </a:lnTo>
                      <a:lnTo>
                        <a:pt x="607" y="667"/>
                      </a:lnTo>
                      <a:lnTo>
                        <a:pt x="537" y="16"/>
                      </a:lnTo>
                      <a:lnTo>
                        <a:pt x="530" y="0"/>
                      </a:lnTo>
                      <a:lnTo>
                        <a:pt x="162" y="40"/>
                      </a:lnTo>
                      <a:lnTo>
                        <a:pt x="91" y="81"/>
                      </a:lnTo>
                      <a:lnTo>
                        <a:pt x="31" y="59"/>
                      </a:lnTo>
                      <a:lnTo>
                        <a:pt x="76" y="594"/>
                      </a:lnTo>
                      <a:lnTo>
                        <a:pt x="67" y="705"/>
                      </a:lnTo>
                      <a:lnTo>
                        <a:pt x="90" y="770"/>
                      </a:lnTo>
                      <a:lnTo>
                        <a:pt x="61" y="892"/>
                      </a:lnTo>
                      <a:lnTo>
                        <a:pt x="20" y="946"/>
                      </a:lnTo>
                      <a:lnTo>
                        <a:pt x="0" y="1032"/>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91" name="Freeform 50"/>
                <p:cNvSpPr>
                  <a:spLocks/>
                </p:cNvSpPr>
                <p:nvPr/>
              </p:nvSpPr>
              <p:spPr bwMode="gray">
                <a:xfrm>
                  <a:off x="3096593" y="2118104"/>
                  <a:ext cx="577873" cy="382975"/>
                </a:xfrm>
                <a:custGeom>
                  <a:avLst/>
                  <a:gdLst>
                    <a:gd name="T0" fmla="*/ 0 w 1185"/>
                    <a:gd name="T1" fmla="*/ 15 h 785"/>
                    <a:gd name="T2" fmla="*/ 3 w 1185"/>
                    <a:gd name="T3" fmla="*/ 76 h 785"/>
                    <a:gd name="T4" fmla="*/ 25 w 1185"/>
                    <a:gd name="T5" fmla="*/ 121 h 785"/>
                    <a:gd name="T6" fmla="*/ 10 w 1185"/>
                    <a:gd name="T7" fmla="*/ 165 h 785"/>
                    <a:gd name="T8" fmla="*/ 23 w 1185"/>
                    <a:gd name="T9" fmla="*/ 274 h 785"/>
                    <a:gd name="T10" fmla="*/ 79 w 1185"/>
                    <a:gd name="T11" fmla="*/ 429 h 785"/>
                    <a:gd name="T12" fmla="*/ 80 w 1185"/>
                    <a:gd name="T13" fmla="*/ 477 h 785"/>
                    <a:gd name="T14" fmla="*/ 117 w 1185"/>
                    <a:gd name="T15" fmla="*/ 549 h 785"/>
                    <a:gd name="T16" fmla="*/ 135 w 1185"/>
                    <a:gd name="T17" fmla="*/ 668 h 785"/>
                    <a:gd name="T18" fmla="*/ 126 w 1185"/>
                    <a:gd name="T19" fmla="*/ 704 h 785"/>
                    <a:gd name="T20" fmla="*/ 149 w 1185"/>
                    <a:gd name="T21" fmla="*/ 743 h 785"/>
                    <a:gd name="T22" fmla="*/ 912 w 1185"/>
                    <a:gd name="T23" fmla="*/ 727 h 785"/>
                    <a:gd name="T24" fmla="*/ 970 w 1185"/>
                    <a:gd name="T25" fmla="*/ 785 h 785"/>
                    <a:gd name="T26" fmla="*/ 1023 w 1185"/>
                    <a:gd name="T27" fmla="*/ 699 h 785"/>
                    <a:gd name="T28" fmla="*/ 1050 w 1185"/>
                    <a:gd name="T29" fmla="*/ 607 h 785"/>
                    <a:gd name="T30" fmla="*/ 1024 w 1185"/>
                    <a:gd name="T31" fmla="*/ 540 h 785"/>
                    <a:gd name="T32" fmla="*/ 1158 w 1185"/>
                    <a:gd name="T33" fmla="*/ 436 h 785"/>
                    <a:gd name="T34" fmla="*/ 1185 w 1185"/>
                    <a:gd name="T35" fmla="*/ 382 h 785"/>
                    <a:gd name="T36" fmla="*/ 1185 w 1185"/>
                    <a:gd name="T37" fmla="*/ 356 h 785"/>
                    <a:gd name="T38" fmla="*/ 1088 w 1185"/>
                    <a:gd name="T39" fmla="*/ 243 h 785"/>
                    <a:gd name="T40" fmla="*/ 989 w 1185"/>
                    <a:gd name="T41" fmla="*/ 126 h 785"/>
                    <a:gd name="T42" fmla="*/ 970 w 1185"/>
                    <a:gd name="T43" fmla="*/ 0 h 785"/>
                    <a:gd name="T44" fmla="*/ 27 w 1185"/>
                    <a:gd name="T45" fmla="*/ 17 h 785"/>
                    <a:gd name="T46" fmla="*/ 0 w 1185"/>
                    <a:gd name="T47" fmla="*/ 15 h 78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85"/>
                    <a:gd name="T73" fmla="*/ 0 h 785"/>
                    <a:gd name="T74" fmla="*/ 1185 w 1185"/>
                    <a:gd name="T75" fmla="*/ 785 h 78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85" h="785">
                      <a:moveTo>
                        <a:pt x="0" y="15"/>
                      </a:moveTo>
                      <a:lnTo>
                        <a:pt x="3" y="76"/>
                      </a:lnTo>
                      <a:lnTo>
                        <a:pt x="25" y="121"/>
                      </a:lnTo>
                      <a:lnTo>
                        <a:pt x="10" y="165"/>
                      </a:lnTo>
                      <a:lnTo>
                        <a:pt x="23" y="274"/>
                      </a:lnTo>
                      <a:lnTo>
                        <a:pt x="79" y="429"/>
                      </a:lnTo>
                      <a:lnTo>
                        <a:pt x="80" y="477"/>
                      </a:lnTo>
                      <a:lnTo>
                        <a:pt x="117" y="549"/>
                      </a:lnTo>
                      <a:lnTo>
                        <a:pt x="135" y="668"/>
                      </a:lnTo>
                      <a:lnTo>
                        <a:pt x="126" y="704"/>
                      </a:lnTo>
                      <a:lnTo>
                        <a:pt x="149" y="743"/>
                      </a:lnTo>
                      <a:lnTo>
                        <a:pt x="912" y="727"/>
                      </a:lnTo>
                      <a:lnTo>
                        <a:pt x="970" y="785"/>
                      </a:lnTo>
                      <a:lnTo>
                        <a:pt x="1023" y="699"/>
                      </a:lnTo>
                      <a:lnTo>
                        <a:pt x="1050" y="607"/>
                      </a:lnTo>
                      <a:lnTo>
                        <a:pt x="1024" y="540"/>
                      </a:lnTo>
                      <a:lnTo>
                        <a:pt x="1158" y="436"/>
                      </a:lnTo>
                      <a:lnTo>
                        <a:pt x="1185" y="382"/>
                      </a:lnTo>
                      <a:lnTo>
                        <a:pt x="1185" y="356"/>
                      </a:lnTo>
                      <a:lnTo>
                        <a:pt x="1088" y="243"/>
                      </a:lnTo>
                      <a:lnTo>
                        <a:pt x="989" y="126"/>
                      </a:lnTo>
                      <a:lnTo>
                        <a:pt x="970" y="0"/>
                      </a:lnTo>
                      <a:lnTo>
                        <a:pt x="27" y="17"/>
                      </a:lnTo>
                      <a:lnTo>
                        <a:pt x="0" y="15"/>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92" name="Freeform 51"/>
                <p:cNvSpPr>
                  <a:spLocks/>
                </p:cNvSpPr>
                <p:nvPr/>
              </p:nvSpPr>
              <p:spPr bwMode="gray">
                <a:xfrm>
                  <a:off x="2560623" y="2533237"/>
                  <a:ext cx="718199" cy="387847"/>
                </a:xfrm>
                <a:custGeom>
                  <a:avLst/>
                  <a:gdLst>
                    <a:gd name="T0" fmla="*/ 0 w 1474"/>
                    <a:gd name="T1" fmla="*/ 758 h 798"/>
                    <a:gd name="T2" fmla="*/ 50 w 1474"/>
                    <a:gd name="T3" fmla="*/ 0 h 798"/>
                    <a:gd name="T4" fmla="*/ 600 w 1474"/>
                    <a:gd name="T5" fmla="*/ 32 h 798"/>
                    <a:gd name="T6" fmla="*/ 1329 w 1474"/>
                    <a:gd name="T7" fmla="*/ 41 h 798"/>
                    <a:gd name="T8" fmla="*/ 1368 w 1474"/>
                    <a:gd name="T9" fmla="*/ 76 h 798"/>
                    <a:gd name="T10" fmla="*/ 1391 w 1474"/>
                    <a:gd name="T11" fmla="*/ 69 h 798"/>
                    <a:gd name="T12" fmla="*/ 1414 w 1474"/>
                    <a:gd name="T13" fmla="*/ 88 h 798"/>
                    <a:gd name="T14" fmla="*/ 1417 w 1474"/>
                    <a:gd name="T15" fmla="*/ 108 h 798"/>
                    <a:gd name="T16" fmla="*/ 1396 w 1474"/>
                    <a:gd name="T17" fmla="*/ 109 h 798"/>
                    <a:gd name="T18" fmla="*/ 1371 w 1474"/>
                    <a:gd name="T19" fmla="*/ 162 h 798"/>
                    <a:gd name="T20" fmla="*/ 1429 w 1474"/>
                    <a:gd name="T21" fmla="*/ 245 h 798"/>
                    <a:gd name="T22" fmla="*/ 1474 w 1474"/>
                    <a:gd name="T23" fmla="*/ 258 h 798"/>
                    <a:gd name="T24" fmla="*/ 1468 w 1474"/>
                    <a:gd name="T25" fmla="*/ 796 h 798"/>
                    <a:gd name="T26" fmla="*/ 838 w 1474"/>
                    <a:gd name="T27" fmla="*/ 798 h 798"/>
                    <a:gd name="T28" fmla="*/ 0 w 1474"/>
                    <a:gd name="T29" fmla="*/ 758 h 79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74"/>
                    <a:gd name="T46" fmla="*/ 0 h 798"/>
                    <a:gd name="T47" fmla="*/ 1474 w 1474"/>
                    <a:gd name="T48" fmla="*/ 798 h 79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74" h="798">
                      <a:moveTo>
                        <a:pt x="0" y="758"/>
                      </a:moveTo>
                      <a:lnTo>
                        <a:pt x="50" y="0"/>
                      </a:lnTo>
                      <a:lnTo>
                        <a:pt x="600" y="32"/>
                      </a:lnTo>
                      <a:lnTo>
                        <a:pt x="1329" y="41"/>
                      </a:lnTo>
                      <a:lnTo>
                        <a:pt x="1368" y="76"/>
                      </a:lnTo>
                      <a:lnTo>
                        <a:pt x="1391" y="69"/>
                      </a:lnTo>
                      <a:lnTo>
                        <a:pt x="1414" y="88"/>
                      </a:lnTo>
                      <a:lnTo>
                        <a:pt x="1417" y="108"/>
                      </a:lnTo>
                      <a:lnTo>
                        <a:pt x="1396" y="109"/>
                      </a:lnTo>
                      <a:lnTo>
                        <a:pt x="1371" y="162"/>
                      </a:lnTo>
                      <a:lnTo>
                        <a:pt x="1429" y="245"/>
                      </a:lnTo>
                      <a:lnTo>
                        <a:pt x="1474" y="258"/>
                      </a:lnTo>
                      <a:lnTo>
                        <a:pt x="1468" y="796"/>
                      </a:lnTo>
                      <a:lnTo>
                        <a:pt x="838" y="798"/>
                      </a:lnTo>
                      <a:lnTo>
                        <a:pt x="0" y="758"/>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93" name="Freeform 52"/>
                <p:cNvSpPr>
                  <a:spLocks/>
                </p:cNvSpPr>
                <p:nvPr/>
              </p:nvSpPr>
              <p:spPr bwMode="gray">
                <a:xfrm>
                  <a:off x="3784583" y="2606324"/>
                  <a:ext cx="702607" cy="359587"/>
                </a:xfrm>
                <a:custGeom>
                  <a:avLst/>
                  <a:gdLst>
                    <a:gd name="T0" fmla="*/ 0 w 1440"/>
                    <a:gd name="T1" fmla="*/ 738 h 738"/>
                    <a:gd name="T2" fmla="*/ 13 w 1440"/>
                    <a:gd name="T3" fmla="*/ 703 h 738"/>
                    <a:gd name="T4" fmla="*/ 46 w 1440"/>
                    <a:gd name="T5" fmla="*/ 698 h 738"/>
                    <a:gd name="T6" fmla="*/ 55 w 1440"/>
                    <a:gd name="T7" fmla="*/ 616 h 738"/>
                    <a:gd name="T8" fmla="*/ 36 w 1440"/>
                    <a:gd name="T9" fmla="*/ 610 h 738"/>
                    <a:gd name="T10" fmla="*/ 34 w 1440"/>
                    <a:gd name="T11" fmla="*/ 593 h 738"/>
                    <a:gd name="T12" fmla="*/ 80 w 1440"/>
                    <a:gd name="T13" fmla="*/ 548 h 738"/>
                    <a:gd name="T14" fmla="*/ 169 w 1440"/>
                    <a:gd name="T15" fmla="*/ 580 h 738"/>
                    <a:gd name="T16" fmla="*/ 182 w 1440"/>
                    <a:gd name="T17" fmla="*/ 491 h 738"/>
                    <a:gd name="T18" fmla="*/ 244 w 1440"/>
                    <a:gd name="T19" fmla="*/ 466 h 738"/>
                    <a:gd name="T20" fmla="*/ 234 w 1440"/>
                    <a:gd name="T21" fmla="*/ 447 h 738"/>
                    <a:gd name="T22" fmla="*/ 250 w 1440"/>
                    <a:gd name="T23" fmla="*/ 393 h 738"/>
                    <a:gd name="T24" fmla="*/ 268 w 1440"/>
                    <a:gd name="T25" fmla="*/ 363 h 738"/>
                    <a:gd name="T26" fmla="*/ 357 w 1440"/>
                    <a:gd name="T27" fmla="*/ 348 h 738"/>
                    <a:gd name="T28" fmla="*/ 389 w 1440"/>
                    <a:gd name="T29" fmla="*/ 356 h 738"/>
                    <a:gd name="T30" fmla="*/ 483 w 1440"/>
                    <a:gd name="T31" fmla="*/ 323 h 738"/>
                    <a:gd name="T32" fmla="*/ 516 w 1440"/>
                    <a:gd name="T33" fmla="*/ 353 h 738"/>
                    <a:gd name="T34" fmla="*/ 547 w 1440"/>
                    <a:gd name="T35" fmla="*/ 282 h 738"/>
                    <a:gd name="T36" fmla="*/ 578 w 1440"/>
                    <a:gd name="T37" fmla="*/ 264 h 738"/>
                    <a:gd name="T38" fmla="*/ 647 w 1440"/>
                    <a:gd name="T39" fmla="*/ 303 h 738"/>
                    <a:gd name="T40" fmla="*/ 657 w 1440"/>
                    <a:gd name="T41" fmla="*/ 258 h 738"/>
                    <a:gd name="T42" fmla="*/ 732 w 1440"/>
                    <a:gd name="T43" fmla="*/ 164 h 738"/>
                    <a:gd name="T44" fmla="*/ 749 w 1440"/>
                    <a:gd name="T45" fmla="*/ 107 h 738"/>
                    <a:gd name="T46" fmla="*/ 776 w 1440"/>
                    <a:gd name="T47" fmla="*/ 115 h 738"/>
                    <a:gd name="T48" fmla="*/ 847 w 1440"/>
                    <a:gd name="T49" fmla="*/ 66 h 738"/>
                    <a:gd name="T50" fmla="*/ 827 w 1440"/>
                    <a:gd name="T51" fmla="*/ 26 h 738"/>
                    <a:gd name="T52" fmla="*/ 838 w 1440"/>
                    <a:gd name="T53" fmla="*/ 3 h 738"/>
                    <a:gd name="T54" fmla="*/ 898 w 1440"/>
                    <a:gd name="T55" fmla="*/ 0 h 738"/>
                    <a:gd name="T56" fmla="*/ 938 w 1440"/>
                    <a:gd name="T57" fmla="*/ 14 h 738"/>
                    <a:gd name="T58" fmla="*/ 959 w 1440"/>
                    <a:gd name="T59" fmla="*/ 57 h 738"/>
                    <a:gd name="T60" fmla="*/ 1024 w 1440"/>
                    <a:gd name="T61" fmla="*/ 68 h 738"/>
                    <a:gd name="T62" fmla="*/ 1064 w 1440"/>
                    <a:gd name="T63" fmla="*/ 91 h 738"/>
                    <a:gd name="T64" fmla="*/ 1153 w 1440"/>
                    <a:gd name="T65" fmla="*/ 86 h 738"/>
                    <a:gd name="T66" fmla="*/ 1196 w 1440"/>
                    <a:gd name="T67" fmla="*/ 57 h 738"/>
                    <a:gd name="T68" fmla="*/ 1291 w 1440"/>
                    <a:gd name="T69" fmla="*/ 120 h 738"/>
                    <a:gd name="T70" fmla="*/ 1326 w 1440"/>
                    <a:gd name="T71" fmla="*/ 242 h 738"/>
                    <a:gd name="T72" fmla="*/ 1365 w 1440"/>
                    <a:gd name="T73" fmla="*/ 284 h 738"/>
                    <a:gd name="T74" fmla="*/ 1440 w 1440"/>
                    <a:gd name="T75" fmla="*/ 327 h 738"/>
                    <a:gd name="T76" fmla="*/ 1385 w 1440"/>
                    <a:gd name="T77" fmla="*/ 393 h 738"/>
                    <a:gd name="T78" fmla="*/ 1337 w 1440"/>
                    <a:gd name="T79" fmla="*/ 427 h 738"/>
                    <a:gd name="T80" fmla="*/ 1285 w 1440"/>
                    <a:gd name="T81" fmla="*/ 490 h 738"/>
                    <a:gd name="T82" fmla="*/ 1284 w 1440"/>
                    <a:gd name="T83" fmla="*/ 511 h 738"/>
                    <a:gd name="T84" fmla="*/ 1141 w 1440"/>
                    <a:gd name="T85" fmla="*/ 606 h 738"/>
                    <a:gd name="T86" fmla="*/ 348 w 1440"/>
                    <a:gd name="T87" fmla="*/ 679 h 738"/>
                    <a:gd name="T88" fmla="*/ 263 w 1440"/>
                    <a:gd name="T89" fmla="*/ 675 h 738"/>
                    <a:gd name="T90" fmla="*/ 267 w 1440"/>
                    <a:gd name="T91" fmla="*/ 719 h 738"/>
                    <a:gd name="T92" fmla="*/ 0 w 1440"/>
                    <a:gd name="T93" fmla="*/ 738 h 73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440"/>
                    <a:gd name="T142" fmla="*/ 0 h 738"/>
                    <a:gd name="T143" fmla="*/ 1440 w 1440"/>
                    <a:gd name="T144" fmla="*/ 738 h 73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440" h="738">
                      <a:moveTo>
                        <a:pt x="0" y="738"/>
                      </a:moveTo>
                      <a:lnTo>
                        <a:pt x="13" y="703"/>
                      </a:lnTo>
                      <a:lnTo>
                        <a:pt x="46" y="698"/>
                      </a:lnTo>
                      <a:lnTo>
                        <a:pt x="55" y="616"/>
                      </a:lnTo>
                      <a:lnTo>
                        <a:pt x="36" y="610"/>
                      </a:lnTo>
                      <a:lnTo>
                        <a:pt x="34" y="593"/>
                      </a:lnTo>
                      <a:lnTo>
                        <a:pt x="80" y="548"/>
                      </a:lnTo>
                      <a:lnTo>
                        <a:pt x="169" y="580"/>
                      </a:lnTo>
                      <a:lnTo>
                        <a:pt x="182" y="491"/>
                      </a:lnTo>
                      <a:lnTo>
                        <a:pt x="244" y="466"/>
                      </a:lnTo>
                      <a:lnTo>
                        <a:pt x="234" y="447"/>
                      </a:lnTo>
                      <a:lnTo>
                        <a:pt x="250" y="393"/>
                      </a:lnTo>
                      <a:lnTo>
                        <a:pt x="268" y="363"/>
                      </a:lnTo>
                      <a:lnTo>
                        <a:pt x="357" y="348"/>
                      </a:lnTo>
                      <a:lnTo>
                        <a:pt x="389" y="356"/>
                      </a:lnTo>
                      <a:lnTo>
                        <a:pt x="483" y="323"/>
                      </a:lnTo>
                      <a:lnTo>
                        <a:pt x="516" y="353"/>
                      </a:lnTo>
                      <a:lnTo>
                        <a:pt x="547" y="282"/>
                      </a:lnTo>
                      <a:lnTo>
                        <a:pt x="578" y="264"/>
                      </a:lnTo>
                      <a:lnTo>
                        <a:pt x="647" y="303"/>
                      </a:lnTo>
                      <a:lnTo>
                        <a:pt x="657" y="258"/>
                      </a:lnTo>
                      <a:lnTo>
                        <a:pt x="732" y="164"/>
                      </a:lnTo>
                      <a:lnTo>
                        <a:pt x="749" y="107"/>
                      </a:lnTo>
                      <a:lnTo>
                        <a:pt x="776" y="115"/>
                      </a:lnTo>
                      <a:lnTo>
                        <a:pt x="847" y="66"/>
                      </a:lnTo>
                      <a:lnTo>
                        <a:pt x="827" y="26"/>
                      </a:lnTo>
                      <a:lnTo>
                        <a:pt x="838" y="3"/>
                      </a:lnTo>
                      <a:lnTo>
                        <a:pt x="898" y="0"/>
                      </a:lnTo>
                      <a:lnTo>
                        <a:pt x="938" y="14"/>
                      </a:lnTo>
                      <a:lnTo>
                        <a:pt x="959" y="57"/>
                      </a:lnTo>
                      <a:lnTo>
                        <a:pt x="1024" y="68"/>
                      </a:lnTo>
                      <a:lnTo>
                        <a:pt x="1064" y="91"/>
                      </a:lnTo>
                      <a:lnTo>
                        <a:pt x="1153" y="86"/>
                      </a:lnTo>
                      <a:lnTo>
                        <a:pt x="1196" y="57"/>
                      </a:lnTo>
                      <a:lnTo>
                        <a:pt x="1291" y="120"/>
                      </a:lnTo>
                      <a:lnTo>
                        <a:pt x="1326" y="242"/>
                      </a:lnTo>
                      <a:lnTo>
                        <a:pt x="1365" y="284"/>
                      </a:lnTo>
                      <a:lnTo>
                        <a:pt x="1440" y="327"/>
                      </a:lnTo>
                      <a:lnTo>
                        <a:pt x="1385" y="393"/>
                      </a:lnTo>
                      <a:lnTo>
                        <a:pt x="1337" y="427"/>
                      </a:lnTo>
                      <a:lnTo>
                        <a:pt x="1285" y="490"/>
                      </a:lnTo>
                      <a:lnTo>
                        <a:pt x="1284" y="511"/>
                      </a:lnTo>
                      <a:lnTo>
                        <a:pt x="1141" y="606"/>
                      </a:lnTo>
                      <a:lnTo>
                        <a:pt x="348" y="679"/>
                      </a:lnTo>
                      <a:lnTo>
                        <a:pt x="263" y="675"/>
                      </a:lnTo>
                      <a:lnTo>
                        <a:pt x="267" y="719"/>
                      </a:lnTo>
                      <a:lnTo>
                        <a:pt x="0" y="738"/>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94" name="Freeform 53"/>
                <p:cNvSpPr>
                  <a:spLocks/>
                </p:cNvSpPr>
                <p:nvPr/>
              </p:nvSpPr>
              <p:spPr bwMode="gray">
                <a:xfrm>
                  <a:off x="3340216" y="3395661"/>
                  <a:ext cx="542791" cy="479449"/>
                </a:xfrm>
                <a:custGeom>
                  <a:avLst/>
                  <a:gdLst>
                    <a:gd name="T0" fmla="*/ 13 w 1115"/>
                    <a:gd name="T1" fmla="*/ 271 h 983"/>
                    <a:gd name="T2" fmla="*/ 55 w 1115"/>
                    <a:gd name="T3" fmla="*/ 372 h 983"/>
                    <a:gd name="T4" fmla="*/ 113 w 1115"/>
                    <a:gd name="T5" fmla="*/ 546 h 983"/>
                    <a:gd name="T6" fmla="*/ 80 w 1115"/>
                    <a:gd name="T7" fmla="*/ 663 h 983"/>
                    <a:gd name="T8" fmla="*/ 86 w 1115"/>
                    <a:gd name="T9" fmla="*/ 750 h 983"/>
                    <a:gd name="T10" fmla="*/ 38 w 1115"/>
                    <a:gd name="T11" fmla="*/ 812 h 983"/>
                    <a:gd name="T12" fmla="*/ 207 w 1115"/>
                    <a:gd name="T13" fmla="*/ 814 h 983"/>
                    <a:gd name="T14" fmla="*/ 444 w 1115"/>
                    <a:gd name="T15" fmla="*/ 857 h 983"/>
                    <a:gd name="T16" fmla="*/ 466 w 1115"/>
                    <a:gd name="T17" fmla="*/ 794 h 983"/>
                    <a:gd name="T18" fmla="*/ 560 w 1115"/>
                    <a:gd name="T19" fmla="*/ 869 h 983"/>
                    <a:gd name="T20" fmla="*/ 617 w 1115"/>
                    <a:gd name="T21" fmla="*/ 875 h 983"/>
                    <a:gd name="T22" fmla="*/ 659 w 1115"/>
                    <a:gd name="T23" fmla="*/ 942 h 983"/>
                    <a:gd name="T24" fmla="*/ 725 w 1115"/>
                    <a:gd name="T25" fmla="*/ 969 h 983"/>
                    <a:gd name="T26" fmla="*/ 776 w 1115"/>
                    <a:gd name="T27" fmla="*/ 932 h 983"/>
                    <a:gd name="T28" fmla="*/ 806 w 1115"/>
                    <a:gd name="T29" fmla="*/ 939 h 983"/>
                    <a:gd name="T30" fmla="*/ 849 w 1115"/>
                    <a:gd name="T31" fmla="*/ 963 h 983"/>
                    <a:gd name="T32" fmla="*/ 896 w 1115"/>
                    <a:gd name="T33" fmla="*/ 924 h 983"/>
                    <a:gd name="T34" fmla="*/ 887 w 1115"/>
                    <a:gd name="T35" fmla="*/ 865 h 983"/>
                    <a:gd name="T36" fmla="*/ 930 w 1115"/>
                    <a:gd name="T37" fmla="*/ 869 h 983"/>
                    <a:gd name="T38" fmla="*/ 973 w 1115"/>
                    <a:gd name="T39" fmla="*/ 897 h 983"/>
                    <a:gd name="T40" fmla="*/ 1011 w 1115"/>
                    <a:gd name="T41" fmla="*/ 912 h 983"/>
                    <a:gd name="T42" fmla="*/ 1046 w 1115"/>
                    <a:gd name="T43" fmla="*/ 949 h 983"/>
                    <a:gd name="T44" fmla="*/ 1066 w 1115"/>
                    <a:gd name="T45" fmla="*/ 951 h 983"/>
                    <a:gd name="T46" fmla="*/ 1086 w 1115"/>
                    <a:gd name="T47" fmla="*/ 947 h 983"/>
                    <a:gd name="T48" fmla="*/ 1115 w 1115"/>
                    <a:gd name="T49" fmla="*/ 922 h 983"/>
                    <a:gd name="T50" fmla="*/ 1070 w 1115"/>
                    <a:gd name="T51" fmla="*/ 899 h 983"/>
                    <a:gd name="T52" fmla="*/ 1033 w 1115"/>
                    <a:gd name="T53" fmla="*/ 879 h 983"/>
                    <a:gd name="T54" fmla="*/ 978 w 1115"/>
                    <a:gd name="T55" fmla="*/ 828 h 983"/>
                    <a:gd name="T56" fmla="*/ 1017 w 1115"/>
                    <a:gd name="T57" fmla="*/ 804 h 983"/>
                    <a:gd name="T58" fmla="*/ 1040 w 1115"/>
                    <a:gd name="T59" fmla="*/ 774 h 983"/>
                    <a:gd name="T60" fmla="*/ 1060 w 1115"/>
                    <a:gd name="T61" fmla="*/ 737 h 983"/>
                    <a:gd name="T62" fmla="*/ 1028 w 1115"/>
                    <a:gd name="T63" fmla="*/ 711 h 983"/>
                    <a:gd name="T64" fmla="*/ 967 w 1115"/>
                    <a:gd name="T65" fmla="*/ 761 h 983"/>
                    <a:gd name="T66" fmla="*/ 930 w 1115"/>
                    <a:gd name="T67" fmla="*/ 720 h 983"/>
                    <a:gd name="T68" fmla="*/ 950 w 1115"/>
                    <a:gd name="T69" fmla="*/ 721 h 983"/>
                    <a:gd name="T70" fmla="*/ 946 w 1115"/>
                    <a:gd name="T71" fmla="*/ 702 h 983"/>
                    <a:gd name="T72" fmla="*/ 934 w 1115"/>
                    <a:gd name="T73" fmla="*/ 703 h 983"/>
                    <a:gd name="T74" fmla="*/ 893 w 1115"/>
                    <a:gd name="T75" fmla="*/ 720 h 983"/>
                    <a:gd name="T76" fmla="*/ 798 w 1115"/>
                    <a:gd name="T77" fmla="*/ 713 h 983"/>
                    <a:gd name="T78" fmla="*/ 831 w 1115"/>
                    <a:gd name="T79" fmla="*/ 641 h 983"/>
                    <a:gd name="T80" fmla="*/ 891 w 1115"/>
                    <a:gd name="T81" fmla="*/ 668 h 983"/>
                    <a:gd name="T82" fmla="*/ 916 w 1115"/>
                    <a:gd name="T83" fmla="*/ 567 h 983"/>
                    <a:gd name="T84" fmla="*/ 527 w 1115"/>
                    <a:gd name="T85" fmla="*/ 499 h 983"/>
                    <a:gd name="T86" fmla="*/ 575 w 1115"/>
                    <a:gd name="T87" fmla="*/ 314 h 983"/>
                    <a:gd name="T88" fmla="*/ 622 w 1115"/>
                    <a:gd name="T89" fmla="*/ 195 h 983"/>
                    <a:gd name="T90" fmla="*/ 596 w 1115"/>
                    <a:gd name="T91" fmla="*/ 0 h 98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15"/>
                    <a:gd name="T139" fmla="*/ 0 h 983"/>
                    <a:gd name="T140" fmla="*/ 1115 w 1115"/>
                    <a:gd name="T141" fmla="*/ 983 h 98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15" h="983">
                      <a:moveTo>
                        <a:pt x="0" y="8"/>
                      </a:moveTo>
                      <a:lnTo>
                        <a:pt x="13" y="271"/>
                      </a:lnTo>
                      <a:lnTo>
                        <a:pt x="43" y="305"/>
                      </a:lnTo>
                      <a:lnTo>
                        <a:pt x="55" y="372"/>
                      </a:lnTo>
                      <a:lnTo>
                        <a:pt x="115" y="466"/>
                      </a:lnTo>
                      <a:lnTo>
                        <a:pt x="113" y="546"/>
                      </a:lnTo>
                      <a:lnTo>
                        <a:pt x="77" y="622"/>
                      </a:lnTo>
                      <a:lnTo>
                        <a:pt x="80" y="663"/>
                      </a:lnTo>
                      <a:lnTo>
                        <a:pt x="91" y="707"/>
                      </a:lnTo>
                      <a:lnTo>
                        <a:pt x="86" y="750"/>
                      </a:lnTo>
                      <a:lnTo>
                        <a:pt x="65" y="778"/>
                      </a:lnTo>
                      <a:lnTo>
                        <a:pt x="38" y="812"/>
                      </a:lnTo>
                      <a:lnTo>
                        <a:pt x="57" y="833"/>
                      </a:lnTo>
                      <a:lnTo>
                        <a:pt x="207" y="814"/>
                      </a:lnTo>
                      <a:lnTo>
                        <a:pt x="328" y="863"/>
                      </a:lnTo>
                      <a:lnTo>
                        <a:pt x="444" y="857"/>
                      </a:lnTo>
                      <a:lnTo>
                        <a:pt x="429" y="823"/>
                      </a:lnTo>
                      <a:lnTo>
                        <a:pt x="466" y="794"/>
                      </a:lnTo>
                      <a:lnTo>
                        <a:pt x="546" y="812"/>
                      </a:lnTo>
                      <a:lnTo>
                        <a:pt x="560" y="869"/>
                      </a:lnTo>
                      <a:lnTo>
                        <a:pt x="582" y="862"/>
                      </a:lnTo>
                      <a:lnTo>
                        <a:pt x="617" y="875"/>
                      </a:lnTo>
                      <a:lnTo>
                        <a:pt x="650" y="910"/>
                      </a:lnTo>
                      <a:lnTo>
                        <a:pt x="659" y="942"/>
                      </a:lnTo>
                      <a:lnTo>
                        <a:pt x="693" y="947"/>
                      </a:lnTo>
                      <a:lnTo>
                        <a:pt x="725" y="969"/>
                      </a:lnTo>
                      <a:lnTo>
                        <a:pt x="753" y="958"/>
                      </a:lnTo>
                      <a:lnTo>
                        <a:pt x="776" y="932"/>
                      </a:lnTo>
                      <a:lnTo>
                        <a:pt x="773" y="910"/>
                      </a:lnTo>
                      <a:lnTo>
                        <a:pt x="806" y="939"/>
                      </a:lnTo>
                      <a:lnTo>
                        <a:pt x="825" y="914"/>
                      </a:lnTo>
                      <a:lnTo>
                        <a:pt x="849" y="963"/>
                      </a:lnTo>
                      <a:lnTo>
                        <a:pt x="884" y="939"/>
                      </a:lnTo>
                      <a:lnTo>
                        <a:pt x="896" y="924"/>
                      </a:lnTo>
                      <a:lnTo>
                        <a:pt x="884" y="910"/>
                      </a:lnTo>
                      <a:lnTo>
                        <a:pt x="887" y="865"/>
                      </a:lnTo>
                      <a:lnTo>
                        <a:pt x="898" y="865"/>
                      </a:lnTo>
                      <a:lnTo>
                        <a:pt x="930" y="869"/>
                      </a:lnTo>
                      <a:lnTo>
                        <a:pt x="939" y="899"/>
                      </a:lnTo>
                      <a:lnTo>
                        <a:pt x="973" y="897"/>
                      </a:lnTo>
                      <a:lnTo>
                        <a:pt x="1004" y="918"/>
                      </a:lnTo>
                      <a:lnTo>
                        <a:pt x="1011" y="912"/>
                      </a:lnTo>
                      <a:lnTo>
                        <a:pt x="1024" y="935"/>
                      </a:lnTo>
                      <a:lnTo>
                        <a:pt x="1046" y="949"/>
                      </a:lnTo>
                      <a:lnTo>
                        <a:pt x="1035" y="983"/>
                      </a:lnTo>
                      <a:lnTo>
                        <a:pt x="1066" y="951"/>
                      </a:lnTo>
                      <a:lnTo>
                        <a:pt x="1087" y="970"/>
                      </a:lnTo>
                      <a:lnTo>
                        <a:pt x="1086" y="947"/>
                      </a:lnTo>
                      <a:lnTo>
                        <a:pt x="1113" y="939"/>
                      </a:lnTo>
                      <a:lnTo>
                        <a:pt x="1115" y="922"/>
                      </a:lnTo>
                      <a:lnTo>
                        <a:pt x="1085" y="917"/>
                      </a:lnTo>
                      <a:lnTo>
                        <a:pt x="1070" y="899"/>
                      </a:lnTo>
                      <a:lnTo>
                        <a:pt x="1044" y="903"/>
                      </a:lnTo>
                      <a:lnTo>
                        <a:pt x="1033" y="879"/>
                      </a:lnTo>
                      <a:lnTo>
                        <a:pt x="1004" y="879"/>
                      </a:lnTo>
                      <a:lnTo>
                        <a:pt x="978" y="828"/>
                      </a:lnTo>
                      <a:lnTo>
                        <a:pt x="993" y="815"/>
                      </a:lnTo>
                      <a:lnTo>
                        <a:pt x="1017" y="804"/>
                      </a:lnTo>
                      <a:lnTo>
                        <a:pt x="1022" y="778"/>
                      </a:lnTo>
                      <a:lnTo>
                        <a:pt x="1040" y="774"/>
                      </a:lnTo>
                      <a:lnTo>
                        <a:pt x="1070" y="747"/>
                      </a:lnTo>
                      <a:lnTo>
                        <a:pt x="1060" y="737"/>
                      </a:lnTo>
                      <a:lnTo>
                        <a:pt x="1061" y="685"/>
                      </a:lnTo>
                      <a:lnTo>
                        <a:pt x="1028" y="711"/>
                      </a:lnTo>
                      <a:lnTo>
                        <a:pt x="995" y="716"/>
                      </a:lnTo>
                      <a:lnTo>
                        <a:pt x="967" y="761"/>
                      </a:lnTo>
                      <a:lnTo>
                        <a:pt x="922" y="737"/>
                      </a:lnTo>
                      <a:lnTo>
                        <a:pt x="930" y="720"/>
                      </a:lnTo>
                      <a:lnTo>
                        <a:pt x="949" y="713"/>
                      </a:lnTo>
                      <a:lnTo>
                        <a:pt x="950" y="721"/>
                      </a:lnTo>
                      <a:lnTo>
                        <a:pt x="963" y="694"/>
                      </a:lnTo>
                      <a:lnTo>
                        <a:pt x="946" y="702"/>
                      </a:lnTo>
                      <a:lnTo>
                        <a:pt x="939" y="690"/>
                      </a:lnTo>
                      <a:lnTo>
                        <a:pt x="934" y="703"/>
                      </a:lnTo>
                      <a:lnTo>
                        <a:pt x="911" y="693"/>
                      </a:lnTo>
                      <a:lnTo>
                        <a:pt x="893" y="720"/>
                      </a:lnTo>
                      <a:lnTo>
                        <a:pt x="858" y="726"/>
                      </a:lnTo>
                      <a:lnTo>
                        <a:pt x="798" y="713"/>
                      </a:lnTo>
                      <a:lnTo>
                        <a:pt x="793" y="696"/>
                      </a:lnTo>
                      <a:lnTo>
                        <a:pt x="831" y="641"/>
                      </a:lnTo>
                      <a:lnTo>
                        <a:pt x="868" y="643"/>
                      </a:lnTo>
                      <a:lnTo>
                        <a:pt x="891" y="668"/>
                      </a:lnTo>
                      <a:lnTo>
                        <a:pt x="986" y="684"/>
                      </a:lnTo>
                      <a:lnTo>
                        <a:pt x="916" y="567"/>
                      </a:lnTo>
                      <a:lnTo>
                        <a:pt x="928" y="483"/>
                      </a:lnTo>
                      <a:lnTo>
                        <a:pt x="527" y="499"/>
                      </a:lnTo>
                      <a:lnTo>
                        <a:pt x="530" y="453"/>
                      </a:lnTo>
                      <a:lnTo>
                        <a:pt x="575" y="314"/>
                      </a:lnTo>
                      <a:lnTo>
                        <a:pt x="644" y="221"/>
                      </a:lnTo>
                      <a:lnTo>
                        <a:pt x="622" y="195"/>
                      </a:lnTo>
                      <a:lnTo>
                        <a:pt x="630" y="105"/>
                      </a:lnTo>
                      <a:lnTo>
                        <a:pt x="596" y="0"/>
                      </a:lnTo>
                      <a:lnTo>
                        <a:pt x="0" y="8"/>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95" name="Freeform 54"/>
                <p:cNvSpPr>
                  <a:spLocks/>
                </p:cNvSpPr>
                <p:nvPr/>
              </p:nvSpPr>
              <p:spPr bwMode="gray">
                <a:xfrm>
                  <a:off x="5267758" y="1331690"/>
                  <a:ext cx="352766" cy="560332"/>
                </a:xfrm>
                <a:custGeom>
                  <a:avLst/>
                  <a:gdLst>
                    <a:gd name="T0" fmla="*/ 0 w 724"/>
                    <a:gd name="T1" fmla="*/ 624 h 1150"/>
                    <a:gd name="T2" fmla="*/ 42 w 724"/>
                    <a:gd name="T3" fmla="*/ 626 h 1150"/>
                    <a:gd name="T4" fmla="*/ 46 w 724"/>
                    <a:gd name="T5" fmla="*/ 553 h 1150"/>
                    <a:gd name="T6" fmla="*/ 96 w 724"/>
                    <a:gd name="T7" fmla="*/ 449 h 1150"/>
                    <a:gd name="T8" fmla="*/ 73 w 724"/>
                    <a:gd name="T9" fmla="*/ 374 h 1150"/>
                    <a:gd name="T10" fmla="*/ 94 w 724"/>
                    <a:gd name="T11" fmla="*/ 276 h 1150"/>
                    <a:gd name="T12" fmla="*/ 92 w 724"/>
                    <a:gd name="T13" fmla="*/ 237 h 1150"/>
                    <a:gd name="T14" fmla="*/ 174 w 724"/>
                    <a:gd name="T15" fmla="*/ 19 h 1150"/>
                    <a:gd name="T16" fmla="*/ 198 w 724"/>
                    <a:gd name="T17" fmla="*/ 19 h 1150"/>
                    <a:gd name="T18" fmla="*/ 209 w 724"/>
                    <a:gd name="T19" fmla="*/ 63 h 1150"/>
                    <a:gd name="T20" fmla="*/ 313 w 724"/>
                    <a:gd name="T21" fmla="*/ 24 h 1150"/>
                    <a:gd name="T22" fmla="*/ 314 w 724"/>
                    <a:gd name="T23" fmla="*/ 7 h 1150"/>
                    <a:gd name="T24" fmla="*/ 343 w 724"/>
                    <a:gd name="T25" fmla="*/ 0 h 1150"/>
                    <a:gd name="T26" fmla="*/ 397 w 724"/>
                    <a:gd name="T27" fmla="*/ 26 h 1150"/>
                    <a:gd name="T28" fmla="*/ 438 w 724"/>
                    <a:gd name="T29" fmla="*/ 61 h 1150"/>
                    <a:gd name="T30" fmla="*/ 531 w 724"/>
                    <a:gd name="T31" fmla="*/ 379 h 1150"/>
                    <a:gd name="T32" fmla="*/ 595 w 724"/>
                    <a:gd name="T33" fmla="*/ 380 h 1150"/>
                    <a:gd name="T34" fmla="*/ 606 w 724"/>
                    <a:gd name="T35" fmla="*/ 399 h 1150"/>
                    <a:gd name="T36" fmla="*/ 596 w 724"/>
                    <a:gd name="T37" fmla="*/ 412 h 1150"/>
                    <a:gd name="T38" fmla="*/ 644 w 724"/>
                    <a:gd name="T39" fmla="*/ 484 h 1150"/>
                    <a:gd name="T40" fmla="*/ 655 w 724"/>
                    <a:gd name="T41" fmla="*/ 468 h 1150"/>
                    <a:gd name="T42" fmla="*/ 706 w 724"/>
                    <a:gd name="T43" fmla="*/ 516 h 1150"/>
                    <a:gd name="T44" fmla="*/ 687 w 724"/>
                    <a:gd name="T45" fmla="*/ 528 h 1150"/>
                    <a:gd name="T46" fmla="*/ 691 w 724"/>
                    <a:gd name="T47" fmla="*/ 542 h 1150"/>
                    <a:gd name="T48" fmla="*/ 724 w 724"/>
                    <a:gd name="T49" fmla="*/ 541 h 1150"/>
                    <a:gd name="T50" fmla="*/ 700 w 724"/>
                    <a:gd name="T51" fmla="*/ 601 h 1150"/>
                    <a:gd name="T52" fmla="*/ 670 w 724"/>
                    <a:gd name="T53" fmla="*/ 595 h 1150"/>
                    <a:gd name="T54" fmla="*/ 644 w 724"/>
                    <a:gd name="T55" fmla="*/ 618 h 1150"/>
                    <a:gd name="T56" fmla="*/ 646 w 724"/>
                    <a:gd name="T57" fmla="*/ 643 h 1150"/>
                    <a:gd name="T58" fmla="*/ 625 w 724"/>
                    <a:gd name="T59" fmla="*/ 656 h 1150"/>
                    <a:gd name="T60" fmla="*/ 600 w 724"/>
                    <a:gd name="T61" fmla="*/ 649 h 1150"/>
                    <a:gd name="T62" fmla="*/ 601 w 724"/>
                    <a:gd name="T63" fmla="*/ 686 h 1150"/>
                    <a:gd name="T64" fmla="*/ 582 w 724"/>
                    <a:gd name="T65" fmla="*/ 676 h 1150"/>
                    <a:gd name="T66" fmla="*/ 576 w 724"/>
                    <a:gd name="T67" fmla="*/ 718 h 1150"/>
                    <a:gd name="T68" fmla="*/ 542 w 724"/>
                    <a:gd name="T69" fmla="*/ 682 h 1150"/>
                    <a:gd name="T70" fmla="*/ 516 w 724"/>
                    <a:gd name="T71" fmla="*/ 716 h 1150"/>
                    <a:gd name="T72" fmla="*/ 485 w 724"/>
                    <a:gd name="T73" fmla="*/ 730 h 1150"/>
                    <a:gd name="T74" fmla="*/ 479 w 724"/>
                    <a:gd name="T75" fmla="*/ 766 h 1150"/>
                    <a:gd name="T76" fmla="*/ 447 w 724"/>
                    <a:gd name="T77" fmla="*/ 757 h 1150"/>
                    <a:gd name="T78" fmla="*/ 460 w 724"/>
                    <a:gd name="T79" fmla="*/ 727 h 1150"/>
                    <a:gd name="T80" fmla="*/ 438 w 724"/>
                    <a:gd name="T81" fmla="*/ 698 h 1150"/>
                    <a:gd name="T82" fmla="*/ 414 w 724"/>
                    <a:gd name="T83" fmla="*/ 743 h 1150"/>
                    <a:gd name="T84" fmla="*/ 423 w 724"/>
                    <a:gd name="T85" fmla="*/ 835 h 1150"/>
                    <a:gd name="T86" fmla="*/ 407 w 724"/>
                    <a:gd name="T87" fmla="*/ 858 h 1150"/>
                    <a:gd name="T88" fmla="*/ 387 w 724"/>
                    <a:gd name="T89" fmla="*/ 861 h 1150"/>
                    <a:gd name="T90" fmla="*/ 369 w 724"/>
                    <a:gd name="T91" fmla="*/ 857 h 1150"/>
                    <a:gd name="T92" fmla="*/ 346 w 724"/>
                    <a:gd name="T93" fmla="*/ 913 h 1150"/>
                    <a:gd name="T94" fmla="*/ 314 w 724"/>
                    <a:gd name="T95" fmla="*/ 911 h 1150"/>
                    <a:gd name="T96" fmla="*/ 317 w 724"/>
                    <a:gd name="T97" fmla="*/ 957 h 1150"/>
                    <a:gd name="T98" fmla="*/ 297 w 724"/>
                    <a:gd name="T99" fmla="*/ 921 h 1150"/>
                    <a:gd name="T100" fmla="*/ 250 w 724"/>
                    <a:gd name="T101" fmla="*/ 960 h 1150"/>
                    <a:gd name="T102" fmla="*/ 242 w 724"/>
                    <a:gd name="T103" fmla="*/ 989 h 1150"/>
                    <a:gd name="T104" fmla="*/ 257 w 724"/>
                    <a:gd name="T105" fmla="*/ 1009 h 1150"/>
                    <a:gd name="T106" fmla="*/ 237 w 724"/>
                    <a:gd name="T107" fmla="*/ 1020 h 1150"/>
                    <a:gd name="T108" fmla="*/ 241 w 724"/>
                    <a:gd name="T109" fmla="*/ 1054 h 1150"/>
                    <a:gd name="T110" fmla="*/ 219 w 724"/>
                    <a:gd name="T111" fmla="*/ 1079 h 1150"/>
                    <a:gd name="T112" fmla="*/ 213 w 724"/>
                    <a:gd name="T113" fmla="*/ 1150 h 1150"/>
                    <a:gd name="T114" fmla="*/ 202 w 724"/>
                    <a:gd name="T115" fmla="*/ 1150 h 1150"/>
                    <a:gd name="T116" fmla="*/ 134 w 724"/>
                    <a:gd name="T117" fmla="*/ 1055 h 1150"/>
                    <a:gd name="T118" fmla="*/ 0 w 724"/>
                    <a:gd name="T119" fmla="*/ 624 h 11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24"/>
                    <a:gd name="T181" fmla="*/ 0 h 1150"/>
                    <a:gd name="T182" fmla="*/ 724 w 724"/>
                    <a:gd name="T183" fmla="*/ 1150 h 115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24" h="1150">
                      <a:moveTo>
                        <a:pt x="0" y="624"/>
                      </a:moveTo>
                      <a:lnTo>
                        <a:pt x="42" y="626"/>
                      </a:lnTo>
                      <a:lnTo>
                        <a:pt x="46" y="553"/>
                      </a:lnTo>
                      <a:lnTo>
                        <a:pt x="96" y="449"/>
                      </a:lnTo>
                      <a:lnTo>
                        <a:pt x="73" y="374"/>
                      </a:lnTo>
                      <a:lnTo>
                        <a:pt x="94" y="276"/>
                      </a:lnTo>
                      <a:lnTo>
                        <a:pt x="92" y="237"/>
                      </a:lnTo>
                      <a:lnTo>
                        <a:pt x="174" y="19"/>
                      </a:lnTo>
                      <a:lnTo>
                        <a:pt x="198" y="19"/>
                      </a:lnTo>
                      <a:lnTo>
                        <a:pt x="209" y="63"/>
                      </a:lnTo>
                      <a:lnTo>
                        <a:pt x="313" y="24"/>
                      </a:lnTo>
                      <a:lnTo>
                        <a:pt x="314" y="7"/>
                      </a:lnTo>
                      <a:lnTo>
                        <a:pt x="343" y="0"/>
                      </a:lnTo>
                      <a:lnTo>
                        <a:pt x="397" y="26"/>
                      </a:lnTo>
                      <a:lnTo>
                        <a:pt x="438" y="61"/>
                      </a:lnTo>
                      <a:lnTo>
                        <a:pt x="531" y="379"/>
                      </a:lnTo>
                      <a:lnTo>
                        <a:pt x="595" y="380"/>
                      </a:lnTo>
                      <a:lnTo>
                        <a:pt x="606" y="399"/>
                      </a:lnTo>
                      <a:lnTo>
                        <a:pt x="596" y="412"/>
                      </a:lnTo>
                      <a:lnTo>
                        <a:pt x="644" y="484"/>
                      </a:lnTo>
                      <a:lnTo>
                        <a:pt x="655" y="468"/>
                      </a:lnTo>
                      <a:lnTo>
                        <a:pt x="706" y="516"/>
                      </a:lnTo>
                      <a:lnTo>
                        <a:pt x="687" y="528"/>
                      </a:lnTo>
                      <a:lnTo>
                        <a:pt x="691" y="542"/>
                      </a:lnTo>
                      <a:lnTo>
                        <a:pt x="724" y="541"/>
                      </a:lnTo>
                      <a:lnTo>
                        <a:pt x="700" y="601"/>
                      </a:lnTo>
                      <a:lnTo>
                        <a:pt x="670" y="595"/>
                      </a:lnTo>
                      <a:lnTo>
                        <a:pt x="644" y="618"/>
                      </a:lnTo>
                      <a:lnTo>
                        <a:pt x="646" y="643"/>
                      </a:lnTo>
                      <a:lnTo>
                        <a:pt x="625" y="656"/>
                      </a:lnTo>
                      <a:lnTo>
                        <a:pt x="600" y="649"/>
                      </a:lnTo>
                      <a:lnTo>
                        <a:pt x="601" y="686"/>
                      </a:lnTo>
                      <a:lnTo>
                        <a:pt x="582" y="676"/>
                      </a:lnTo>
                      <a:lnTo>
                        <a:pt x="576" y="718"/>
                      </a:lnTo>
                      <a:lnTo>
                        <a:pt x="542" y="682"/>
                      </a:lnTo>
                      <a:lnTo>
                        <a:pt x="516" y="716"/>
                      </a:lnTo>
                      <a:lnTo>
                        <a:pt x="485" y="730"/>
                      </a:lnTo>
                      <a:lnTo>
                        <a:pt x="479" y="766"/>
                      </a:lnTo>
                      <a:lnTo>
                        <a:pt x="447" y="757"/>
                      </a:lnTo>
                      <a:lnTo>
                        <a:pt x="460" y="727"/>
                      </a:lnTo>
                      <a:lnTo>
                        <a:pt x="438" y="698"/>
                      </a:lnTo>
                      <a:lnTo>
                        <a:pt x="414" y="743"/>
                      </a:lnTo>
                      <a:lnTo>
                        <a:pt x="423" y="835"/>
                      </a:lnTo>
                      <a:lnTo>
                        <a:pt x="407" y="858"/>
                      </a:lnTo>
                      <a:lnTo>
                        <a:pt x="387" y="861"/>
                      </a:lnTo>
                      <a:lnTo>
                        <a:pt x="369" y="857"/>
                      </a:lnTo>
                      <a:lnTo>
                        <a:pt x="346" y="913"/>
                      </a:lnTo>
                      <a:lnTo>
                        <a:pt x="314" y="911"/>
                      </a:lnTo>
                      <a:lnTo>
                        <a:pt x="317" y="957"/>
                      </a:lnTo>
                      <a:lnTo>
                        <a:pt x="297" y="921"/>
                      </a:lnTo>
                      <a:lnTo>
                        <a:pt x="250" y="960"/>
                      </a:lnTo>
                      <a:lnTo>
                        <a:pt x="242" y="989"/>
                      </a:lnTo>
                      <a:lnTo>
                        <a:pt x="257" y="1009"/>
                      </a:lnTo>
                      <a:lnTo>
                        <a:pt x="237" y="1020"/>
                      </a:lnTo>
                      <a:lnTo>
                        <a:pt x="241" y="1054"/>
                      </a:lnTo>
                      <a:lnTo>
                        <a:pt x="219" y="1079"/>
                      </a:lnTo>
                      <a:lnTo>
                        <a:pt x="213" y="1150"/>
                      </a:lnTo>
                      <a:lnTo>
                        <a:pt x="202" y="1150"/>
                      </a:lnTo>
                      <a:lnTo>
                        <a:pt x="134" y="1055"/>
                      </a:lnTo>
                      <a:lnTo>
                        <a:pt x="0" y="624"/>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96" name="Freeform 55"/>
                <p:cNvSpPr>
                  <a:spLocks/>
                </p:cNvSpPr>
                <p:nvPr/>
              </p:nvSpPr>
              <p:spPr bwMode="gray">
                <a:xfrm>
                  <a:off x="4675268" y="2399732"/>
                  <a:ext cx="439495" cy="217311"/>
                </a:xfrm>
                <a:custGeom>
                  <a:avLst/>
                  <a:gdLst>
                    <a:gd name="T0" fmla="*/ 23 w 901"/>
                    <a:gd name="T1" fmla="*/ 260 h 447"/>
                    <a:gd name="T2" fmla="*/ 198 w 901"/>
                    <a:gd name="T3" fmla="*/ 150 h 447"/>
                    <a:gd name="T4" fmla="*/ 277 w 901"/>
                    <a:gd name="T5" fmla="*/ 110 h 447"/>
                    <a:gd name="T6" fmla="*/ 354 w 901"/>
                    <a:gd name="T7" fmla="*/ 171 h 447"/>
                    <a:gd name="T8" fmla="*/ 436 w 901"/>
                    <a:gd name="T9" fmla="*/ 224 h 447"/>
                    <a:gd name="T10" fmla="*/ 503 w 901"/>
                    <a:gd name="T11" fmla="*/ 233 h 447"/>
                    <a:gd name="T12" fmla="*/ 503 w 901"/>
                    <a:gd name="T13" fmla="*/ 276 h 447"/>
                    <a:gd name="T14" fmla="*/ 469 w 901"/>
                    <a:gd name="T15" fmla="*/ 361 h 447"/>
                    <a:gd name="T16" fmla="*/ 521 w 901"/>
                    <a:gd name="T17" fmla="*/ 382 h 447"/>
                    <a:gd name="T18" fmla="*/ 554 w 901"/>
                    <a:gd name="T19" fmla="*/ 401 h 447"/>
                    <a:gd name="T20" fmla="*/ 582 w 901"/>
                    <a:gd name="T21" fmla="*/ 410 h 447"/>
                    <a:gd name="T22" fmla="*/ 627 w 901"/>
                    <a:gd name="T23" fmla="*/ 412 h 447"/>
                    <a:gd name="T24" fmla="*/ 678 w 901"/>
                    <a:gd name="T25" fmla="*/ 436 h 447"/>
                    <a:gd name="T26" fmla="*/ 592 w 901"/>
                    <a:gd name="T27" fmla="*/ 342 h 447"/>
                    <a:gd name="T28" fmla="*/ 614 w 901"/>
                    <a:gd name="T29" fmla="*/ 322 h 447"/>
                    <a:gd name="T30" fmla="*/ 608 w 901"/>
                    <a:gd name="T31" fmla="*/ 180 h 447"/>
                    <a:gd name="T32" fmla="*/ 646 w 901"/>
                    <a:gd name="T33" fmla="*/ 94 h 447"/>
                    <a:gd name="T34" fmla="*/ 690 w 901"/>
                    <a:gd name="T35" fmla="*/ 57 h 447"/>
                    <a:gd name="T36" fmla="*/ 652 w 901"/>
                    <a:gd name="T37" fmla="*/ 106 h 447"/>
                    <a:gd name="T38" fmla="*/ 646 w 901"/>
                    <a:gd name="T39" fmla="*/ 179 h 447"/>
                    <a:gd name="T40" fmla="*/ 655 w 901"/>
                    <a:gd name="T41" fmla="*/ 206 h 447"/>
                    <a:gd name="T42" fmla="*/ 670 w 901"/>
                    <a:gd name="T43" fmla="*/ 248 h 447"/>
                    <a:gd name="T44" fmla="*/ 642 w 901"/>
                    <a:gd name="T45" fmla="*/ 267 h 447"/>
                    <a:gd name="T46" fmla="*/ 683 w 901"/>
                    <a:gd name="T47" fmla="*/ 279 h 447"/>
                    <a:gd name="T48" fmla="*/ 663 w 901"/>
                    <a:gd name="T49" fmla="*/ 293 h 447"/>
                    <a:gd name="T50" fmla="*/ 723 w 901"/>
                    <a:gd name="T51" fmla="*/ 380 h 447"/>
                    <a:gd name="T52" fmla="*/ 749 w 901"/>
                    <a:gd name="T53" fmla="*/ 400 h 447"/>
                    <a:gd name="T54" fmla="*/ 764 w 901"/>
                    <a:gd name="T55" fmla="*/ 412 h 447"/>
                    <a:gd name="T56" fmla="*/ 768 w 901"/>
                    <a:gd name="T57" fmla="*/ 439 h 447"/>
                    <a:gd name="T58" fmla="*/ 816 w 901"/>
                    <a:gd name="T59" fmla="*/ 429 h 447"/>
                    <a:gd name="T60" fmla="*/ 881 w 901"/>
                    <a:gd name="T61" fmla="*/ 344 h 447"/>
                    <a:gd name="T62" fmla="*/ 881 w 901"/>
                    <a:gd name="T63" fmla="*/ 395 h 447"/>
                    <a:gd name="T64" fmla="*/ 874 w 901"/>
                    <a:gd name="T65" fmla="*/ 443 h 447"/>
                    <a:gd name="T66" fmla="*/ 901 w 901"/>
                    <a:gd name="T67" fmla="*/ 284 h 447"/>
                    <a:gd name="T68" fmla="*/ 776 w 901"/>
                    <a:gd name="T69" fmla="*/ 309 h 447"/>
                    <a:gd name="T70" fmla="*/ 693 w 901"/>
                    <a:gd name="T71" fmla="*/ 0 h 44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01"/>
                    <a:gd name="T109" fmla="*/ 0 h 447"/>
                    <a:gd name="T110" fmla="*/ 901 w 901"/>
                    <a:gd name="T111" fmla="*/ 447 h 44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01" h="447">
                      <a:moveTo>
                        <a:pt x="0" y="133"/>
                      </a:moveTo>
                      <a:lnTo>
                        <a:pt x="23" y="260"/>
                      </a:lnTo>
                      <a:lnTo>
                        <a:pt x="91" y="180"/>
                      </a:lnTo>
                      <a:lnTo>
                        <a:pt x="198" y="150"/>
                      </a:lnTo>
                      <a:lnTo>
                        <a:pt x="219" y="116"/>
                      </a:lnTo>
                      <a:lnTo>
                        <a:pt x="277" y="110"/>
                      </a:lnTo>
                      <a:lnTo>
                        <a:pt x="326" y="132"/>
                      </a:lnTo>
                      <a:lnTo>
                        <a:pt x="354" y="171"/>
                      </a:lnTo>
                      <a:lnTo>
                        <a:pt x="406" y="186"/>
                      </a:lnTo>
                      <a:lnTo>
                        <a:pt x="436" y="224"/>
                      </a:lnTo>
                      <a:lnTo>
                        <a:pt x="482" y="245"/>
                      </a:lnTo>
                      <a:lnTo>
                        <a:pt x="503" y="233"/>
                      </a:lnTo>
                      <a:lnTo>
                        <a:pt x="514" y="257"/>
                      </a:lnTo>
                      <a:lnTo>
                        <a:pt x="503" y="276"/>
                      </a:lnTo>
                      <a:lnTo>
                        <a:pt x="502" y="304"/>
                      </a:lnTo>
                      <a:lnTo>
                        <a:pt x="469" y="361"/>
                      </a:lnTo>
                      <a:lnTo>
                        <a:pt x="482" y="399"/>
                      </a:lnTo>
                      <a:lnTo>
                        <a:pt x="521" y="382"/>
                      </a:lnTo>
                      <a:lnTo>
                        <a:pt x="523" y="363"/>
                      </a:lnTo>
                      <a:lnTo>
                        <a:pt x="554" y="401"/>
                      </a:lnTo>
                      <a:lnTo>
                        <a:pt x="561" y="383"/>
                      </a:lnTo>
                      <a:lnTo>
                        <a:pt x="582" y="410"/>
                      </a:lnTo>
                      <a:lnTo>
                        <a:pt x="593" y="396"/>
                      </a:lnTo>
                      <a:lnTo>
                        <a:pt x="627" y="412"/>
                      </a:lnTo>
                      <a:lnTo>
                        <a:pt x="646" y="403"/>
                      </a:lnTo>
                      <a:lnTo>
                        <a:pt x="678" y="436"/>
                      </a:lnTo>
                      <a:lnTo>
                        <a:pt x="653" y="388"/>
                      </a:lnTo>
                      <a:lnTo>
                        <a:pt x="592" y="342"/>
                      </a:lnTo>
                      <a:lnTo>
                        <a:pt x="650" y="370"/>
                      </a:lnTo>
                      <a:lnTo>
                        <a:pt x="614" y="322"/>
                      </a:lnTo>
                      <a:lnTo>
                        <a:pt x="603" y="279"/>
                      </a:lnTo>
                      <a:lnTo>
                        <a:pt x="608" y="180"/>
                      </a:lnTo>
                      <a:lnTo>
                        <a:pt x="572" y="159"/>
                      </a:lnTo>
                      <a:lnTo>
                        <a:pt x="646" y="94"/>
                      </a:lnTo>
                      <a:lnTo>
                        <a:pt x="648" y="55"/>
                      </a:lnTo>
                      <a:lnTo>
                        <a:pt x="690" y="57"/>
                      </a:lnTo>
                      <a:lnTo>
                        <a:pt x="681" y="93"/>
                      </a:lnTo>
                      <a:lnTo>
                        <a:pt x="652" y="106"/>
                      </a:lnTo>
                      <a:lnTo>
                        <a:pt x="638" y="145"/>
                      </a:lnTo>
                      <a:lnTo>
                        <a:pt x="646" y="179"/>
                      </a:lnTo>
                      <a:lnTo>
                        <a:pt x="666" y="165"/>
                      </a:lnTo>
                      <a:lnTo>
                        <a:pt x="655" y="206"/>
                      </a:lnTo>
                      <a:lnTo>
                        <a:pt x="664" y="227"/>
                      </a:lnTo>
                      <a:lnTo>
                        <a:pt x="670" y="248"/>
                      </a:lnTo>
                      <a:lnTo>
                        <a:pt x="650" y="238"/>
                      </a:lnTo>
                      <a:lnTo>
                        <a:pt x="642" y="267"/>
                      </a:lnTo>
                      <a:lnTo>
                        <a:pt x="686" y="258"/>
                      </a:lnTo>
                      <a:lnTo>
                        <a:pt x="683" y="279"/>
                      </a:lnTo>
                      <a:lnTo>
                        <a:pt x="704" y="295"/>
                      </a:lnTo>
                      <a:lnTo>
                        <a:pt x="663" y="293"/>
                      </a:lnTo>
                      <a:lnTo>
                        <a:pt x="676" y="355"/>
                      </a:lnTo>
                      <a:lnTo>
                        <a:pt x="723" y="380"/>
                      </a:lnTo>
                      <a:lnTo>
                        <a:pt x="746" y="349"/>
                      </a:lnTo>
                      <a:lnTo>
                        <a:pt x="749" y="400"/>
                      </a:lnTo>
                      <a:lnTo>
                        <a:pt x="780" y="390"/>
                      </a:lnTo>
                      <a:lnTo>
                        <a:pt x="764" y="412"/>
                      </a:lnTo>
                      <a:lnTo>
                        <a:pt x="785" y="412"/>
                      </a:lnTo>
                      <a:lnTo>
                        <a:pt x="768" y="439"/>
                      </a:lnTo>
                      <a:lnTo>
                        <a:pt x="776" y="447"/>
                      </a:lnTo>
                      <a:lnTo>
                        <a:pt x="816" y="429"/>
                      </a:lnTo>
                      <a:lnTo>
                        <a:pt x="866" y="402"/>
                      </a:lnTo>
                      <a:lnTo>
                        <a:pt x="881" y="344"/>
                      </a:lnTo>
                      <a:lnTo>
                        <a:pt x="887" y="378"/>
                      </a:lnTo>
                      <a:lnTo>
                        <a:pt x="881" y="395"/>
                      </a:lnTo>
                      <a:lnTo>
                        <a:pt x="871" y="426"/>
                      </a:lnTo>
                      <a:lnTo>
                        <a:pt x="874" y="443"/>
                      </a:lnTo>
                      <a:lnTo>
                        <a:pt x="893" y="394"/>
                      </a:lnTo>
                      <a:lnTo>
                        <a:pt x="901" y="284"/>
                      </a:lnTo>
                      <a:lnTo>
                        <a:pt x="846" y="296"/>
                      </a:lnTo>
                      <a:lnTo>
                        <a:pt x="776" y="309"/>
                      </a:lnTo>
                      <a:lnTo>
                        <a:pt x="771" y="285"/>
                      </a:lnTo>
                      <a:lnTo>
                        <a:pt x="693" y="0"/>
                      </a:lnTo>
                      <a:lnTo>
                        <a:pt x="0" y="133"/>
                      </a:lnTo>
                      <a:close/>
                    </a:path>
                  </a:pathLst>
                </a:custGeom>
                <a:grpFill/>
                <a:ln w="9525">
                  <a:solidFill>
                    <a:schemeClr val="tx1"/>
                  </a:solidFill>
                  <a:round/>
                  <a:headEnd/>
                  <a:tailEnd/>
                </a:ln>
              </p:spPr>
              <p:txBody>
                <a:bodyPr/>
                <a:lstStyle/>
                <a:p>
                  <a:pPr>
                    <a:defRPr/>
                  </a:pPr>
                  <a:endParaRPr lang="en-US" sz="1100" dirty="0">
                    <a:latin typeface="+mj-lt"/>
                  </a:endParaRPr>
                </a:p>
              </p:txBody>
            </p:sp>
            <p:grpSp>
              <p:nvGrpSpPr>
                <p:cNvPr id="97" name="Group 194"/>
                <p:cNvGrpSpPr/>
                <p:nvPr/>
              </p:nvGrpSpPr>
              <p:grpSpPr bwMode="gray">
                <a:xfrm>
                  <a:off x="5156666" y="1921257"/>
                  <a:ext cx="336199" cy="183204"/>
                  <a:chOff x="5156666" y="1921257"/>
                  <a:chExt cx="336199" cy="183204"/>
                </a:xfrm>
                <a:grpFill/>
              </p:grpSpPr>
              <p:sp>
                <p:nvSpPr>
                  <p:cNvPr id="137" name="Freeform 56"/>
                  <p:cNvSpPr>
                    <a:spLocks/>
                  </p:cNvSpPr>
                  <p:nvPr/>
                </p:nvSpPr>
                <p:spPr bwMode="gray">
                  <a:xfrm>
                    <a:off x="5156666" y="1921257"/>
                    <a:ext cx="323531" cy="164689"/>
                  </a:xfrm>
                  <a:custGeom>
                    <a:avLst/>
                    <a:gdLst>
                      <a:gd name="T0" fmla="*/ 0 w 663"/>
                      <a:gd name="T1" fmla="*/ 137 h 337"/>
                      <a:gd name="T2" fmla="*/ 2 w 663"/>
                      <a:gd name="T3" fmla="*/ 316 h 337"/>
                      <a:gd name="T4" fmla="*/ 310 w 663"/>
                      <a:gd name="T5" fmla="*/ 251 h 337"/>
                      <a:gd name="T6" fmla="*/ 363 w 663"/>
                      <a:gd name="T7" fmla="*/ 232 h 337"/>
                      <a:gd name="T8" fmla="*/ 386 w 663"/>
                      <a:gd name="T9" fmla="*/ 237 h 337"/>
                      <a:gd name="T10" fmla="*/ 408 w 663"/>
                      <a:gd name="T11" fmla="*/ 287 h 337"/>
                      <a:gd name="T12" fmla="*/ 442 w 663"/>
                      <a:gd name="T13" fmla="*/ 293 h 337"/>
                      <a:gd name="T14" fmla="*/ 464 w 663"/>
                      <a:gd name="T15" fmla="*/ 334 h 337"/>
                      <a:gd name="T16" fmla="*/ 484 w 663"/>
                      <a:gd name="T17" fmla="*/ 337 h 337"/>
                      <a:gd name="T18" fmla="*/ 493 w 663"/>
                      <a:gd name="T19" fmla="*/ 308 h 337"/>
                      <a:gd name="T20" fmla="*/ 510 w 663"/>
                      <a:gd name="T21" fmla="*/ 297 h 337"/>
                      <a:gd name="T22" fmla="*/ 519 w 663"/>
                      <a:gd name="T23" fmla="*/ 265 h 337"/>
                      <a:gd name="T24" fmla="*/ 529 w 663"/>
                      <a:gd name="T25" fmla="*/ 264 h 337"/>
                      <a:gd name="T26" fmla="*/ 543 w 663"/>
                      <a:gd name="T27" fmla="*/ 311 h 337"/>
                      <a:gd name="T28" fmla="*/ 574 w 663"/>
                      <a:gd name="T29" fmla="*/ 300 h 337"/>
                      <a:gd name="T30" fmla="*/ 579 w 663"/>
                      <a:gd name="T31" fmla="*/ 280 h 337"/>
                      <a:gd name="T32" fmla="*/ 621 w 663"/>
                      <a:gd name="T33" fmla="*/ 260 h 337"/>
                      <a:gd name="T34" fmla="*/ 646 w 663"/>
                      <a:gd name="T35" fmla="*/ 252 h 337"/>
                      <a:gd name="T36" fmla="*/ 663 w 663"/>
                      <a:gd name="T37" fmla="*/ 268 h 337"/>
                      <a:gd name="T38" fmla="*/ 657 w 663"/>
                      <a:gd name="T39" fmla="*/ 222 h 337"/>
                      <a:gd name="T40" fmla="*/ 624 w 663"/>
                      <a:gd name="T41" fmla="*/ 166 h 337"/>
                      <a:gd name="T42" fmla="*/ 605 w 663"/>
                      <a:gd name="T43" fmla="*/ 157 h 337"/>
                      <a:gd name="T44" fmla="*/ 584 w 663"/>
                      <a:gd name="T45" fmla="*/ 159 h 337"/>
                      <a:gd name="T46" fmla="*/ 588 w 663"/>
                      <a:gd name="T47" fmla="*/ 172 h 337"/>
                      <a:gd name="T48" fmla="*/ 601 w 663"/>
                      <a:gd name="T49" fmla="*/ 172 h 337"/>
                      <a:gd name="T50" fmla="*/ 617 w 663"/>
                      <a:gd name="T51" fmla="*/ 173 h 337"/>
                      <a:gd name="T52" fmla="*/ 633 w 663"/>
                      <a:gd name="T53" fmla="*/ 191 h 337"/>
                      <a:gd name="T54" fmla="*/ 639 w 663"/>
                      <a:gd name="T55" fmla="*/ 212 h 337"/>
                      <a:gd name="T56" fmla="*/ 628 w 663"/>
                      <a:gd name="T57" fmla="*/ 231 h 337"/>
                      <a:gd name="T58" fmla="*/ 576 w 663"/>
                      <a:gd name="T59" fmla="*/ 254 h 337"/>
                      <a:gd name="T60" fmla="*/ 549 w 663"/>
                      <a:gd name="T61" fmla="*/ 243 h 337"/>
                      <a:gd name="T62" fmla="*/ 535 w 663"/>
                      <a:gd name="T63" fmla="*/ 212 h 337"/>
                      <a:gd name="T64" fmla="*/ 510 w 663"/>
                      <a:gd name="T65" fmla="*/ 208 h 337"/>
                      <a:gd name="T66" fmla="*/ 516 w 663"/>
                      <a:gd name="T67" fmla="*/ 190 h 337"/>
                      <a:gd name="T68" fmla="*/ 487 w 663"/>
                      <a:gd name="T69" fmla="*/ 154 h 337"/>
                      <a:gd name="T70" fmla="*/ 453 w 663"/>
                      <a:gd name="T71" fmla="*/ 140 h 337"/>
                      <a:gd name="T72" fmla="*/ 451 w 663"/>
                      <a:gd name="T73" fmla="*/ 157 h 337"/>
                      <a:gd name="T74" fmla="*/ 429 w 663"/>
                      <a:gd name="T75" fmla="*/ 151 h 337"/>
                      <a:gd name="T76" fmla="*/ 422 w 663"/>
                      <a:gd name="T77" fmla="*/ 130 h 337"/>
                      <a:gd name="T78" fmla="*/ 427 w 663"/>
                      <a:gd name="T79" fmla="*/ 111 h 337"/>
                      <a:gd name="T80" fmla="*/ 446 w 663"/>
                      <a:gd name="T81" fmla="*/ 93 h 337"/>
                      <a:gd name="T82" fmla="*/ 440 w 663"/>
                      <a:gd name="T83" fmla="*/ 79 h 337"/>
                      <a:gd name="T84" fmla="*/ 468 w 663"/>
                      <a:gd name="T85" fmla="*/ 57 h 337"/>
                      <a:gd name="T86" fmla="*/ 439 w 663"/>
                      <a:gd name="T87" fmla="*/ 34 h 337"/>
                      <a:gd name="T88" fmla="*/ 427 w 663"/>
                      <a:gd name="T89" fmla="*/ 0 h 337"/>
                      <a:gd name="T90" fmla="*/ 364 w 663"/>
                      <a:gd name="T91" fmla="*/ 49 h 337"/>
                      <a:gd name="T92" fmla="*/ 145 w 663"/>
                      <a:gd name="T93" fmla="*/ 106 h 337"/>
                      <a:gd name="T94" fmla="*/ 0 w 663"/>
                      <a:gd name="T95" fmla="*/ 137 h 33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63"/>
                      <a:gd name="T145" fmla="*/ 0 h 337"/>
                      <a:gd name="T146" fmla="*/ 663 w 663"/>
                      <a:gd name="T147" fmla="*/ 337 h 33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63" h="337">
                        <a:moveTo>
                          <a:pt x="0" y="137"/>
                        </a:moveTo>
                        <a:lnTo>
                          <a:pt x="2" y="316"/>
                        </a:lnTo>
                        <a:lnTo>
                          <a:pt x="310" y="251"/>
                        </a:lnTo>
                        <a:lnTo>
                          <a:pt x="363" y="232"/>
                        </a:lnTo>
                        <a:lnTo>
                          <a:pt x="386" y="237"/>
                        </a:lnTo>
                        <a:lnTo>
                          <a:pt x="408" y="287"/>
                        </a:lnTo>
                        <a:lnTo>
                          <a:pt x="442" y="293"/>
                        </a:lnTo>
                        <a:lnTo>
                          <a:pt x="464" y="334"/>
                        </a:lnTo>
                        <a:lnTo>
                          <a:pt x="484" y="337"/>
                        </a:lnTo>
                        <a:lnTo>
                          <a:pt x="493" y="308"/>
                        </a:lnTo>
                        <a:lnTo>
                          <a:pt x="510" y="297"/>
                        </a:lnTo>
                        <a:lnTo>
                          <a:pt x="519" y="265"/>
                        </a:lnTo>
                        <a:lnTo>
                          <a:pt x="529" y="264"/>
                        </a:lnTo>
                        <a:lnTo>
                          <a:pt x="543" y="311"/>
                        </a:lnTo>
                        <a:lnTo>
                          <a:pt x="574" y="300"/>
                        </a:lnTo>
                        <a:lnTo>
                          <a:pt x="579" y="280"/>
                        </a:lnTo>
                        <a:lnTo>
                          <a:pt x="621" y="260"/>
                        </a:lnTo>
                        <a:lnTo>
                          <a:pt x="646" y="252"/>
                        </a:lnTo>
                        <a:lnTo>
                          <a:pt x="663" y="268"/>
                        </a:lnTo>
                        <a:lnTo>
                          <a:pt x="657" y="222"/>
                        </a:lnTo>
                        <a:lnTo>
                          <a:pt x="624" y="166"/>
                        </a:lnTo>
                        <a:lnTo>
                          <a:pt x="605" y="157"/>
                        </a:lnTo>
                        <a:lnTo>
                          <a:pt x="584" y="159"/>
                        </a:lnTo>
                        <a:lnTo>
                          <a:pt x="588" y="172"/>
                        </a:lnTo>
                        <a:lnTo>
                          <a:pt x="601" y="172"/>
                        </a:lnTo>
                        <a:lnTo>
                          <a:pt x="617" y="173"/>
                        </a:lnTo>
                        <a:lnTo>
                          <a:pt x="633" y="191"/>
                        </a:lnTo>
                        <a:lnTo>
                          <a:pt x="639" y="212"/>
                        </a:lnTo>
                        <a:lnTo>
                          <a:pt x="628" y="231"/>
                        </a:lnTo>
                        <a:lnTo>
                          <a:pt x="576" y="254"/>
                        </a:lnTo>
                        <a:lnTo>
                          <a:pt x="549" y="243"/>
                        </a:lnTo>
                        <a:lnTo>
                          <a:pt x="535" y="212"/>
                        </a:lnTo>
                        <a:lnTo>
                          <a:pt x="510" y="208"/>
                        </a:lnTo>
                        <a:lnTo>
                          <a:pt x="516" y="190"/>
                        </a:lnTo>
                        <a:lnTo>
                          <a:pt x="487" y="154"/>
                        </a:lnTo>
                        <a:lnTo>
                          <a:pt x="453" y="140"/>
                        </a:lnTo>
                        <a:lnTo>
                          <a:pt x="451" y="157"/>
                        </a:lnTo>
                        <a:lnTo>
                          <a:pt x="429" y="151"/>
                        </a:lnTo>
                        <a:lnTo>
                          <a:pt x="422" y="130"/>
                        </a:lnTo>
                        <a:lnTo>
                          <a:pt x="427" y="111"/>
                        </a:lnTo>
                        <a:lnTo>
                          <a:pt x="446" y="93"/>
                        </a:lnTo>
                        <a:lnTo>
                          <a:pt x="440" y="79"/>
                        </a:lnTo>
                        <a:lnTo>
                          <a:pt x="468" y="57"/>
                        </a:lnTo>
                        <a:lnTo>
                          <a:pt x="439" y="34"/>
                        </a:lnTo>
                        <a:lnTo>
                          <a:pt x="427" y="0"/>
                        </a:lnTo>
                        <a:lnTo>
                          <a:pt x="364" y="49"/>
                        </a:lnTo>
                        <a:lnTo>
                          <a:pt x="145" y="106"/>
                        </a:lnTo>
                        <a:lnTo>
                          <a:pt x="0" y="137"/>
                        </a:lnTo>
                        <a:close/>
                      </a:path>
                    </a:pathLst>
                  </a:custGeom>
                  <a:solidFill>
                    <a:schemeClr val="accent4">
                      <a:lumMod val="40000"/>
                      <a:lumOff val="60000"/>
                    </a:schemeClr>
                  </a:solidFill>
                  <a:ln w="9525">
                    <a:solidFill>
                      <a:schemeClr val="tx1"/>
                    </a:solidFill>
                    <a:round/>
                    <a:headEnd/>
                    <a:tailEnd/>
                  </a:ln>
                </p:spPr>
                <p:txBody>
                  <a:bodyPr/>
                  <a:lstStyle/>
                  <a:p>
                    <a:pPr>
                      <a:defRPr/>
                    </a:pPr>
                    <a:endParaRPr lang="en-US" sz="1100" dirty="0">
                      <a:latin typeface="+mj-lt"/>
                    </a:endParaRPr>
                  </a:p>
                </p:txBody>
              </p:sp>
              <p:sp>
                <p:nvSpPr>
                  <p:cNvPr id="138" name="Freeform 57"/>
                  <p:cNvSpPr>
                    <a:spLocks/>
                  </p:cNvSpPr>
                  <p:nvPr/>
                </p:nvSpPr>
                <p:spPr bwMode="gray">
                  <a:xfrm>
                    <a:off x="5414906" y="2080099"/>
                    <a:ext cx="29235" cy="24362"/>
                  </a:xfrm>
                  <a:custGeom>
                    <a:avLst/>
                    <a:gdLst>
                      <a:gd name="T0" fmla="*/ 0 w 60"/>
                      <a:gd name="T1" fmla="*/ 49 h 49"/>
                      <a:gd name="T2" fmla="*/ 26 w 60"/>
                      <a:gd name="T3" fmla="*/ 0 h 49"/>
                      <a:gd name="T4" fmla="*/ 60 w 60"/>
                      <a:gd name="T5" fmla="*/ 22 h 49"/>
                      <a:gd name="T6" fmla="*/ 0 w 60"/>
                      <a:gd name="T7" fmla="*/ 49 h 49"/>
                      <a:gd name="T8" fmla="*/ 0 60000 65536"/>
                      <a:gd name="T9" fmla="*/ 0 60000 65536"/>
                      <a:gd name="T10" fmla="*/ 0 60000 65536"/>
                      <a:gd name="T11" fmla="*/ 0 60000 65536"/>
                      <a:gd name="T12" fmla="*/ 0 w 60"/>
                      <a:gd name="T13" fmla="*/ 0 h 49"/>
                      <a:gd name="T14" fmla="*/ 60 w 60"/>
                      <a:gd name="T15" fmla="*/ 49 h 49"/>
                    </a:gdLst>
                    <a:ahLst/>
                    <a:cxnLst>
                      <a:cxn ang="T8">
                        <a:pos x="T0" y="T1"/>
                      </a:cxn>
                      <a:cxn ang="T9">
                        <a:pos x="T2" y="T3"/>
                      </a:cxn>
                      <a:cxn ang="T10">
                        <a:pos x="T4" y="T5"/>
                      </a:cxn>
                      <a:cxn ang="T11">
                        <a:pos x="T6" y="T7"/>
                      </a:cxn>
                    </a:cxnLst>
                    <a:rect l="T12" t="T13" r="T14" b="T15"/>
                    <a:pathLst>
                      <a:path w="60" h="49">
                        <a:moveTo>
                          <a:pt x="0" y="49"/>
                        </a:moveTo>
                        <a:lnTo>
                          <a:pt x="26" y="0"/>
                        </a:lnTo>
                        <a:lnTo>
                          <a:pt x="60" y="22"/>
                        </a:lnTo>
                        <a:lnTo>
                          <a:pt x="0" y="49"/>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39" name="Freeform 58"/>
                  <p:cNvSpPr>
                    <a:spLocks/>
                  </p:cNvSpPr>
                  <p:nvPr/>
                </p:nvSpPr>
                <p:spPr bwMode="gray">
                  <a:xfrm>
                    <a:off x="5469477" y="2076201"/>
                    <a:ext cx="23388" cy="18515"/>
                  </a:xfrm>
                  <a:custGeom>
                    <a:avLst/>
                    <a:gdLst>
                      <a:gd name="T0" fmla="*/ 0 w 47"/>
                      <a:gd name="T1" fmla="*/ 36 h 36"/>
                      <a:gd name="T2" fmla="*/ 26 w 47"/>
                      <a:gd name="T3" fmla="*/ 0 h 36"/>
                      <a:gd name="T4" fmla="*/ 47 w 47"/>
                      <a:gd name="T5" fmla="*/ 27 h 36"/>
                      <a:gd name="T6" fmla="*/ 0 w 47"/>
                      <a:gd name="T7" fmla="*/ 36 h 36"/>
                      <a:gd name="T8" fmla="*/ 0 60000 65536"/>
                      <a:gd name="T9" fmla="*/ 0 60000 65536"/>
                      <a:gd name="T10" fmla="*/ 0 60000 65536"/>
                      <a:gd name="T11" fmla="*/ 0 60000 65536"/>
                      <a:gd name="T12" fmla="*/ 0 w 47"/>
                      <a:gd name="T13" fmla="*/ 0 h 36"/>
                      <a:gd name="T14" fmla="*/ 47 w 47"/>
                      <a:gd name="T15" fmla="*/ 36 h 36"/>
                    </a:gdLst>
                    <a:ahLst/>
                    <a:cxnLst>
                      <a:cxn ang="T8">
                        <a:pos x="T0" y="T1"/>
                      </a:cxn>
                      <a:cxn ang="T9">
                        <a:pos x="T2" y="T3"/>
                      </a:cxn>
                      <a:cxn ang="T10">
                        <a:pos x="T4" y="T5"/>
                      </a:cxn>
                      <a:cxn ang="T11">
                        <a:pos x="T6" y="T7"/>
                      </a:cxn>
                    </a:cxnLst>
                    <a:rect l="T12" t="T13" r="T14" b="T15"/>
                    <a:pathLst>
                      <a:path w="47" h="36">
                        <a:moveTo>
                          <a:pt x="0" y="36"/>
                        </a:moveTo>
                        <a:lnTo>
                          <a:pt x="26" y="0"/>
                        </a:lnTo>
                        <a:lnTo>
                          <a:pt x="47" y="27"/>
                        </a:lnTo>
                        <a:lnTo>
                          <a:pt x="0" y="36"/>
                        </a:lnTo>
                        <a:close/>
                      </a:path>
                    </a:pathLst>
                  </a:custGeom>
                  <a:grpFill/>
                  <a:ln w="9525">
                    <a:solidFill>
                      <a:schemeClr val="tx1"/>
                    </a:solidFill>
                    <a:round/>
                    <a:headEnd/>
                    <a:tailEnd/>
                  </a:ln>
                </p:spPr>
                <p:txBody>
                  <a:bodyPr/>
                  <a:lstStyle/>
                  <a:p>
                    <a:pPr>
                      <a:defRPr/>
                    </a:pPr>
                    <a:endParaRPr lang="en-US" sz="1100" dirty="0">
                      <a:latin typeface="+mj-lt"/>
                    </a:endParaRPr>
                  </a:p>
                </p:txBody>
              </p:sp>
            </p:grpSp>
            <p:grpSp>
              <p:nvGrpSpPr>
                <p:cNvPr id="98" name="Group 193"/>
                <p:cNvGrpSpPr/>
                <p:nvPr/>
              </p:nvGrpSpPr>
              <p:grpSpPr bwMode="gray">
                <a:xfrm>
                  <a:off x="3620869" y="1617216"/>
                  <a:ext cx="727944" cy="685067"/>
                  <a:chOff x="3620869" y="1617216"/>
                  <a:chExt cx="727944" cy="685067"/>
                </a:xfrm>
                <a:grpFill/>
              </p:grpSpPr>
              <p:sp>
                <p:nvSpPr>
                  <p:cNvPr id="135" name="Freeform 59"/>
                  <p:cNvSpPr>
                    <a:spLocks/>
                  </p:cNvSpPr>
                  <p:nvPr/>
                </p:nvSpPr>
                <p:spPr bwMode="gray">
                  <a:xfrm>
                    <a:off x="3620869" y="1617216"/>
                    <a:ext cx="554485" cy="285526"/>
                  </a:xfrm>
                  <a:custGeom>
                    <a:avLst/>
                    <a:gdLst>
                      <a:gd name="T0" fmla="*/ 89 w 1138"/>
                      <a:gd name="T1" fmla="*/ 317 h 585"/>
                      <a:gd name="T2" fmla="*/ 408 w 1138"/>
                      <a:gd name="T3" fmla="*/ 385 h 585"/>
                      <a:gd name="T4" fmla="*/ 461 w 1138"/>
                      <a:gd name="T5" fmla="*/ 432 h 585"/>
                      <a:gd name="T6" fmla="*/ 567 w 1138"/>
                      <a:gd name="T7" fmla="*/ 468 h 585"/>
                      <a:gd name="T8" fmla="*/ 594 w 1138"/>
                      <a:gd name="T9" fmla="*/ 423 h 585"/>
                      <a:gd name="T10" fmla="*/ 611 w 1138"/>
                      <a:gd name="T11" fmla="*/ 372 h 585"/>
                      <a:gd name="T12" fmla="*/ 610 w 1138"/>
                      <a:gd name="T13" fmla="*/ 392 h 585"/>
                      <a:gd name="T14" fmla="*/ 635 w 1138"/>
                      <a:gd name="T15" fmla="*/ 417 h 585"/>
                      <a:gd name="T16" fmla="*/ 668 w 1138"/>
                      <a:gd name="T17" fmla="*/ 384 h 585"/>
                      <a:gd name="T18" fmla="*/ 687 w 1138"/>
                      <a:gd name="T19" fmla="*/ 378 h 585"/>
                      <a:gd name="T20" fmla="*/ 678 w 1138"/>
                      <a:gd name="T21" fmla="*/ 439 h 585"/>
                      <a:gd name="T22" fmla="*/ 720 w 1138"/>
                      <a:gd name="T23" fmla="*/ 392 h 585"/>
                      <a:gd name="T24" fmla="*/ 799 w 1138"/>
                      <a:gd name="T25" fmla="*/ 340 h 585"/>
                      <a:gd name="T26" fmla="*/ 879 w 1138"/>
                      <a:gd name="T27" fmla="*/ 301 h 585"/>
                      <a:gd name="T28" fmla="*/ 1001 w 1138"/>
                      <a:gd name="T29" fmla="*/ 347 h 585"/>
                      <a:gd name="T30" fmla="*/ 1029 w 1138"/>
                      <a:gd name="T31" fmla="*/ 302 h 585"/>
                      <a:gd name="T32" fmla="*/ 1138 w 1138"/>
                      <a:gd name="T33" fmla="*/ 294 h 585"/>
                      <a:gd name="T34" fmla="*/ 1061 w 1138"/>
                      <a:gd name="T35" fmla="*/ 193 h 585"/>
                      <a:gd name="T36" fmla="*/ 995 w 1138"/>
                      <a:gd name="T37" fmla="*/ 193 h 585"/>
                      <a:gd name="T38" fmla="*/ 945 w 1138"/>
                      <a:gd name="T39" fmla="*/ 197 h 585"/>
                      <a:gd name="T40" fmla="*/ 926 w 1138"/>
                      <a:gd name="T41" fmla="*/ 159 h 585"/>
                      <a:gd name="T42" fmla="*/ 887 w 1138"/>
                      <a:gd name="T43" fmla="*/ 136 h 585"/>
                      <a:gd name="T44" fmla="*/ 728 w 1138"/>
                      <a:gd name="T45" fmla="*/ 175 h 585"/>
                      <a:gd name="T46" fmla="*/ 639 w 1138"/>
                      <a:gd name="T47" fmla="*/ 229 h 585"/>
                      <a:gd name="T48" fmla="*/ 587 w 1138"/>
                      <a:gd name="T49" fmla="*/ 219 h 585"/>
                      <a:gd name="T50" fmla="*/ 528 w 1138"/>
                      <a:gd name="T51" fmla="*/ 233 h 585"/>
                      <a:gd name="T52" fmla="*/ 403 w 1138"/>
                      <a:gd name="T53" fmla="*/ 141 h 585"/>
                      <a:gd name="T54" fmla="*/ 369 w 1138"/>
                      <a:gd name="T55" fmla="*/ 163 h 585"/>
                      <a:gd name="T56" fmla="*/ 349 w 1138"/>
                      <a:gd name="T57" fmla="*/ 156 h 585"/>
                      <a:gd name="T58" fmla="*/ 337 w 1138"/>
                      <a:gd name="T59" fmla="*/ 137 h 585"/>
                      <a:gd name="T60" fmla="*/ 410 w 1138"/>
                      <a:gd name="T61" fmla="*/ 22 h 585"/>
                      <a:gd name="T62" fmla="*/ 443 w 1138"/>
                      <a:gd name="T63" fmla="*/ 0 h 585"/>
                      <a:gd name="T64" fmla="*/ 334 w 1138"/>
                      <a:gd name="T65" fmla="*/ 28 h 585"/>
                      <a:gd name="T66" fmla="*/ 269 w 1138"/>
                      <a:gd name="T67" fmla="*/ 92 h 585"/>
                      <a:gd name="T68" fmla="*/ 212 w 1138"/>
                      <a:gd name="T69" fmla="*/ 137 h 585"/>
                      <a:gd name="T70" fmla="*/ 174 w 1138"/>
                      <a:gd name="T71" fmla="*/ 171 h 585"/>
                      <a:gd name="T72" fmla="*/ 90 w 1138"/>
                      <a:gd name="T73" fmla="*/ 197 h 585"/>
                      <a:gd name="T74" fmla="*/ 0 w 1138"/>
                      <a:gd name="T75" fmla="*/ 254 h 58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138"/>
                      <a:gd name="T115" fmla="*/ 0 h 585"/>
                      <a:gd name="T116" fmla="*/ 1138 w 1138"/>
                      <a:gd name="T117" fmla="*/ 585 h 58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138" h="585">
                        <a:moveTo>
                          <a:pt x="0" y="254"/>
                        </a:moveTo>
                        <a:lnTo>
                          <a:pt x="89" y="317"/>
                        </a:lnTo>
                        <a:lnTo>
                          <a:pt x="307" y="373"/>
                        </a:lnTo>
                        <a:lnTo>
                          <a:pt x="408" y="385"/>
                        </a:lnTo>
                        <a:lnTo>
                          <a:pt x="422" y="421"/>
                        </a:lnTo>
                        <a:lnTo>
                          <a:pt x="461" y="432"/>
                        </a:lnTo>
                        <a:lnTo>
                          <a:pt x="518" y="585"/>
                        </a:lnTo>
                        <a:lnTo>
                          <a:pt x="567" y="468"/>
                        </a:lnTo>
                        <a:lnTo>
                          <a:pt x="578" y="439"/>
                        </a:lnTo>
                        <a:lnTo>
                          <a:pt x="594" y="423"/>
                        </a:lnTo>
                        <a:lnTo>
                          <a:pt x="593" y="403"/>
                        </a:lnTo>
                        <a:lnTo>
                          <a:pt x="611" y="372"/>
                        </a:lnTo>
                        <a:lnTo>
                          <a:pt x="616" y="374"/>
                        </a:lnTo>
                        <a:lnTo>
                          <a:pt x="610" y="392"/>
                        </a:lnTo>
                        <a:lnTo>
                          <a:pt x="613" y="426"/>
                        </a:lnTo>
                        <a:lnTo>
                          <a:pt x="635" y="417"/>
                        </a:lnTo>
                        <a:lnTo>
                          <a:pt x="643" y="382"/>
                        </a:lnTo>
                        <a:lnTo>
                          <a:pt x="668" y="384"/>
                        </a:lnTo>
                        <a:lnTo>
                          <a:pt x="683" y="369"/>
                        </a:lnTo>
                        <a:lnTo>
                          <a:pt x="687" y="378"/>
                        </a:lnTo>
                        <a:lnTo>
                          <a:pt x="659" y="431"/>
                        </a:lnTo>
                        <a:lnTo>
                          <a:pt x="678" y="439"/>
                        </a:lnTo>
                        <a:lnTo>
                          <a:pt x="694" y="406"/>
                        </a:lnTo>
                        <a:lnTo>
                          <a:pt x="720" y="392"/>
                        </a:lnTo>
                        <a:lnTo>
                          <a:pt x="733" y="352"/>
                        </a:lnTo>
                        <a:lnTo>
                          <a:pt x="799" y="340"/>
                        </a:lnTo>
                        <a:lnTo>
                          <a:pt x="831" y="337"/>
                        </a:lnTo>
                        <a:lnTo>
                          <a:pt x="879" y="301"/>
                        </a:lnTo>
                        <a:lnTo>
                          <a:pt x="952" y="313"/>
                        </a:lnTo>
                        <a:lnTo>
                          <a:pt x="1001" y="347"/>
                        </a:lnTo>
                        <a:lnTo>
                          <a:pt x="1004" y="304"/>
                        </a:lnTo>
                        <a:lnTo>
                          <a:pt x="1029" y="302"/>
                        </a:lnTo>
                        <a:lnTo>
                          <a:pt x="1089" y="307"/>
                        </a:lnTo>
                        <a:lnTo>
                          <a:pt x="1138" y="294"/>
                        </a:lnTo>
                        <a:lnTo>
                          <a:pt x="1074" y="255"/>
                        </a:lnTo>
                        <a:lnTo>
                          <a:pt x="1061" y="193"/>
                        </a:lnTo>
                        <a:lnTo>
                          <a:pt x="1011" y="204"/>
                        </a:lnTo>
                        <a:lnTo>
                          <a:pt x="995" y="193"/>
                        </a:lnTo>
                        <a:lnTo>
                          <a:pt x="974" y="204"/>
                        </a:lnTo>
                        <a:lnTo>
                          <a:pt x="945" y="197"/>
                        </a:lnTo>
                        <a:lnTo>
                          <a:pt x="931" y="196"/>
                        </a:lnTo>
                        <a:lnTo>
                          <a:pt x="926" y="159"/>
                        </a:lnTo>
                        <a:lnTo>
                          <a:pt x="937" y="125"/>
                        </a:lnTo>
                        <a:lnTo>
                          <a:pt x="887" y="136"/>
                        </a:lnTo>
                        <a:lnTo>
                          <a:pt x="843" y="158"/>
                        </a:lnTo>
                        <a:lnTo>
                          <a:pt x="728" y="175"/>
                        </a:lnTo>
                        <a:lnTo>
                          <a:pt x="652" y="243"/>
                        </a:lnTo>
                        <a:lnTo>
                          <a:pt x="639" y="229"/>
                        </a:lnTo>
                        <a:lnTo>
                          <a:pt x="616" y="240"/>
                        </a:lnTo>
                        <a:lnTo>
                          <a:pt x="587" y="219"/>
                        </a:lnTo>
                        <a:lnTo>
                          <a:pt x="568" y="226"/>
                        </a:lnTo>
                        <a:lnTo>
                          <a:pt x="528" y="233"/>
                        </a:lnTo>
                        <a:lnTo>
                          <a:pt x="470" y="154"/>
                        </a:lnTo>
                        <a:lnTo>
                          <a:pt x="403" y="141"/>
                        </a:lnTo>
                        <a:lnTo>
                          <a:pt x="383" y="145"/>
                        </a:lnTo>
                        <a:lnTo>
                          <a:pt x="369" y="163"/>
                        </a:lnTo>
                        <a:lnTo>
                          <a:pt x="381" y="130"/>
                        </a:lnTo>
                        <a:lnTo>
                          <a:pt x="349" y="156"/>
                        </a:lnTo>
                        <a:lnTo>
                          <a:pt x="334" y="184"/>
                        </a:lnTo>
                        <a:lnTo>
                          <a:pt x="337" y="137"/>
                        </a:lnTo>
                        <a:lnTo>
                          <a:pt x="369" y="70"/>
                        </a:lnTo>
                        <a:lnTo>
                          <a:pt x="410" y="22"/>
                        </a:lnTo>
                        <a:lnTo>
                          <a:pt x="449" y="11"/>
                        </a:lnTo>
                        <a:lnTo>
                          <a:pt x="443" y="0"/>
                        </a:lnTo>
                        <a:lnTo>
                          <a:pt x="376" y="6"/>
                        </a:lnTo>
                        <a:lnTo>
                          <a:pt x="334" y="28"/>
                        </a:lnTo>
                        <a:lnTo>
                          <a:pt x="320" y="52"/>
                        </a:lnTo>
                        <a:lnTo>
                          <a:pt x="269" y="92"/>
                        </a:lnTo>
                        <a:lnTo>
                          <a:pt x="248" y="126"/>
                        </a:lnTo>
                        <a:lnTo>
                          <a:pt x="212" y="137"/>
                        </a:lnTo>
                        <a:lnTo>
                          <a:pt x="197" y="158"/>
                        </a:lnTo>
                        <a:lnTo>
                          <a:pt x="174" y="171"/>
                        </a:lnTo>
                        <a:lnTo>
                          <a:pt x="105" y="183"/>
                        </a:lnTo>
                        <a:lnTo>
                          <a:pt x="90" y="197"/>
                        </a:lnTo>
                        <a:lnTo>
                          <a:pt x="58" y="227"/>
                        </a:lnTo>
                        <a:lnTo>
                          <a:pt x="0" y="254"/>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36" name="Freeform 60"/>
                  <p:cNvSpPr>
                    <a:spLocks/>
                  </p:cNvSpPr>
                  <p:nvPr/>
                </p:nvSpPr>
                <p:spPr bwMode="gray">
                  <a:xfrm>
                    <a:off x="3976558" y="1794573"/>
                    <a:ext cx="372255" cy="507710"/>
                  </a:xfrm>
                  <a:custGeom>
                    <a:avLst/>
                    <a:gdLst>
                      <a:gd name="T0" fmla="*/ 0 w 765"/>
                      <a:gd name="T1" fmla="*/ 1042 h 1042"/>
                      <a:gd name="T2" fmla="*/ 74 w 765"/>
                      <a:gd name="T3" fmla="*/ 915 h 1042"/>
                      <a:gd name="T4" fmla="*/ 88 w 765"/>
                      <a:gd name="T5" fmla="*/ 869 h 1042"/>
                      <a:gd name="T6" fmla="*/ 92 w 765"/>
                      <a:gd name="T7" fmla="*/ 781 h 1042"/>
                      <a:gd name="T8" fmla="*/ 75 w 765"/>
                      <a:gd name="T9" fmla="*/ 694 h 1042"/>
                      <a:gd name="T10" fmla="*/ 31 w 765"/>
                      <a:gd name="T11" fmla="*/ 612 h 1042"/>
                      <a:gd name="T12" fmla="*/ 11 w 765"/>
                      <a:gd name="T13" fmla="*/ 564 h 1042"/>
                      <a:gd name="T14" fmla="*/ 25 w 765"/>
                      <a:gd name="T15" fmla="*/ 523 h 1042"/>
                      <a:gd name="T16" fmla="*/ 4 w 765"/>
                      <a:gd name="T17" fmla="*/ 470 h 1042"/>
                      <a:gd name="T18" fmla="*/ 26 w 765"/>
                      <a:gd name="T19" fmla="*/ 433 h 1042"/>
                      <a:gd name="T20" fmla="*/ 44 w 765"/>
                      <a:gd name="T21" fmla="*/ 342 h 1042"/>
                      <a:gd name="T22" fmla="*/ 39 w 765"/>
                      <a:gd name="T23" fmla="*/ 300 h 1042"/>
                      <a:gd name="T24" fmla="*/ 68 w 765"/>
                      <a:gd name="T25" fmla="*/ 275 h 1042"/>
                      <a:gd name="T26" fmla="*/ 64 w 765"/>
                      <a:gd name="T27" fmla="*/ 245 h 1042"/>
                      <a:gd name="T28" fmla="*/ 110 w 765"/>
                      <a:gd name="T29" fmla="*/ 223 h 1042"/>
                      <a:gd name="T30" fmla="*/ 149 w 765"/>
                      <a:gd name="T31" fmla="*/ 158 h 1042"/>
                      <a:gd name="T32" fmla="*/ 143 w 765"/>
                      <a:gd name="T33" fmla="*/ 264 h 1042"/>
                      <a:gd name="T34" fmla="*/ 176 w 765"/>
                      <a:gd name="T35" fmla="*/ 243 h 1042"/>
                      <a:gd name="T36" fmla="*/ 175 w 765"/>
                      <a:gd name="T37" fmla="*/ 157 h 1042"/>
                      <a:gd name="T38" fmla="*/ 219 w 765"/>
                      <a:gd name="T39" fmla="*/ 108 h 1042"/>
                      <a:gd name="T40" fmla="*/ 248 w 765"/>
                      <a:gd name="T41" fmla="*/ 102 h 1042"/>
                      <a:gd name="T42" fmla="*/ 224 w 765"/>
                      <a:gd name="T43" fmla="*/ 87 h 1042"/>
                      <a:gd name="T44" fmla="*/ 214 w 765"/>
                      <a:gd name="T45" fmla="*/ 58 h 1042"/>
                      <a:gd name="T46" fmla="*/ 232 w 765"/>
                      <a:gd name="T47" fmla="*/ 14 h 1042"/>
                      <a:gd name="T48" fmla="*/ 271 w 765"/>
                      <a:gd name="T49" fmla="*/ 0 h 1042"/>
                      <a:gd name="T50" fmla="*/ 361 w 765"/>
                      <a:gd name="T51" fmla="*/ 26 h 1042"/>
                      <a:gd name="T52" fmla="*/ 394 w 765"/>
                      <a:gd name="T53" fmla="*/ 60 h 1042"/>
                      <a:gd name="T54" fmla="*/ 500 w 765"/>
                      <a:gd name="T55" fmla="*/ 82 h 1042"/>
                      <a:gd name="T56" fmla="*/ 520 w 765"/>
                      <a:gd name="T57" fmla="*/ 115 h 1042"/>
                      <a:gd name="T58" fmla="*/ 551 w 765"/>
                      <a:gd name="T59" fmla="*/ 153 h 1042"/>
                      <a:gd name="T60" fmla="*/ 523 w 765"/>
                      <a:gd name="T61" fmla="*/ 152 h 1042"/>
                      <a:gd name="T62" fmla="*/ 519 w 765"/>
                      <a:gd name="T63" fmla="*/ 173 h 1042"/>
                      <a:gd name="T64" fmla="*/ 552 w 765"/>
                      <a:gd name="T65" fmla="*/ 214 h 1042"/>
                      <a:gd name="T66" fmla="*/ 558 w 765"/>
                      <a:gd name="T67" fmla="*/ 286 h 1042"/>
                      <a:gd name="T68" fmla="*/ 558 w 765"/>
                      <a:gd name="T69" fmla="*/ 329 h 1042"/>
                      <a:gd name="T70" fmla="*/ 526 w 765"/>
                      <a:gd name="T71" fmla="*/ 380 h 1042"/>
                      <a:gd name="T72" fmla="*/ 523 w 765"/>
                      <a:gd name="T73" fmla="*/ 406 h 1042"/>
                      <a:gd name="T74" fmla="*/ 481 w 765"/>
                      <a:gd name="T75" fmla="*/ 427 h 1042"/>
                      <a:gd name="T76" fmla="*/ 472 w 765"/>
                      <a:gd name="T77" fmla="*/ 450 h 1042"/>
                      <a:gd name="T78" fmla="*/ 476 w 765"/>
                      <a:gd name="T79" fmla="*/ 503 h 1042"/>
                      <a:gd name="T80" fmla="*/ 521 w 765"/>
                      <a:gd name="T81" fmla="*/ 525 h 1042"/>
                      <a:gd name="T82" fmla="*/ 557 w 765"/>
                      <a:gd name="T83" fmla="*/ 483 h 1042"/>
                      <a:gd name="T84" fmla="*/ 583 w 765"/>
                      <a:gd name="T85" fmla="*/ 425 h 1042"/>
                      <a:gd name="T86" fmla="*/ 645 w 765"/>
                      <a:gd name="T87" fmla="*/ 388 h 1042"/>
                      <a:gd name="T88" fmla="*/ 687 w 765"/>
                      <a:gd name="T89" fmla="*/ 411 h 1042"/>
                      <a:gd name="T90" fmla="*/ 714 w 765"/>
                      <a:gd name="T91" fmla="*/ 475 h 1042"/>
                      <a:gd name="T92" fmla="*/ 749 w 765"/>
                      <a:gd name="T93" fmla="*/ 600 h 1042"/>
                      <a:gd name="T94" fmla="*/ 765 w 765"/>
                      <a:gd name="T95" fmla="*/ 641 h 1042"/>
                      <a:gd name="T96" fmla="*/ 755 w 765"/>
                      <a:gd name="T97" fmla="*/ 673 h 1042"/>
                      <a:gd name="T98" fmla="*/ 760 w 765"/>
                      <a:gd name="T99" fmla="*/ 726 h 1042"/>
                      <a:gd name="T100" fmla="*/ 747 w 765"/>
                      <a:gd name="T101" fmla="*/ 756 h 1042"/>
                      <a:gd name="T102" fmla="*/ 729 w 765"/>
                      <a:gd name="T103" fmla="*/ 726 h 1042"/>
                      <a:gd name="T104" fmla="*/ 709 w 765"/>
                      <a:gd name="T105" fmla="*/ 739 h 1042"/>
                      <a:gd name="T106" fmla="*/ 707 w 765"/>
                      <a:gd name="T107" fmla="*/ 788 h 1042"/>
                      <a:gd name="T108" fmla="*/ 699 w 765"/>
                      <a:gd name="T109" fmla="*/ 809 h 1042"/>
                      <a:gd name="T110" fmla="*/ 667 w 765"/>
                      <a:gd name="T111" fmla="*/ 831 h 1042"/>
                      <a:gd name="T112" fmla="*/ 665 w 765"/>
                      <a:gd name="T113" fmla="*/ 896 h 1042"/>
                      <a:gd name="T114" fmla="*/ 643 w 765"/>
                      <a:gd name="T115" fmla="*/ 925 h 1042"/>
                      <a:gd name="T116" fmla="*/ 623 w 765"/>
                      <a:gd name="T117" fmla="*/ 979 h 1042"/>
                      <a:gd name="T118" fmla="*/ 375 w 765"/>
                      <a:gd name="T119" fmla="*/ 1018 h 1042"/>
                      <a:gd name="T120" fmla="*/ 368 w 765"/>
                      <a:gd name="T121" fmla="*/ 1002 h 1042"/>
                      <a:gd name="T122" fmla="*/ 0 w 765"/>
                      <a:gd name="T123" fmla="*/ 1042 h 104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65"/>
                      <a:gd name="T187" fmla="*/ 0 h 1042"/>
                      <a:gd name="T188" fmla="*/ 765 w 765"/>
                      <a:gd name="T189" fmla="*/ 1042 h 104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65" h="1042">
                        <a:moveTo>
                          <a:pt x="0" y="1042"/>
                        </a:moveTo>
                        <a:lnTo>
                          <a:pt x="74" y="915"/>
                        </a:lnTo>
                        <a:lnTo>
                          <a:pt x="88" y="869"/>
                        </a:lnTo>
                        <a:lnTo>
                          <a:pt x="92" y="781"/>
                        </a:lnTo>
                        <a:lnTo>
                          <a:pt x="75" y="694"/>
                        </a:lnTo>
                        <a:lnTo>
                          <a:pt x="31" y="612"/>
                        </a:lnTo>
                        <a:lnTo>
                          <a:pt x="11" y="564"/>
                        </a:lnTo>
                        <a:lnTo>
                          <a:pt x="25" y="523"/>
                        </a:lnTo>
                        <a:lnTo>
                          <a:pt x="4" y="470"/>
                        </a:lnTo>
                        <a:lnTo>
                          <a:pt x="26" y="433"/>
                        </a:lnTo>
                        <a:lnTo>
                          <a:pt x="44" y="342"/>
                        </a:lnTo>
                        <a:lnTo>
                          <a:pt x="39" y="300"/>
                        </a:lnTo>
                        <a:lnTo>
                          <a:pt x="68" y="275"/>
                        </a:lnTo>
                        <a:lnTo>
                          <a:pt x="64" y="245"/>
                        </a:lnTo>
                        <a:lnTo>
                          <a:pt x="110" y="223"/>
                        </a:lnTo>
                        <a:lnTo>
                          <a:pt x="149" y="158"/>
                        </a:lnTo>
                        <a:lnTo>
                          <a:pt x="143" y="264"/>
                        </a:lnTo>
                        <a:lnTo>
                          <a:pt x="176" y="243"/>
                        </a:lnTo>
                        <a:lnTo>
                          <a:pt x="175" y="157"/>
                        </a:lnTo>
                        <a:lnTo>
                          <a:pt x="219" y="108"/>
                        </a:lnTo>
                        <a:lnTo>
                          <a:pt x="248" y="102"/>
                        </a:lnTo>
                        <a:lnTo>
                          <a:pt x="224" y="87"/>
                        </a:lnTo>
                        <a:lnTo>
                          <a:pt x="214" y="58"/>
                        </a:lnTo>
                        <a:lnTo>
                          <a:pt x="232" y="14"/>
                        </a:lnTo>
                        <a:lnTo>
                          <a:pt x="271" y="0"/>
                        </a:lnTo>
                        <a:lnTo>
                          <a:pt x="361" y="26"/>
                        </a:lnTo>
                        <a:lnTo>
                          <a:pt x="394" y="60"/>
                        </a:lnTo>
                        <a:lnTo>
                          <a:pt x="500" y="82"/>
                        </a:lnTo>
                        <a:lnTo>
                          <a:pt x="520" y="115"/>
                        </a:lnTo>
                        <a:lnTo>
                          <a:pt x="551" y="153"/>
                        </a:lnTo>
                        <a:lnTo>
                          <a:pt x="523" y="152"/>
                        </a:lnTo>
                        <a:lnTo>
                          <a:pt x="519" y="173"/>
                        </a:lnTo>
                        <a:lnTo>
                          <a:pt x="552" y="214"/>
                        </a:lnTo>
                        <a:lnTo>
                          <a:pt x="558" y="286"/>
                        </a:lnTo>
                        <a:lnTo>
                          <a:pt x="558" y="329"/>
                        </a:lnTo>
                        <a:lnTo>
                          <a:pt x="526" y="380"/>
                        </a:lnTo>
                        <a:lnTo>
                          <a:pt x="523" y="406"/>
                        </a:lnTo>
                        <a:lnTo>
                          <a:pt x="481" y="427"/>
                        </a:lnTo>
                        <a:lnTo>
                          <a:pt x="472" y="450"/>
                        </a:lnTo>
                        <a:lnTo>
                          <a:pt x="476" y="503"/>
                        </a:lnTo>
                        <a:lnTo>
                          <a:pt x="521" y="525"/>
                        </a:lnTo>
                        <a:lnTo>
                          <a:pt x="557" y="483"/>
                        </a:lnTo>
                        <a:lnTo>
                          <a:pt x="583" y="425"/>
                        </a:lnTo>
                        <a:lnTo>
                          <a:pt x="645" y="388"/>
                        </a:lnTo>
                        <a:lnTo>
                          <a:pt x="687" y="411"/>
                        </a:lnTo>
                        <a:lnTo>
                          <a:pt x="714" y="475"/>
                        </a:lnTo>
                        <a:lnTo>
                          <a:pt x="749" y="600"/>
                        </a:lnTo>
                        <a:lnTo>
                          <a:pt x="765" y="641"/>
                        </a:lnTo>
                        <a:lnTo>
                          <a:pt x="755" y="673"/>
                        </a:lnTo>
                        <a:lnTo>
                          <a:pt x="760" y="726"/>
                        </a:lnTo>
                        <a:lnTo>
                          <a:pt x="747" y="756"/>
                        </a:lnTo>
                        <a:lnTo>
                          <a:pt x="729" y="726"/>
                        </a:lnTo>
                        <a:lnTo>
                          <a:pt x="709" y="739"/>
                        </a:lnTo>
                        <a:lnTo>
                          <a:pt x="707" y="788"/>
                        </a:lnTo>
                        <a:lnTo>
                          <a:pt x="699" y="809"/>
                        </a:lnTo>
                        <a:lnTo>
                          <a:pt x="667" y="831"/>
                        </a:lnTo>
                        <a:lnTo>
                          <a:pt x="665" y="896"/>
                        </a:lnTo>
                        <a:lnTo>
                          <a:pt x="643" y="925"/>
                        </a:lnTo>
                        <a:lnTo>
                          <a:pt x="623" y="979"/>
                        </a:lnTo>
                        <a:lnTo>
                          <a:pt x="375" y="1018"/>
                        </a:lnTo>
                        <a:lnTo>
                          <a:pt x="368" y="1002"/>
                        </a:lnTo>
                        <a:lnTo>
                          <a:pt x="0" y="1042"/>
                        </a:lnTo>
                        <a:close/>
                      </a:path>
                    </a:pathLst>
                  </a:custGeom>
                  <a:grpFill/>
                  <a:ln w="9525">
                    <a:solidFill>
                      <a:schemeClr val="tx1"/>
                    </a:solidFill>
                    <a:round/>
                    <a:headEnd/>
                    <a:tailEnd/>
                  </a:ln>
                </p:spPr>
                <p:txBody>
                  <a:bodyPr/>
                  <a:lstStyle/>
                  <a:p>
                    <a:pPr>
                      <a:defRPr/>
                    </a:pPr>
                    <a:endParaRPr lang="en-US" sz="1100" dirty="0">
                      <a:latin typeface="+mj-lt"/>
                    </a:endParaRPr>
                  </a:p>
                </p:txBody>
              </p:sp>
            </p:grpSp>
            <p:sp>
              <p:nvSpPr>
                <p:cNvPr id="99" name="Freeform 61"/>
                <p:cNvSpPr>
                  <a:spLocks/>
                </p:cNvSpPr>
                <p:nvPr/>
              </p:nvSpPr>
              <p:spPr bwMode="gray">
                <a:xfrm>
                  <a:off x="3052741" y="1411598"/>
                  <a:ext cx="636343" cy="715276"/>
                </a:xfrm>
                <a:custGeom>
                  <a:avLst/>
                  <a:gdLst>
                    <a:gd name="T0" fmla="*/ 0 w 1305"/>
                    <a:gd name="T1" fmla="*/ 92 h 1467"/>
                    <a:gd name="T2" fmla="*/ 9 w 1305"/>
                    <a:gd name="T3" fmla="*/ 298 h 1467"/>
                    <a:gd name="T4" fmla="*/ 59 w 1305"/>
                    <a:gd name="T5" fmla="*/ 465 h 1467"/>
                    <a:gd name="T6" fmla="*/ 66 w 1305"/>
                    <a:gd name="T7" fmla="*/ 681 h 1467"/>
                    <a:gd name="T8" fmla="*/ 101 w 1305"/>
                    <a:gd name="T9" fmla="*/ 854 h 1467"/>
                    <a:gd name="T10" fmla="*/ 55 w 1305"/>
                    <a:gd name="T11" fmla="*/ 943 h 1467"/>
                    <a:gd name="T12" fmla="*/ 122 w 1305"/>
                    <a:gd name="T13" fmla="*/ 1008 h 1467"/>
                    <a:gd name="T14" fmla="*/ 118 w 1305"/>
                    <a:gd name="T15" fmla="*/ 1467 h 1467"/>
                    <a:gd name="T16" fmla="*/ 1061 w 1305"/>
                    <a:gd name="T17" fmla="*/ 1450 h 1467"/>
                    <a:gd name="T18" fmla="*/ 1046 w 1305"/>
                    <a:gd name="T19" fmla="*/ 1360 h 1467"/>
                    <a:gd name="T20" fmla="*/ 1017 w 1305"/>
                    <a:gd name="T21" fmla="*/ 1327 h 1467"/>
                    <a:gd name="T22" fmla="*/ 944 w 1305"/>
                    <a:gd name="T23" fmla="*/ 1280 h 1467"/>
                    <a:gd name="T24" fmla="*/ 893 w 1305"/>
                    <a:gd name="T25" fmla="*/ 1224 h 1467"/>
                    <a:gd name="T26" fmla="*/ 767 w 1305"/>
                    <a:gd name="T27" fmla="*/ 1145 h 1467"/>
                    <a:gd name="T28" fmla="*/ 770 w 1305"/>
                    <a:gd name="T29" fmla="*/ 1009 h 1467"/>
                    <a:gd name="T30" fmla="*/ 743 w 1305"/>
                    <a:gd name="T31" fmla="*/ 924 h 1467"/>
                    <a:gd name="T32" fmla="*/ 845 w 1305"/>
                    <a:gd name="T33" fmla="*/ 794 h 1467"/>
                    <a:gd name="T34" fmla="*/ 839 w 1305"/>
                    <a:gd name="T35" fmla="*/ 666 h 1467"/>
                    <a:gd name="T36" fmla="*/ 864 w 1305"/>
                    <a:gd name="T37" fmla="*/ 645 h 1467"/>
                    <a:gd name="T38" fmla="*/ 990 w 1305"/>
                    <a:gd name="T39" fmla="*/ 539 h 1467"/>
                    <a:gd name="T40" fmla="*/ 1055 w 1305"/>
                    <a:gd name="T41" fmla="*/ 461 h 1467"/>
                    <a:gd name="T42" fmla="*/ 1138 w 1305"/>
                    <a:gd name="T43" fmla="*/ 395 h 1467"/>
                    <a:gd name="T44" fmla="*/ 1305 w 1305"/>
                    <a:gd name="T45" fmla="*/ 308 h 1467"/>
                    <a:gd name="T46" fmla="*/ 1244 w 1305"/>
                    <a:gd name="T47" fmla="*/ 314 h 1467"/>
                    <a:gd name="T48" fmla="*/ 1186 w 1305"/>
                    <a:gd name="T49" fmla="*/ 287 h 1467"/>
                    <a:gd name="T50" fmla="*/ 1093 w 1305"/>
                    <a:gd name="T51" fmla="*/ 297 h 1467"/>
                    <a:gd name="T52" fmla="*/ 1073 w 1305"/>
                    <a:gd name="T53" fmla="*/ 260 h 1467"/>
                    <a:gd name="T54" fmla="*/ 1043 w 1305"/>
                    <a:gd name="T55" fmla="*/ 275 h 1467"/>
                    <a:gd name="T56" fmla="*/ 978 w 1305"/>
                    <a:gd name="T57" fmla="*/ 313 h 1467"/>
                    <a:gd name="T58" fmla="*/ 933 w 1305"/>
                    <a:gd name="T59" fmla="*/ 300 h 1467"/>
                    <a:gd name="T60" fmla="*/ 916 w 1305"/>
                    <a:gd name="T61" fmla="*/ 280 h 1467"/>
                    <a:gd name="T62" fmla="*/ 881 w 1305"/>
                    <a:gd name="T63" fmla="*/ 269 h 1467"/>
                    <a:gd name="T64" fmla="*/ 865 w 1305"/>
                    <a:gd name="T65" fmla="*/ 242 h 1467"/>
                    <a:gd name="T66" fmla="*/ 833 w 1305"/>
                    <a:gd name="T67" fmla="*/ 247 h 1467"/>
                    <a:gd name="T68" fmla="*/ 830 w 1305"/>
                    <a:gd name="T69" fmla="*/ 271 h 1467"/>
                    <a:gd name="T70" fmla="*/ 815 w 1305"/>
                    <a:gd name="T71" fmla="*/ 276 h 1467"/>
                    <a:gd name="T72" fmla="*/ 791 w 1305"/>
                    <a:gd name="T73" fmla="*/ 223 h 1467"/>
                    <a:gd name="T74" fmla="*/ 760 w 1305"/>
                    <a:gd name="T75" fmla="*/ 222 h 1467"/>
                    <a:gd name="T76" fmla="*/ 770 w 1305"/>
                    <a:gd name="T77" fmla="*/ 197 h 1467"/>
                    <a:gd name="T78" fmla="*/ 695 w 1305"/>
                    <a:gd name="T79" fmla="*/ 182 h 1467"/>
                    <a:gd name="T80" fmla="*/ 666 w 1305"/>
                    <a:gd name="T81" fmla="*/ 178 h 1467"/>
                    <a:gd name="T82" fmla="*/ 578 w 1305"/>
                    <a:gd name="T83" fmla="*/ 214 h 1467"/>
                    <a:gd name="T84" fmla="*/ 563 w 1305"/>
                    <a:gd name="T85" fmla="*/ 182 h 1467"/>
                    <a:gd name="T86" fmla="*/ 425 w 1305"/>
                    <a:gd name="T87" fmla="*/ 154 h 1467"/>
                    <a:gd name="T88" fmla="*/ 403 w 1305"/>
                    <a:gd name="T89" fmla="*/ 12 h 1467"/>
                    <a:gd name="T90" fmla="*/ 345 w 1305"/>
                    <a:gd name="T91" fmla="*/ 0 h 1467"/>
                    <a:gd name="T92" fmla="*/ 344 w 1305"/>
                    <a:gd name="T93" fmla="*/ 93 h 1467"/>
                    <a:gd name="T94" fmla="*/ 0 w 1305"/>
                    <a:gd name="T95" fmla="*/ 92 h 146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305"/>
                    <a:gd name="T145" fmla="*/ 0 h 1467"/>
                    <a:gd name="T146" fmla="*/ 1305 w 1305"/>
                    <a:gd name="T147" fmla="*/ 1467 h 146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305" h="1467">
                      <a:moveTo>
                        <a:pt x="0" y="92"/>
                      </a:moveTo>
                      <a:lnTo>
                        <a:pt x="9" y="298"/>
                      </a:lnTo>
                      <a:lnTo>
                        <a:pt x="59" y="465"/>
                      </a:lnTo>
                      <a:lnTo>
                        <a:pt x="66" y="681"/>
                      </a:lnTo>
                      <a:lnTo>
                        <a:pt x="101" y="854"/>
                      </a:lnTo>
                      <a:lnTo>
                        <a:pt x="55" y="943"/>
                      </a:lnTo>
                      <a:lnTo>
                        <a:pt x="122" y="1008"/>
                      </a:lnTo>
                      <a:lnTo>
                        <a:pt x="118" y="1467"/>
                      </a:lnTo>
                      <a:lnTo>
                        <a:pt x="1061" y="1450"/>
                      </a:lnTo>
                      <a:lnTo>
                        <a:pt x="1046" y="1360"/>
                      </a:lnTo>
                      <a:lnTo>
                        <a:pt x="1017" y="1327"/>
                      </a:lnTo>
                      <a:lnTo>
                        <a:pt x="944" y="1280"/>
                      </a:lnTo>
                      <a:lnTo>
                        <a:pt x="893" y="1224"/>
                      </a:lnTo>
                      <a:lnTo>
                        <a:pt x="767" y="1145"/>
                      </a:lnTo>
                      <a:lnTo>
                        <a:pt x="770" y="1009"/>
                      </a:lnTo>
                      <a:lnTo>
                        <a:pt x="743" y="924"/>
                      </a:lnTo>
                      <a:lnTo>
                        <a:pt x="845" y="794"/>
                      </a:lnTo>
                      <a:lnTo>
                        <a:pt x="839" y="666"/>
                      </a:lnTo>
                      <a:lnTo>
                        <a:pt x="864" y="645"/>
                      </a:lnTo>
                      <a:lnTo>
                        <a:pt x="990" y="539"/>
                      </a:lnTo>
                      <a:lnTo>
                        <a:pt x="1055" y="461"/>
                      </a:lnTo>
                      <a:lnTo>
                        <a:pt x="1138" y="395"/>
                      </a:lnTo>
                      <a:lnTo>
                        <a:pt x="1305" y="308"/>
                      </a:lnTo>
                      <a:lnTo>
                        <a:pt x="1244" y="314"/>
                      </a:lnTo>
                      <a:lnTo>
                        <a:pt x="1186" y="287"/>
                      </a:lnTo>
                      <a:lnTo>
                        <a:pt x="1093" y="297"/>
                      </a:lnTo>
                      <a:lnTo>
                        <a:pt x="1073" y="260"/>
                      </a:lnTo>
                      <a:lnTo>
                        <a:pt x="1043" y="275"/>
                      </a:lnTo>
                      <a:lnTo>
                        <a:pt x="978" y="313"/>
                      </a:lnTo>
                      <a:lnTo>
                        <a:pt x="933" y="300"/>
                      </a:lnTo>
                      <a:lnTo>
                        <a:pt x="916" y="280"/>
                      </a:lnTo>
                      <a:lnTo>
                        <a:pt x="881" y="269"/>
                      </a:lnTo>
                      <a:lnTo>
                        <a:pt x="865" y="242"/>
                      </a:lnTo>
                      <a:lnTo>
                        <a:pt x="833" y="247"/>
                      </a:lnTo>
                      <a:lnTo>
                        <a:pt x="830" y="271"/>
                      </a:lnTo>
                      <a:lnTo>
                        <a:pt x="815" y="276"/>
                      </a:lnTo>
                      <a:lnTo>
                        <a:pt x="791" y="223"/>
                      </a:lnTo>
                      <a:lnTo>
                        <a:pt x="760" y="222"/>
                      </a:lnTo>
                      <a:lnTo>
                        <a:pt x="770" y="197"/>
                      </a:lnTo>
                      <a:lnTo>
                        <a:pt x="695" y="182"/>
                      </a:lnTo>
                      <a:lnTo>
                        <a:pt x="666" y="178"/>
                      </a:lnTo>
                      <a:lnTo>
                        <a:pt x="578" y="214"/>
                      </a:lnTo>
                      <a:lnTo>
                        <a:pt x="563" y="182"/>
                      </a:lnTo>
                      <a:lnTo>
                        <a:pt x="425" y="154"/>
                      </a:lnTo>
                      <a:lnTo>
                        <a:pt x="403" y="12"/>
                      </a:lnTo>
                      <a:lnTo>
                        <a:pt x="345" y="0"/>
                      </a:lnTo>
                      <a:lnTo>
                        <a:pt x="344" y="93"/>
                      </a:lnTo>
                      <a:lnTo>
                        <a:pt x="0" y="92"/>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00" name="Freeform 62"/>
                <p:cNvSpPr>
                  <a:spLocks/>
                </p:cNvSpPr>
                <p:nvPr/>
              </p:nvSpPr>
              <p:spPr bwMode="gray">
                <a:xfrm>
                  <a:off x="3596506" y="3133523"/>
                  <a:ext cx="343021" cy="595414"/>
                </a:xfrm>
                <a:custGeom>
                  <a:avLst/>
                  <a:gdLst>
                    <a:gd name="T0" fmla="*/ 0 w 703"/>
                    <a:gd name="T1" fmla="*/ 1038 h 1223"/>
                    <a:gd name="T2" fmla="*/ 3 w 703"/>
                    <a:gd name="T3" fmla="*/ 992 h 1223"/>
                    <a:gd name="T4" fmla="*/ 48 w 703"/>
                    <a:gd name="T5" fmla="*/ 853 h 1223"/>
                    <a:gd name="T6" fmla="*/ 117 w 703"/>
                    <a:gd name="T7" fmla="*/ 760 h 1223"/>
                    <a:gd name="T8" fmla="*/ 95 w 703"/>
                    <a:gd name="T9" fmla="*/ 734 h 1223"/>
                    <a:gd name="T10" fmla="*/ 103 w 703"/>
                    <a:gd name="T11" fmla="*/ 644 h 1223"/>
                    <a:gd name="T12" fmla="*/ 69 w 703"/>
                    <a:gd name="T13" fmla="*/ 539 h 1223"/>
                    <a:gd name="T14" fmla="*/ 56 w 703"/>
                    <a:gd name="T15" fmla="*/ 402 h 1223"/>
                    <a:gd name="T16" fmla="*/ 108 w 703"/>
                    <a:gd name="T17" fmla="*/ 253 h 1223"/>
                    <a:gd name="T18" fmla="*/ 182 w 703"/>
                    <a:gd name="T19" fmla="*/ 149 h 1223"/>
                    <a:gd name="T20" fmla="*/ 179 w 703"/>
                    <a:gd name="T21" fmla="*/ 120 h 1223"/>
                    <a:gd name="T22" fmla="*/ 233 w 703"/>
                    <a:gd name="T23" fmla="*/ 28 h 1223"/>
                    <a:gd name="T24" fmla="*/ 657 w 703"/>
                    <a:gd name="T25" fmla="*/ 0 h 1223"/>
                    <a:gd name="T26" fmla="*/ 676 w 703"/>
                    <a:gd name="T27" fmla="*/ 23 h 1223"/>
                    <a:gd name="T28" fmla="*/ 657 w 703"/>
                    <a:gd name="T29" fmla="*/ 783 h 1223"/>
                    <a:gd name="T30" fmla="*/ 703 w 703"/>
                    <a:gd name="T31" fmla="*/ 1150 h 1223"/>
                    <a:gd name="T32" fmla="*/ 686 w 703"/>
                    <a:gd name="T33" fmla="*/ 1167 h 1223"/>
                    <a:gd name="T34" fmla="*/ 659 w 703"/>
                    <a:gd name="T35" fmla="*/ 1150 h 1223"/>
                    <a:gd name="T36" fmla="*/ 625 w 703"/>
                    <a:gd name="T37" fmla="*/ 1167 h 1223"/>
                    <a:gd name="T38" fmla="*/ 597 w 703"/>
                    <a:gd name="T39" fmla="*/ 1147 h 1223"/>
                    <a:gd name="T40" fmla="*/ 595 w 703"/>
                    <a:gd name="T41" fmla="*/ 1159 h 1223"/>
                    <a:gd name="T42" fmla="*/ 560 w 703"/>
                    <a:gd name="T43" fmla="*/ 1163 h 1223"/>
                    <a:gd name="T44" fmla="*/ 516 w 703"/>
                    <a:gd name="T45" fmla="*/ 1184 h 1223"/>
                    <a:gd name="T46" fmla="*/ 501 w 703"/>
                    <a:gd name="T47" fmla="*/ 1172 h 1223"/>
                    <a:gd name="T48" fmla="*/ 479 w 703"/>
                    <a:gd name="T49" fmla="*/ 1214 h 1223"/>
                    <a:gd name="T50" fmla="*/ 459 w 703"/>
                    <a:gd name="T51" fmla="*/ 1223 h 1223"/>
                    <a:gd name="T52" fmla="*/ 389 w 703"/>
                    <a:gd name="T53" fmla="*/ 1106 h 1223"/>
                    <a:gd name="T54" fmla="*/ 401 w 703"/>
                    <a:gd name="T55" fmla="*/ 1022 h 1223"/>
                    <a:gd name="T56" fmla="*/ 0 w 703"/>
                    <a:gd name="T57" fmla="*/ 1038 h 122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03"/>
                    <a:gd name="T88" fmla="*/ 0 h 1223"/>
                    <a:gd name="T89" fmla="*/ 703 w 703"/>
                    <a:gd name="T90" fmla="*/ 1223 h 122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03" h="1223">
                      <a:moveTo>
                        <a:pt x="0" y="1038"/>
                      </a:moveTo>
                      <a:lnTo>
                        <a:pt x="3" y="992"/>
                      </a:lnTo>
                      <a:lnTo>
                        <a:pt x="48" y="853"/>
                      </a:lnTo>
                      <a:lnTo>
                        <a:pt x="117" y="760"/>
                      </a:lnTo>
                      <a:lnTo>
                        <a:pt x="95" y="734"/>
                      </a:lnTo>
                      <a:lnTo>
                        <a:pt x="103" y="644"/>
                      </a:lnTo>
                      <a:lnTo>
                        <a:pt x="69" y="539"/>
                      </a:lnTo>
                      <a:lnTo>
                        <a:pt x="56" y="402"/>
                      </a:lnTo>
                      <a:lnTo>
                        <a:pt x="108" y="253"/>
                      </a:lnTo>
                      <a:lnTo>
                        <a:pt x="182" y="149"/>
                      </a:lnTo>
                      <a:lnTo>
                        <a:pt x="179" y="120"/>
                      </a:lnTo>
                      <a:lnTo>
                        <a:pt x="233" y="28"/>
                      </a:lnTo>
                      <a:lnTo>
                        <a:pt x="657" y="0"/>
                      </a:lnTo>
                      <a:lnTo>
                        <a:pt x="676" y="23"/>
                      </a:lnTo>
                      <a:lnTo>
                        <a:pt x="657" y="783"/>
                      </a:lnTo>
                      <a:lnTo>
                        <a:pt x="703" y="1150"/>
                      </a:lnTo>
                      <a:lnTo>
                        <a:pt x="686" y="1167"/>
                      </a:lnTo>
                      <a:lnTo>
                        <a:pt x="659" y="1150"/>
                      </a:lnTo>
                      <a:lnTo>
                        <a:pt x="625" y="1167"/>
                      </a:lnTo>
                      <a:lnTo>
                        <a:pt x="597" y="1147"/>
                      </a:lnTo>
                      <a:lnTo>
                        <a:pt x="595" y="1159"/>
                      </a:lnTo>
                      <a:lnTo>
                        <a:pt x="560" y="1163"/>
                      </a:lnTo>
                      <a:lnTo>
                        <a:pt x="516" y="1184"/>
                      </a:lnTo>
                      <a:lnTo>
                        <a:pt x="501" y="1172"/>
                      </a:lnTo>
                      <a:lnTo>
                        <a:pt x="479" y="1214"/>
                      </a:lnTo>
                      <a:lnTo>
                        <a:pt x="459" y="1223"/>
                      </a:lnTo>
                      <a:lnTo>
                        <a:pt x="389" y="1106"/>
                      </a:lnTo>
                      <a:lnTo>
                        <a:pt x="401" y="1022"/>
                      </a:lnTo>
                      <a:lnTo>
                        <a:pt x="0" y="1038"/>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01" name="Freeform 63"/>
                <p:cNvSpPr>
                  <a:spLocks/>
                </p:cNvSpPr>
                <p:nvPr/>
              </p:nvSpPr>
              <p:spPr bwMode="gray">
                <a:xfrm>
                  <a:off x="3169680" y="2472818"/>
                  <a:ext cx="642190" cy="559358"/>
                </a:xfrm>
                <a:custGeom>
                  <a:avLst/>
                  <a:gdLst>
                    <a:gd name="T0" fmla="*/ 0 w 1318"/>
                    <a:gd name="T1" fmla="*/ 16 h 1149"/>
                    <a:gd name="T2" fmla="*/ 79 w 1318"/>
                    <a:gd name="T3" fmla="*/ 165 h 1149"/>
                    <a:gd name="T4" fmla="*/ 118 w 1318"/>
                    <a:gd name="T5" fmla="*/ 200 h 1149"/>
                    <a:gd name="T6" fmla="*/ 141 w 1318"/>
                    <a:gd name="T7" fmla="*/ 193 h 1149"/>
                    <a:gd name="T8" fmla="*/ 164 w 1318"/>
                    <a:gd name="T9" fmla="*/ 212 h 1149"/>
                    <a:gd name="T10" fmla="*/ 167 w 1318"/>
                    <a:gd name="T11" fmla="*/ 232 h 1149"/>
                    <a:gd name="T12" fmla="*/ 146 w 1318"/>
                    <a:gd name="T13" fmla="*/ 233 h 1149"/>
                    <a:gd name="T14" fmla="*/ 121 w 1318"/>
                    <a:gd name="T15" fmla="*/ 286 h 1149"/>
                    <a:gd name="T16" fmla="*/ 179 w 1318"/>
                    <a:gd name="T17" fmla="*/ 369 h 1149"/>
                    <a:gd name="T18" fmla="*/ 224 w 1318"/>
                    <a:gd name="T19" fmla="*/ 382 h 1149"/>
                    <a:gd name="T20" fmla="*/ 218 w 1318"/>
                    <a:gd name="T21" fmla="*/ 920 h 1149"/>
                    <a:gd name="T22" fmla="*/ 222 w 1318"/>
                    <a:gd name="T23" fmla="*/ 1050 h 1149"/>
                    <a:gd name="T24" fmla="*/ 1100 w 1318"/>
                    <a:gd name="T25" fmla="*/ 1021 h 1149"/>
                    <a:gd name="T26" fmla="*/ 1110 w 1318"/>
                    <a:gd name="T27" fmla="*/ 1099 h 1149"/>
                    <a:gd name="T28" fmla="*/ 1074 w 1318"/>
                    <a:gd name="T29" fmla="*/ 1149 h 1149"/>
                    <a:gd name="T30" fmla="*/ 1207 w 1318"/>
                    <a:gd name="T31" fmla="*/ 1142 h 1149"/>
                    <a:gd name="T32" fmla="*/ 1230 w 1318"/>
                    <a:gd name="T33" fmla="*/ 1099 h 1149"/>
                    <a:gd name="T34" fmla="*/ 1233 w 1318"/>
                    <a:gd name="T35" fmla="*/ 1050 h 1149"/>
                    <a:gd name="T36" fmla="*/ 1263 w 1318"/>
                    <a:gd name="T37" fmla="*/ 1013 h 1149"/>
                    <a:gd name="T38" fmla="*/ 1276 w 1318"/>
                    <a:gd name="T39" fmla="*/ 978 h 1149"/>
                    <a:gd name="T40" fmla="*/ 1309 w 1318"/>
                    <a:gd name="T41" fmla="*/ 973 h 1149"/>
                    <a:gd name="T42" fmla="*/ 1318 w 1318"/>
                    <a:gd name="T43" fmla="*/ 891 h 1149"/>
                    <a:gd name="T44" fmla="*/ 1299 w 1318"/>
                    <a:gd name="T45" fmla="*/ 885 h 1149"/>
                    <a:gd name="T46" fmla="*/ 1270 w 1318"/>
                    <a:gd name="T47" fmla="*/ 883 h 1149"/>
                    <a:gd name="T48" fmla="*/ 1239 w 1318"/>
                    <a:gd name="T49" fmla="*/ 824 h 1149"/>
                    <a:gd name="T50" fmla="*/ 1223 w 1318"/>
                    <a:gd name="T51" fmla="*/ 744 h 1149"/>
                    <a:gd name="T52" fmla="*/ 1190 w 1318"/>
                    <a:gd name="T53" fmla="*/ 689 h 1149"/>
                    <a:gd name="T54" fmla="*/ 1138 w 1318"/>
                    <a:gd name="T55" fmla="*/ 668 h 1149"/>
                    <a:gd name="T56" fmla="*/ 1071 w 1318"/>
                    <a:gd name="T57" fmla="*/ 616 h 1149"/>
                    <a:gd name="T58" fmla="*/ 1050 w 1318"/>
                    <a:gd name="T59" fmla="*/ 545 h 1149"/>
                    <a:gd name="T60" fmla="*/ 1087 w 1318"/>
                    <a:gd name="T61" fmla="*/ 435 h 1149"/>
                    <a:gd name="T62" fmla="*/ 1056 w 1318"/>
                    <a:gd name="T63" fmla="*/ 414 h 1149"/>
                    <a:gd name="T64" fmla="*/ 978 w 1318"/>
                    <a:gd name="T65" fmla="*/ 415 h 1149"/>
                    <a:gd name="T66" fmla="*/ 965 w 1318"/>
                    <a:gd name="T67" fmla="*/ 344 h 1149"/>
                    <a:gd name="T68" fmla="*/ 836 w 1318"/>
                    <a:gd name="T69" fmla="*/ 213 h 1149"/>
                    <a:gd name="T70" fmla="*/ 807 w 1318"/>
                    <a:gd name="T71" fmla="*/ 102 h 1149"/>
                    <a:gd name="T72" fmla="*/ 821 w 1318"/>
                    <a:gd name="T73" fmla="*/ 58 h 1149"/>
                    <a:gd name="T74" fmla="*/ 763 w 1318"/>
                    <a:gd name="T75" fmla="*/ 0 h 1149"/>
                    <a:gd name="T76" fmla="*/ 0 w 1318"/>
                    <a:gd name="T77" fmla="*/ 16 h 114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318"/>
                    <a:gd name="T118" fmla="*/ 0 h 1149"/>
                    <a:gd name="T119" fmla="*/ 1318 w 1318"/>
                    <a:gd name="T120" fmla="*/ 1149 h 1149"/>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318" h="1149">
                      <a:moveTo>
                        <a:pt x="0" y="16"/>
                      </a:moveTo>
                      <a:lnTo>
                        <a:pt x="79" y="165"/>
                      </a:lnTo>
                      <a:lnTo>
                        <a:pt x="118" y="200"/>
                      </a:lnTo>
                      <a:lnTo>
                        <a:pt x="141" y="193"/>
                      </a:lnTo>
                      <a:lnTo>
                        <a:pt x="164" y="212"/>
                      </a:lnTo>
                      <a:lnTo>
                        <a:pt x="167" y="232"/>
                      </a:lnTo>
                      <a:lnTo>
                        <a:pt x="146" y="233"/>
                      </a:lnTo>
                      <a:lnTo>
                        <a:pt x="121" y="286"/>
                      </a:lnTo>
                      <a:lnTo>
                        <a:pt x="179" y="369"/>
                      </a:lnTo>
                      <a:lnTo>
                        <a:pt x="224" y="382"/>
                      </a:lnTo>
                      <a:lnTo>
                        <a:pt x="218" y="920"/>
                      </a:lnTo>
                      <a:lnTo>
                        <a:pt x="222" y="1050"/>
                      </a:lnTo>
                      <a:lnTo>
                        <a:pt x="1100" y="1021"/>
                      </a:lnTo>
                      <a:lnTo>
                        <a:pt x="1110" y="1099"/>
                      </a:lnTo>
                      <a:lnTo>
                        <a:pt x="1074" y="1149"/>
                      </a:lnTo>
                      <a:lnTo>
                        <a:pt x="1207" y="1142"/>
                      </a:lnTo>
                      <a:lnTo>
                        <a:pt x="1230" y="1099"/>
                      </a:lnTo>
                      <a:lnTo>
                        <a:pt x="1233" y="1050"/>
                      </a:lnTo>
                      <a:lnTo>
                        <a:pt x="1263" y="1013"/>
                      </a:lnTo>
                      <a:lnTo>
                        <a:pt x="1276" y="978"/>
                      </a:lnTo>
                      <a:lnTo>
                        <a:pt x="1309" y="973"/>
                      </a:lnTo>
                      <a:lnTo>
                        <a:pt x="1318" y="891"/>
                      </a:lnTo>
                      <a:lnTo>
                        <a:pt x="1299" y="885"/>
                      </a:lnTo>
                      <a:lnTo>
                        <a:pt x="1270" y="883"/>
                      </a:lnTo>
                      <a:lnTo>
                        <a:pt x="1239" y="824"/>
                      </a:lnTo>
                      <a:lnTo>
                        <a:pt x="1223" y="744"/>
                      </a:lnTo>
                      <a:lnTo>
                        <a:pt x="1190" y="689"/>
                      </a:lnTo>
                      <a:lnTo>
                        <a:pt x="1138" y="668"/>
                      </a:lnTo>
                      <a:lnTo>
                        <a:pt x="1071" y="616"/>
                      </a:lnTo>
                      <a:lnTo>
                        <a:pt x="1050" y="545"/>
                      </a:lnTo>
                      <a:lnTo>
                        <a:pt x="1087" y="435"/>
                      </a:lnTo>
                      <a:lnTo>
                        <a:pt x="1056" y="414"/>
                      </a:lnTo>
                      <a:lnTo>
                        <a:pt x="978" y="415"/>
                      </a:lnTo>
                      <a:lnTo>
                        <a:pt x="965" y="344"/>
                      </a:lnTo>
                      <a:lnTo>
                        <a:pt x="836" y="213"/>
                      </a:lnTo>
                      <a:lnTo>
                        <a:pt x="807" y="102"/>
                      </a:lnTo>
                      <a:lnTo>
                        <a:pt x="821" y="58"/>
                      </a:lnTo>
                      <a:lnTo>
                        <a:pt x="763" y="0"/>
                      </a:lnTo>
                      <a:lnTo>
                        <a:pt x="0" y="16"/>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02" name="Freeform 64"/>
                <p:cNvSpPr>
                  <a:spLocks/>
                </p:cNvSpPr>
                <p:nvPr/>
              </p:nvSpPr>
              <p:spPr bwMode="gray">
                <a:xfrm>
                  <a:off x="1511097" y="1279068"/>
                  <a:ext cx="988133" cy="629521"/>
                </a:xfrm>
                <a:custGeom>
                  <a:avLst/>
                  <a:gdLst>
                    <a:gd name="T0" fmla="*/ 0 w 2027"/>
                    <a:gd name="T1" fmla="*/ 241 h 1293"/>
                    <a:gd name="T2" fmla="*/ 35 w 2027"/>
                    <a:gd name="T3" fmla="*/ 328 h 1293"/>
                    <a:gd name="T4" fmla="*/ 39 w 2027"/>
                    <a:gd name="T5" fmla="*/ 382 h 1293"/>
                    <a:gd name="T6" fmla="*/ 20 w 2027"/>
                    <a:gd name="T7" fmla="*/ 390 h 1293"/>
                    <a:gd name="T8" fmla="*/ 81 w 2027"/>
                    <a:gd name="T9" fmla="*/ 449 h 1293"/>
                    <a:gd name="T10" fmla="*/ 143 w 2027"/>
                    <a:gd name="T11" fmla="*/ 603 h 1293"/>
                    <a:gd name="T12" fmla="*/ 165 w 2027"/>
                    <a:gd name="T13" fmla="*/ 597 h 1293"/>
                    <a:gd name="T14" fmla="*/ 167 w 2027"/>
                    <a:gd name="T15" fmla="*/ 619 h 1293"/>
                    <a:gd name="T16" fmla="*/ 197 w 2027"/>
                    <a:gd name="T17" fmla="*/ 628 h 1293"/>
                    <a:gd name="T18" fmla="*/ 219 w 2027"/>
                    <a:gd name="T19" fmla="*/ 631 h 1293"/>
                    <a:gd name="T20" fmla="*/ 164 w 2027"/>
                    <a:gd name="T21" fmla="*/ 743 h 1293"/>
                    <a:gd name="T22" fmla="*/ 173 w 2027"/>
                    <a:gd name="T23" fmla="*/ 817 h 1293"/>
                    <a:gd name="T24" fmla="*/ 128 w 2027"/>
                    <a:gd name="T25" fmla="*/ 889 h 1293"/>
                    <a:gd name="T26" fmla="*/ 159 w 2027"/>
                    <a:gd name="T27" fmla="*/ 921 h 1293"/>
                    <a:gd name="T28" fmla="*/ 239 w 2027"/>
                    <a:gd name="T29" fmla="*/ 876 h 1293"/>
                    <a:gd name="T30" fmla="*/ 297 w 2027"/>
                    <a:gd name="T31" fmla="*/ 1119 h 1293"/>
                    <a:gd name="T32" fmla="*/ 334 w 2027"/>
                    <a:gd name="T33" fmla="*/ 1131 h 1293"/>
                    <a:gd name="T34" fmla="*/ 341 w 2027"/>
                    <a:gd name="T35" fmla="*/ 1205 h 1293"/>
                    <a:gd name="T36" fmla="*/ 372 w 2027"/>
                    <a:gd name="T37" fmla="*/ 1236 h 1293"/>
                    <a:gd name="T38" fmla="*/ 395 w 2027"/>
                    <a:gd name="T39" fmla="*/ 1209 h 1293"/>
                    <a:gd name="T40" fmla="*/ 449 w 2027"/>
                    <a:gd name="T41" fmla="*/ 1233 h 1293"/>
                    <a:gd name="T42" fmla="*/ 482 w 2027"/>
                    <a:gd name="T43" fmla="*/ 1207 h 1293"/>
                    <a:gd name="T44" fmla="*/ 590 w 2027"/>
                    <a:gd name="T45" fmla="*/ 1228 h 1293"/>
                    <a:gd name="T46" fmla="*/ 616 w 2027"/>
                    <a:gd name="T47" fmla="*/ 1234 h 1293"/>
                    <a:gd name="T48" fmla="*/ 640 w 2027"/>
                    <a:gd name="T49" fmla="*/ 1185 h 1293"/>
                    <a:gd name="T50" fmla="*/ 686 w 2027"/>
                    <a:gd name="T51" fmla="*/ 1263 h 1293"/>
                    <a:gd name="T52" fmla="*/ 708 w 2027"/>
                    <a:gd name="T53" fmla="*/ 1139 h 1293"/>
                    <a:gd name="T54" fmla="*/ 1259 w 2027"/>
                    <a:gd name="T55" fmla="*/ 1221 h 1293"/>
                    <a:gd name="T56" fmla="*/ 1937 w 2027"/>
                    <a:gd name="T57" fmla="*/ 1293 h 1293"/>
                    <a:gd name="T58" fmla="*/ 1960 w 2027"/>
                    <a:gd name="T59" fmla="*/ 1060 h 1293"/>
                    <a:gd name="T60" fmla="*/ 2027 w 2027"/>
                    <a:gd name="T61" fmla="*/ 303 h 1293"/>
                    <a:gd name="T62" fmla="*/ 1130 w 2027"/>
                    <a:gd name="T63" fmla="*/ 198 h 1293"/>
                    <a:gd name="T64" fmla="*/ 682 w 2027"/>
                    <a:gd name="T65" fmla="*/ 124 h 1293"/>
                    <a:gd name="T66" fmla="*/ 53 w 2027"/>
                    <a:gd name="T67" fmla="*/ 0 h 1293"/>
                    <a:gd name="T68" fmla="*/ 0 w 2027"/>
                    <a:gd name="T69" fmla="*/ 241 h 129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027"/>
                    <a:gd name="T106" fmla="*/ 0 h 1293"/>
                    <a:gd name="T107" fmla="*/ 2027 w 2027"/>
                    <a:gd name="T108" fmla="*/ 1293 h 129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027" h="1293">
                      <a:moveTo>
                        <a:pt x="0" y="241"/>
                      </a:moveTo>
                      <a:lnTo>
                        <a:pt x="35" y="328"/>
                      </a:lnTo>
                      <a:lnTo>
                        <a:pt x="39" y="382"/>
                      </a:lnTo>
                      <a:lnTo>
                        <a:pt x="20" y="390"/>
                      </a:lnTo>
                      <a:lnTo>
                        <a:pt x="81" y="449"/>
                      </a:lnTo>
                      <a:lnTo>
                        <a:pt x="143" y="603"/>
                      </a:lnTo>
                      <a:lnTo>
                        <a:pt x="165" y="597"/>
                      </a:lnTo>
                      <a:lnTo>
                        <a:pt x="167" y="619"/>
                      </a:lnTo>
                      <a:lnTo>
                        <a:pt x="197" y="628"/>
                      </a:lnTo>
                      <a:lnTo>
                        <a:pt x="219" y="631"/>
                      </a:lnTo>
                      <a:lnTo>
                        <a:pt x="164" y="743"/>
                      </a:lnTo>
                      <a:lnTo>
                        <a:pt x="173" y="817"/>
                      </a:lnTo>
                      <a:lnTo>
                        <a:pt x="128" y="889"/>
                      </a:lnTo>
                      <a:lnTo>
                        <a:pt x="159" y="921"/>
                      </a:lnTo>
                      <a:lnTo>
                        <a:pt x="239" y="876"/>
                      </a:lnTo>
                      <a:lnTo>
                        <a:pt x="297" y="1119"/>
                      </a:lnTo>
                      <a:lnTo>
                        <a:pt x="334" y="1131"/>
                      </a:lnTo>
                      <a:lnTo>
                        <a:pt x="341" y="1205"/>
                      </a:lnTo>
                      <a:lnTo>
                        <a:pt x="372" y="1236"/>
                      </a:lnTo>
                      <a:lnTo>
                        <a:pt x="395" y="1209"/>
                      </a:lnTo>
                      <a:lnTo>
                        <a:pt x="449" y="1233"/>
                      </a:lnTo>
                      <a:lnTo>
                        <a:pt x="482" y="1207"/>
                      </a:lnTo>
                      <a:lnTo>
                        <a:pt x="590" y="1228"/>
                      </a:lnTo>
                      <a:lnTo>
                        <a:pt x="616" y="1234"/>
                      </a:lnTo>
                      <a:lnTo>
                        <a:pt x="640" y="1185"/>
                      </a:lnTo>
                      <a:lnTo>
                        <a:pt x="686" y="1263"/>
                      </a:lnTo>
                      <a:lnTo>
                        <a:pt x="708" y="1139"/>
                      </a:lnTo>
                      <a:lnTo>
                        <a:pt x="1259" y="1221"/>
                      </a:lnTo>
                      <a:lnTo>
                        <a:pt x="1937" y="1293"/>
                      </a:lnTo>
                      <a:lnTo>
                        <a:pt x="1960" y="1060"/>
                      </a:lnTo>
                      <a:lnTo>
                        <a:pt x="2027" y="303"/>
                      </a:lnTo>
                      <a:lnTo>
                        <a:pt x="1130" y="198"/>
                      </a:lnTo>
                      <a:lnTo>
                        <a:pt x="682" y="124"/>
                      </a:lnTo>
                      <a:lnTo>
                        <a:pt x="53" y="0"/>
                      </a:lnTo>
                      <a:lnTo>
                        <a:pt x="0" y="241"/>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03" name="Freeform 65"/>
                <p:cNvSpPr>
                  <a:spLocks/>
                </p:cNvSpPr>
                <p:nvPr/>
              </p:nvSpPr>
              <p:spPr bwMode="gray">
                <a:xfrm>
                  <a:off x="2410552" y="2152211"/>
                  <a:ext cx="797133" cy="400515"/>
                </a:xfrm>
                <a:custGeom>
                  <a:avLst/>
                  <a:gdLst>
                    <a:gd name="T0" fmla="*/ 0 w 1638"/>
                    <a:gd name="T1" fmla="*/ 500 h 821"/>
                    <a:gd name="T2" fmla="*/ 46 w 1638"/>
                    <a:gd name="T3" fmla="*/ 0 h 821"/>
                    <a:gd name="T4" fmla="*/ 1055 w 1638"/>
                    <a:gd name="T5" fmla="*/ 62 h 821"/>
                    <a:gd name="T6" fmla="*/ 1124 w 1638"/>
                    <a:gd name="T7" fmla="*/ 113 h 821"/>
                    <a:gd name="T8" fmla="*/ 1244 w 1638"/>
                    <a:gd name="T9" fmla="*/ 108 h 821"/>
                    <a:gd name="T10" fmla="*/ 1301 w 1638"/>
                    <a:gd name="T11" fmla="*/ 121 h 821"/>
                    <a:gd name="T12" fmla="*/ 1368 w 1638"/>
                    <a:gd name="T13" fmla="*/ 151 h 821"/>
                    <a:gd name="T14" fmla="*/ 1403 w 1638"/>
                    <a:gd name="T15" fmla="*/ 193 h 821"/>
                    <a:gd name="T16" fmla="*/ 1433 w 1638"/>
                    <a:gd name="T17" fmla="*/ 203 h 821"/>
                    <a:gd name="T18" fmla="*/ 1489 w 1638"/>
                    <a:gd name="T19" fmla="*/ 358 h 821"/>
                    <a:gd name="T20" fmla="*/ 1490 w 1638"/>
                    <a:gd name="T21" fmla="*/ 406 h 821"/>
                    <a:gd name="T22" fmla="*/ 1527 w 1638"/>
                    <a:gd name="T23" fmla="*/ 478 h 821"/>
                    <a:gd name="T24" fmla="*/ 1545 w 1638"/>
                    <a:gd name="T25" fmla="*/ 597 h 821"/>
                    <a:gd name="T26" fmla="*/ 1536 w 1638"/>
                    <a:gd name="T27" fmla="*/ 633 h 821"/>
                    <a:gd name="T28" fmla="*/ 1559 w 1638"/>
                    <a:gd name="T29" fmla="*/ 672 h 821"/>
                    <a:gd name="T30" fmla="*/ 1638 w 1638"/>
                    <a:gd name="T31" fmla="*/ 821 h 821"/>
                    <a:gd name="T32" fmla="*/ 909 w 1638"/>
                    <a:gd name="T33" fmla="*/ 812 h 821"/>
                    <a:gd name="T34" fmla="*/ 359 w 1638"/>
                    <a:gd name="T35" fmla="*/ 780 h 821"/>
                    <a:gd name="T36" fmla="*/ 375 w 1638"/>
                    <a:gd name="T37" fmla="*/ 531 h 821"/>
                    <a:gd name="T38" fmla="*/ 0 w 1638"/>
                    <a:gd name="T39" fmla="*/ 500 h 82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638"/>
                    <a:gd name="T61" fmla="*/ 0 h 821"/>
                    <a:gd name="T62" fmla="*/ 1638 w 1638"/>
                    <a:gd name="T63" fmla="*/ 821 h 82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638" h="821">
                      <a:moveTo>
                        <a:pt x="0" y="500"/>
                      </a:moveTo>
                      <a:lnTo>
                        <a:pt x="46" y="0"/>
                      </a:lnTo>
                      <a:lnTo>
                        <a:pt x="1055" y="62"/>
                      </a:lnTo>
                      <a:lnTo>
                        <a:pt x="1124" y="113"/>
                      </a:lnTo>
                      <a:lnTo>
                        <a:pt x="1244" y="108"/>
                      </a:lnTo>
                      <a:lnTo>
                        <a:pt x="1301" y="121"/>
                      </a:lnTo>
                      <a:lnTo>
                        <a:pt x="1368" y="151"/>
                      </a:lnTo>
                      <a:lnTo>
                        <a:pt x="1403" y="193"/>
                      </a:lnTo>
                      <a:lnTo>
                        <a:pt x="1433" y="203"/>
                      </a:lnTo>
                      <a:lnTo>
                        <a:pt x="1489" y="358"/>
                      </a:lnTo>
                      <a:lnTo>
                        <a:pt x="1490" y="406"/>
                      </a:lnTo>
                      <a:lnTo>
                        <a:pt x="1527" y="478"/>
                      </a:lnTo>
                      <a:lnTo>
                        <a:pt x="1545" y="597"/>
                      </a:lnTo>
                      <a:lnTo>
                        <a:pt x="1536" y="633"/>
                      </a:lnTo>
                      <a:lnTo>
                        <a:pt x="1559" y="672"/>
                      </a:lnTo>
                      <a:lnTo>
                        <a:pt x="1638" y="821"/>
                      </a:lnTo>
                      <a:lnTo>
                        <a:pt x="909" y="812"/>
                      </a:lnTo>
                      <a:lnTo>
                        <a:pt x="359" y="780"/>
                      </a:lnTo>
                      <a:lnTo>
                        <a:pt x="375" y="531"/>
                      </a:lnTo>
                      <a:lnTo>
                        <a:pt x="0" y="500"/>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04" name="Freeform 66"/>
                <p:cNvSpPr>
                  <a:spLocks/>
                </p:cNvSpPr>
                <p:nvPr/>
              </p:nvSpPr>
              <p:spPr bwMode="gray">
                <a:xfrm>
                  <a:off x="915683" y="2024553"/>
                  <a:ext cx="614903" cy="952077"/>
                </a:xfrm>
                <a:custGeom>
                  <a:avLst/>
                  <a:gdLst>
                    <a:gd name="T0" fmla="*/ 0 w 1262"/>
                    <a:gd name="T1" fmla="*/ 717 h 1953"/>
                    <a:gd name="T2" fmla="*/ 58 w 1262"/>
                    <a:gd name="T3" fmla="*/ 831 h 1953"/>
                    <a:gd name="T4" fmla="*/ 802 w 1262"/>
                    <a:gd name="T5" fmla="*/ 1953 h 1953"/>
                    <a:gd name="T6" fmla="*/ 832 w 1262"/>
                    <a:gd name="T7" fmla="*/ 1692 h 1953"/>
                    <a:gd name="T8" fmla="*/ 877 w 1262"/>
                    <a:gd name="T9" fmla="*/ 1677 h 1953"/>
                    <a:gd name="T10" fmla="*/ 952 w 1262"/>
                    <a:gd name="T11" fmla="*/ 1722 h 1953"/>
                    <a:gd name="T12" fmla="*/ 1018 w 1262"/>
                    <a:gd name="T13" fmla="*/ 1489 h 1953"/>
                    <a:gd name="T14" fmla="*/ 1262 w 1262"/>
                    <a:gd name="T15" fmla="*/ 251 h 1953"/>
                    <a:gd name="T16" fmla="*/ 723 w 1262"/>
                    <a:gd name="T17" fmla="*/ 134 h 1953"/>
                    <a:gd name="T18" fmla="*/ 188 w 1262"/>
                    <a:gd name="T19" fmla="*/ 0 h 1953"/>
                    <a:gd name="T20" fmla="*/ 0 w 1262"/>
                    <a:gd name="T21" fmla="*/ 717 h 195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62"/>
                    <a:gd name="T34" fmla="*/ 0 h 1953"/>
                    <a:gd name="T35" fmla="*/ 1262 w 1262"/>
                    <a:gd name="T36" fmla="*/ 1953 h 195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62" h="1953">
                      <a:moveTo>
                        <a:pt x="0" y="717"/>
                      </a:moveTo>
                      <a:lnTo>
                        <a:pt x="58" y="831"/>
                      </a:lnTo>
                      <a:lnTo>
                        <a:pt x="802" y="1953"/>
                      </a:lnTo>
                      <a:lnTo>
                        <a:pt x="832" y="1692"/>
                      </a:lnTo>
                      <a:lnTo>
                        <a:pt x="877" y="1677"/>
                      </a:lnTo>
                      <a:lnTo>
                        <a:pt x="952" y="1722"/>
                      </a:lnTo>
                      <a:lnTo>
                        <a:pt x="1018" y="1489"/>
                      </a:lnTo>
                      <a:lnTo>
                        <a:pt x="1262" y="251"/>
                      </a:lnTo>
                      <a:lnTo>
                        <a:pt x="723" y="134"/>
                      </a:lnTo>
                      <a:lnTo>
                        <a:pt x="188" y="0"/>
                      </a:lnTo>
                      <a:lnTo>
                        <a:pt x="0" y="717"/>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05" name="Freeform 67"/>
                <p:cNvSpPr>
                  <a:spLocks/>
                </p:cNvSpPr>
                <p:nvPr/>
              </p:nvSpPr>
              <p:spPr bwMode="gray">
                <a:xfrm>
                  <a:off x="5213186" y="1635731"/>
                  <a:ext cx="155918" cy="337174"/>
                </a:xfrm>
                <a:custGeom>
                  <a:avLst/>
                  <a:gdLst>
                    <a:gd name="T0" fmla="*/ 0 w 322"/>
                    <a:gd name="T1" fmla="*/ 475 h 691"/>
                    <a:gd name="T2" fmla="*/ 18 w 322"/>
                    <a:gd name="T3" fmla="*/ 322 h 691"/>
                    <a:gd name="T4" fmla="*/ 54 w 322"/>
                    <a:gd name="T5" fmla="*/ 251 h 691"/>
                    <a:gd name="T6" fmla="*/ 58 w 322"/>
                    <a:gd name="T7" fmla="*/ 92 h 691"/>
                    <a:gd name="T8" fmla="*/ 57 w 322"/>
                    <a:gd name="T9" fmla="*/ 32 h 691"/>
                    <a:gd name="T10" fmla="*/ 114 w 322"/>
                    <a:gd name="T11" fmla="*/ 0 h 691"/>
                    <a:gd name="T12" fmla="*/ 248 w 322"/>
                    <a:gd name="T13" fmla="*/ 431 h 691"/>
                    <a:gd name="T14" fmla="*/ 316 w 322"/>
                    <a:gd name="T15" fmla="*/ 526 h 691"/>
                    <a:gd name="T16" fmla="*/ 322 w 322"/>
                    <a:gd name="T17" fmla="*/ 544 h 691"/>
                    <a:gd name="T18" fmla="*/ 312 w 322"/>
                    <a:gd name="T19" fmla="*/ 585 h 691"/>
                    <a:gd name="T20" fmla="*/ 249 w 322"/>
                    <a:gd name="T21" fmla="*/ 634 h 691"/>
                    <a:gd name="T22" fmla="*/ 30 w 322"/>
                    <a:gd name="T23" fmla="*/ 691 h 691"/>
                    <a:gd name="T24" fmla="*/ 0 w 322"/>
                    <a:gd name="T25" fmla="*/ 475 h 69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22"/>
                    <a:gd name="T40" fmla="*/ 0 h 691"/>
                    <a:gd name="T41" fmla="*/ 322 w 322"/>
                    <a:gd name="T42" fmla="*/ 691 h 69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22" h="691">
                      <a:moveTo>
                        <a:pt x="0" y="475"/>
                      </a:moveTo>
                      <a:lnTo>
                        <a:pt x="18" y="322"/>
                      </a:lnTo>
                      <a:lnTo>
                        <a:pt x="54" y="251"/>
                      </a:lnTo>
                      <a:lnTo>
                        <a:pt x="58" y="92"/>
                      </a:lnTo>
                      <a:lnTo>
                        <a:pt x="57" y="32"/>
                      </a:lnTo>
                      <a:lnTo>
                        <a:pt x="114" y="0"/>
                      </a:lnTo>
                      <a:lnTo>
                        <a:pt x="248" y="431"/>
                      </a:lnTo>
                      <a:lnTo>
                        <a:pt x="316" y="526"/>
                      </a:lnTo>
                      <a:lnTo>
                        <a:pt x="322" y="544"/>
                      </a:lnTo>
                      <a:lnTo>
                        <a:pt x="312" y="585"/>
                      </a:lnTo>
                      <a:lnTo>
                        <a:pt x="249" y="634"/>
                      </a:lnTo>
                      <a:lnTo>
                        <a:pt x="30" y="691"/>
                      </a:lnTo>
                      <a:lnTo>
                        <a:pt x="0" y="475"/>
                      </a:lnTo>
                      <a:close/>
                    </a:path>
                  </a:pathLst>
                </a:custGeom>
                <a:grpFill/>
                <a:ln w="9525">
                  <a:solidFill>
                    <a:schemeClr val="tx1"/>
                  </a:solidFill>
                  <a:round/>
                  <a:headEnd/>
                  <a:tailEnd/>
                </a:ln>
              </p:spPr>
              <p:txBody>
                <a:bodyPr/>
                <a:lstStyle/>
                <a:p>
                  <a:pPr>
                    <a:defRPr/>
                  </a:pPr>
                  <a:endParaRPr lang="en-US" sz="1100" dirty="0">
                    <a:solidFill>
                      <a:srgbClr val="FF0000"/>
                    </a:solidFill>
                    <a:latin typeface="+mj-lt"/>
                  </a:endParaRPr>
                </a:p>
              </p:txBody>
            </p:sp>
            <p:sp>
              <p:nvSpPr>
                <p:cNvPr id="106" name="Freeform 68"/>
                <p:cNvSpPr>
                  <a:spLocks/>
                </p:cNvSpPr>
                <p:nvPr/>
              </p:nvSpPr>
              <p:spPr bwMode="gray">
                <a:xfrm>
                  <a:off x="5039727" y="2181446"/>
                  <a:ext cx="127658" cy="295270"/>
                </a:xfrm>
                <a:custGeom>
                  <a:avLst/>
                  <a:gdLst>
                    <a:gd name="T0" fmla="*/ 0 w 262"/>
                    <a:gd name="T1" fmla="*/ 448 h 606"/>
                    <a:gd name="T2" fmla="*/ 14 w 262"/>
                    <a:gd name="T3" fmla="*/ 412 h 606"/>
                    <a:gd name="T4" fmla="*/ 59 w 262"/>
                    <a:gd name="T5" fmla="*/ 381 h 606"/>
                    <a:gd name="T6" fmla="*/ 82 w 262"/>
                    <a:gd name="T7" fmla="*/ 332 h 606"/>
                    <a:gd name="T8" fmla="*/ 121 w 262"/>
                    <a:gd name="T9" fmla="*/ 295 h 606"/>
                    <a:gd name="T10" fmla="*/ 9 w 262"/>
                    <a:gd name="T11" fmla="*/ 203 h 606"/>
                    <a:gd name="T12" fmla="*/ 6 w 262"/>
                    <a:gd name="T13" fmla="*/ 116 h 606"/>
                    <a:gd name="T14" fmla="*/ 58 w 262"/>
                    <a:gd name="T15" fmla="*/ 0 h 606"/>
                    <a:gd name="T16" fmla="*/ 228 w 262"/>
                    <a:gd name="T17" fmla="*/ 57 h 606"/>
                    <a:gd name="T18" fmla="*/ 230 w 262"/>
                    <a:gd name="T19" fmla="*/ 80 h 606"/>
                    <a:gd name="T20" fmla="*/ 211 w 262"/>
                    <a:gd name="T21" fmla="*/ 146 h 606"/>
                    <a:gd name="T22" fmla="*/ 191 w 262"/>
                    <a:gd name="T23" fmla="*/ 164 h 606"/>
                    <a:gd name="T24" fmla="*/ 188 w 262"/>
                    <a:gd name="T25" fmla="*/ 197 h 606"/>
                    <a:gd name="T26" fmla="*/ 206 w 262"/>
                    <a:gd name="T27" fmla="*/ 207 h 606"/>
                    <a:gd name="T28" fmla="*/ 224 w 262"/>
                    <a:gd name="T29" fmla="*/ 203 h 606"/>
                    <a:gd name="T30" fmla="*/ 242 w 262"/>
                    <a:gd name="T31" fmla="*/ 205 h 606"/>
                    <a:gd name="T32" fmla="*/ 238 w 262"/>
                    <a:gd name="T33" fmla="*/ 191 h 606"/>
                    <a:gd name="T34" fmla="*/ 247 w 262"/>
                    <a:gd name="T35" fmla="*/ 197 h 606"/>
                    <a:gd name="T36" fmla="*/ 260 w 262"/>
                    <a:gd name="T37" fmla="*/ 237 h 606"/>
                    <a:gd name="T38" fmla="*/ 262 w 262"/>
                    <a:gd name="T39" fmla="*/ 364 h 606"/>
                    <a:gd name="T40" fmla="*/ 258 w 262"/>
                    <a:gd name="T41" fmla="*/ 331 h 606"/>
                    <a:gd name="T42" fmla="*/ 248 w 262"/>
                    <a:gd name="T43" fmla="*/ 301 h 606"/>
                    <a:gd name="T44" fmla="*/ 245 w 262"/>
                    <a:gd name="T45" fmla="*/ 319 h 606"/>
                    <a:gd name="T46" fmla="*/ 251 w 262"/>
                    <a:gd name="T47" fmla="*/ 347 h 606"/>
                    <a:gd name="T48" fmla="*/ 245 w 262"/>
                    <a:gd name="T49" fmla="*/ 364 h 606"/>
                    <a:gd name="T50" fmla="*/ 248 w 262"/>
                    <a:gd name="T51" fmla="*/ 398 h 606"/>
                    <a:gd name="T52" fmla="*/ 234 w 262"/>
                    <a:gd name="T53" fmla="*/ 433 h 606"/>
                    <a:gd name="T54" fmla="*/ 218 w 262"/>
                    <a:gd name="T55" fmla="*/ 435 h 606"/>
                    <a:gd name="T56" fmla="*/ 224 w 262"/>
                    <a:gd name="T57" fmla="*/ 464 h 606"/>
                    <a:gd name="T58" fmla="*/ 198 w 262"/>
                    <a:gd name="T59" fmla="*/ 507 h 606"/>
                    <a:gd name="T60" fmla="*/ 163 w 262"/>
                    <a:gd name="T61" fmla="*/ 605 h 606"/>
                    <a:gd name="T62" fmla="*/ 145 w 262"/>
                    <a:gd name="T63" fmla="*/ 606 h 606"/>
                    <a:gd name="T64" fmla="*/ 151 w 262"/>
                    <a:gd name="T65" fmla="*/ 567 h 606"/>
                    <a:gd name="T66" fmla="*/ 140 w 262"/>
                    <a:gd name="T67" fmla="*/ 549 h 606"/>
                    <a:gd name="T68" fmla="*/ 97 w 262"/>
                    <a:gd name="T69" fmla="*/ 553 h 606"/>
                    <a:gd name="T70" fmla="*/ 33 w 262"/>
                    <a:gd name="T71" fmla="*/ 513 h 606"/>
                    <a:gd name="T72" fmla="*/ 11 w 262"/>
                    <a:gd name="T73" fmla="*/ 496 h 606"/>
                    <a:gd name="T74" fmla="*/ 0 w 262"/>
                    <a:gd name="T75" fmla="*/ 448 h 60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62"/>
                    <a:gd name="T115" fmla="*/ 0 h 606"/>
                    <a:gd name="T116" fmla="*/ 262 w 262"/>
                    <a:gd name="T117" fmla="*/ 606 h 60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62" h="606">
                      <a:moveTo>
                        <a:pt x="0" y="448"/>
                      </a:moveTo>
                      <a:lnTo>
                        <a:pt x="14" y="412"/>
                      </a:lnTo>
                      <a:lnTo>
                        <a:pt x="59" y="381"/>
                      </a:lnTo>
                      <a:lnTo>
                        <a:pt x="82" y="332"/>
                      </a:lnTo>
                      <a:lnTo>
                        <a:pt x="121" y="295"/>
                      </a:lnTo>
                      <a:lnTo>
                        <a:pt x="9" y="203"/>
                      </a:lnTo>
                      <a:lnTo>
                        <a:pt x="6" y="116"/>
                      </a:lnTo>
                      <a:lnTo>
                        <a:pt x="58" y="0"/>
                      </a:lnTo>
                      <a:lnTo>
                        <a:pt x="228" y="57"/>
                      </a:lnTo>
                      <a:lnTo>
                        <a:pt x="230" y="80"/>
                      </a:lnTo>
                      <a:lnTo>
                        <a:pt x="211" y="146"/>
                      </a:lnTo>
                      <a:lnTo>
                        <a:pt x="191" y="164"/>
                      </a:lnTo>
                      <a:lnTo>
                        <a:pt x="188" y="197"/>
                      </a:lnTo>
                      <a:lnTo>
                        <a:pt x="206" y="207"/>
                      </a:lnTo>
                      <a:lnTo>
                        <a:pt x="224" y="203"/>
                      </a:lnTo>
                      <a:lnTo>
                        <a:pt x="242" y="205"/>
                      </a:lnTo>
                      <a:lnTo>
                        <a:pt x="238" y="191"/>
                      </a:lnTo>
                      <a:lnTo>
                        <a:pt x="247" y="197"/>
                      </a:lnTo>
                      <a:lnTo>
                        <a:pt x="260" y="237"/>
                      </a:lnTo>
                      <a:lnTo>
                        <a:pt x="262" y="364"/>
                      </a:lnTo>
                      <a:lnTo>
                        <a:pt x="258" y="331"/>
                      </a:lnTo>
                      <a:lnTo>
                        <a:pt x="248" y="301"/>
                      </a:lnTo>
                      <a:lnTo>
                        <a:pt x="245" y="319"/>
                      </a:lnTo>
                      <a:lnTo>
                        <a:pt x="251" y="347"/>
                      </a:lnTo>
                      <a:lnTo>
                        <a:pt x="245" y="364"/>
                      </a:lnTo>
                      <a:lnTo>
                        <a:pt x="248" y="398"/>
                      </a:lnTo>
                      <a:lnTo>
                        <a:pt x="234" y="433"/>
                      </a:lnTo>
                      <a:lnTo>
                        <a:pt x="218" y="435"/>
                      </a:lnTo>
                      <a:lnTo>
                        <a:pt x="224" y="464"/>
                      </a:lnTo>
                      <a:lnTo>
                        <a:pt x="198" y="507"/>
                      </a:lnTo>
                      <a:lnTo>
                        <a:pt x="163" y="605"/>
                      </a:lnTo>
                      <a:lnTo>
                        <a:pt x="145" y="606"/>
                      </a:lnTo>
                      <a:lnTo>
                        <a:pt x="151" y="567"/>
                      </a:lnTo>
                      <a:lnTo>
                        <a:pt x="140" y="549"/>
                      </a:lnTo>
                      <a:lnTo>
                        <a:pt x="97" y="553"/>
                      </a:lnTo>
                      <a:lnTo>
                        <a:pt x="33" y="513"/>
                      </a:lnTo>
                      <a:lnTo>
                        <a:pt x="11" y="496"/>
                      </a:lnTo>
                      <a:lnTo>
                        <a:pt x="0" y="448"/>
                      </a:lnTo>
                      <a:close/>
                    </a:path>
                  </a:pathLst>
                </a:custGeom>
                <a:solidFill>
                  <a:schemeClr val="accent4">
                    <a:lumMod val="40000"/>
                    <a:lumOff val="60000"/>
                  </a:schemeClr>
                </a:solidFill>
                <a:ln w="9525">
                  <a:solidFill>
                    <a:schemeClr val="tx1"/>
                  </a:solidFill>
                  <a:round/>
                  <a:headEnd/>
                  <a:tailEnd/>
                </a:ln>
              </p:spPr>
              <p:txBody>
                <a:bodyPr/>
                <a:lstStyle/>
                <a:p>
                  <a:pPr>
                    <a:defRPr/>
                  </a:pPr>
                  <a:endParaRPr lang="en-US" sz="1100" dirty="0">
                    <a:latin typeface="+mj-lt"/>
                  </a:endParaRPr>
                </a:p>
              </p:txBody>
            </p:sp>
            <p:sp>
              <p:nvSpPr>
                <p:cNvPr id="107" name="Freeform 69"/>
                <p:cNvSpPr>
                  <a:spLocks/>
                </p:cNvSpPr>
                <p:nvPr/>
              </p:nvSpPr>
              <p:spPr bwMode="gray">
                <a:xfrm>
                  <a:off x="1788827" y="2831431"/>
                  <a:ext cx="679220" cy="695786"/>
                </a:xfrm>
                <a:custGeom>
                  <a:avLst/>
                  <a:gdLst>
                    <a:gd name="T0" fmla="*/ 0 w 1396"/>
                    <a:gd name="T1" fmla="*/ 1402 h 1427"/>
                    <a:gd name="T2" fmla="*/ 174 w 1396"/>
                    <a:gd name="T3" fmla="*/ 1427 h 1427"/>
                    <a:gd name="T4" fmla="*/ 191 w 1396"/>
                    <a:gd name="T5" fmla="*/ 1319 h 1427"/>
                    <a:gd name="T6" fmla="*/ 544 w 1396"/>
                    <a:gd name="T7" fmla="*/ 1364 h 1427"/>
                    <a:gd name="T8" fmla="*/ 528 w 1396"/>
                    <a:gd name="T9" fmla="*/ 1312 h 1427"/>
                    <a:gd name="T10" fmla="*/ 583 w 1396"/>
                    <a:gd name="T11" fmla="*/ 1317 h 1427"/>
                    <a:gd name="T12" fmla="*/ 1281 w 1396"/>
                    <a:gd name="T13" fmla="*/ 1384 h 1427"/>
                    <a:gd name="T14" fmla="*/ 1385 w 1396"/>
                    <a:gd name="T15" fmla="*/ 261 h 1427"/>
                    <a:gd name="T16" fmla="*/ 1396 w 1396"/>
                    <a:gd name="T17" fmla="*/ 130 h 1427"/>
                    <a:gd name="T18" fmla="*/ 802 w 1396"/>
                    <a:gd name="T19" fmla="*/ 78 h 1427"/>
                    <a:gd name="T20" fmla="*/ 206 w 1396"/>
                    <a:gd name="T21" fmla="*/ 0 h 1427"/>
                    <a:gd name="T22" fmla="*/ 0 w 1396"/>
                    <a:gd name="T23" fmla="*/ 1402 h 14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396"/>
                    <a:gd name="T37" fmla="*/ 0 h 1427"/>
                    <a:gd name="T38" fmla="*/ 1396 w 1396"/>
                    <a:gd name="T39" fmla="*/ 1427 h 142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396" h="1427">
                      <a:moveTo>
                        <a:pt x="0" y="1402"/>
                      </a:moveTo>
                      <a:lnTo>
                        <a:pt x="174" y="1427"/>
                      </a:lnTo>
                      <a:lnTo>
                        <a:pt x="191" y="1319"/>
                      </a:lnTo>
                      <a:lnTo>
                        <a:pt x="544" y="1364"/>
                      </a:lnTo>
                      <a:lnTo>
                        <a:pt x="528" y="1312"/>
                      </a:lnTo>
                      <a:lnTo>
                        <a:pt x="583" y="1317"/>
                      </a:lnTo>
                      <a:lnTo>
                        <a:pt x="1281" y="1384"/>
                      </a:lnTo>
                      <a:lnTo>
                        <a:pt x="1385" y="261"/>
                      </a:lnTo>
                      <a:lnTo>
                        <a:pt x="1396" y="130"/>
                      </a:lnTo>
                      <a:lnTo>
                        <a:pt x="802" y="78"/>
                      </a:lnTo>
                      <a:lnTo>
                        <a:pt x="206" y="0"/>
                      </a:lnTo>
                      <a:lnTo>
                        <a:pt x="0" y="1402"/>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08" name="Freeform 71"/>
                <p:cNvSpPr>
                  <a:spLocks/>
                </p:cNvSpPr>
                <p:nvPr/>
              </p:nvSpPr>
              <p:spPr bwMode="gray">
                <a:xfrm>
                  <a:off x="5131329" y="2253558"/>
                  <a:ext cx="16566" cy="24362"/>
                </a:xfrm>
                <a:custGeom>
                  <a:avLst/>
                  <a:gdLst>
                    <a:gd name="T0" fmla="*/ 0 w 33"/>
                    <a:gd name="T1" fmla="*/ 51 h 51"/>
                    <a:gd name="T2" fmla="*/ 3 w 33"/>
                    <a:gd name="T3" fmla="*/ 18 h 51"/>
                    <a:gd name="T4" fmla="*/ 23 w 33"/>
                    <a:gd name="T5" fmla="*/ 0 h 51"/>
                    <a:gd name="T6" fmla="*/ 33 w 33"/>
                    <a:gd name="T7" fmla="*/ 11 h 51"/>
                    <a:gd name="T8" fmla="*/ 15 w 33"/>
                    <a:gd name="T9" fmla="*/ 42 h 51"/>
                    <a:gd name="T10" fmla="*/ 0 w 33"/>
                    <a:gd name="T11" fmla="*/ 51 h 51"/>
                    <a:gd name="T12" fmla="*/ 0 60000 65536"/>
                    <a:gd name="T13" fmla="*/ 0 60000 65536"/>
                    <a:gd name="T14" fmla="*/ 0 60000 65536"/>
                    <a:gd name="T15" fmla="*/ 0 60000 65536"/>
                    <a:gd name="T16" fmla="*/ 0 60000 65536"/>
                    <a:gd name="T17" fmla="*/ 0 60000 65536"/>
                    <a:gd name="T18" fmla="*/ 0 w 33"/>
                    <a:gd name="T19" fmla="*/ 0 h 51"/>
                    <a:gd name="T20" fmla="*/ 33 w 33"/>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33" h="51">
                      <a:moveTo>
                        <a:pt x="0" y="51"/>
                      </a:moveTo>
                      <a:lnTo>
                        <a:pt x="3" y="18"/>
                      </a:lnTo>
                      <a:lnTo>
                        <a:pt x="23" y="0"/>
                      </a:lnTo>
                      <a:lnTo>
                        <a:pt x="33" y="11"/>
                      </a:lnTo>
                      <a:lnTo>
                        <a:pt x="15" y="42"/>
                      </a:lnTo>
                      <a:lnTo>
                        <a:pt x="0" y="51"/>
                      </a:lnTo>
                      <a:close/>
                    </a:path>
                  </a:pathLst>
                </a:custGeom>
                <a:grpFill/>
                <a:ln w="9525">
                  <a:solidFill>
                    <a:schemeClr val="tx1"/>
                  </a:solidFill>
                  <a:round/>
                  <a:headEnd/>
                  <a:tailEnd/>
                </a:ln>
              </p:spPr>
              <p:txBody>
                <a:bodyPr/>
                <a:lstStyle/>
                <a:p>
                  <a:pPr>
                    <a:defRPr/>
                  </a:pPr>
                  <a:endParaRPr lang="en-US" sz="1100" dirty="0">
                    <a:latin typeface="+mj-lt"/>
                  </a:endParaRPr>
                </a:p>
              </p:txBody>
            </p:sp>
            <p:grpSp>
              <p:nvGrpSpPr>
                <p:cNvPr id="109" name="Group 195"/>
                <p:cNvGrpSpPr/>
                <p:nvPr/>
              </p:nvGrpSpPr>
              <p:grpSpPr bwMode="gray">
                <a:xfrm>
                  <a:off x="4599257" y="1719537"/>
                  <a:ext cx="729893" cy="542791"/>
                  <a:chOff x="4599257" y="1719537"/>
                  <a:chExt cx="729893" cy="542791"/>
                </a:xfrm>
                <a:grpFill/>
              </p:grpSpPr>
              <p:sp>
                <p:nvSpPr>
                  <p:cNvPr id="133" name="Freeform 70"/>
                  <p:cNvSpPr>
                    <a:spLocks/>
                  </p:cNvSpPr>
                  <p:nvPr/>
                </p:nvSpPr>
                <p:spPr bwMode="gray">
                  <a:xfrm>
                    <a:off x="4599257" y="1719537"/>
                    <a:ext cx="572026" cy="512582"/>
                  </a:xfrm>
                  <a:custGeom>
                    <a:avLst/>
                    <a:gdLst>
                      <a:gd name="T0" fmla="*/ 0 w 1173"/>
                      <a:gd name="T1" fmla="*/ 906 h 1052"/>
                      <a:gd name="T2" fmla="*/ 38 w 1173"/>
                      <a:gd name="T3" fmla="*/ 965 h 1052"/>
                      <a:gd name="T4" fmla="*/ 803 w 1173"/>
                      <a:gd name="T5" fmla="*/ 819 h 1052"/>
                      <a:gd name="T6" fmla="*/ 856 w 1173"/>
                      <a:gd name="T7" fmla="*/ 847 h 1052"/>
                      <a:gd name="T8" fmla="*/ 887 w 1173"/>
                      <a:gd name="T9" fmla="*/ 906 h 1052"/>
                      <a:gd name="T10" fmla="*/ 962 w 1173"/>
                      <a:gd name="T11" fmla="*/ 949 h 1052"/>
                      <a:gd name="T12" fmla="*/ 1132 w 1173"/>
                      <a:gd name="T13" fmla="*/ 1006 h 1052"/>
                      <a:gd name="T14" fmla="*/ 1134 w 1173"/>
                      <a:gd name="T15" fmla="*/ 1029 h 1052"/>
                      <a:gd name="T16" fmla="*/ 1145 w 1173"/>
                      <a:gd name="T17" fmla="*/ 1052 h 1052"/>
                      <a:gd name="T18" fmla="*/ 1156 w 1173"/>
                      <a:gd name="T19" fmla="*/ 1039 h 1052"/>
                      <a:gd name="T20" fmla="*/ 1172 w 1173"/>
                      <a:gd name="T21" fmla="*/ 989 h 1052"/>
                      <a:gd name="T22" fmla="*/ 1173 w 1173"/>
                      <a:gd name="T23" fmla="*/ 900 h 1052"/>
                      <a:gd name="T24" fmla="*/ 1145 w 1173"/>
                      <a:gd name="T25" fmla="*/ 730 h 1052"/>
                      <a:gd name="T26" fmla="*/ 1143 w 1173"/>
                      <a:gd name="T27" fmla="*/ 551 h 1052"/>
                      <a:gd name="T28" fmla="*/ 1113 w 1173"/>
                      <a:gd name="T29" fmla="*/ 410 h 1052"/>
                      <a:gd name="T30" fmla="*/ 1062 w 1173"/>
                      <a:gd name="T31" fmla="*/ 294 h 1052"/>
                      <a:gd name="T32" fmla="*/ 1047 w 1173"/>
                      <a:gd name="T33" fmla="*/ 178 h 1052"/>
                      <a:gd name="T34" fmla="*/ 998 w 1173"/>
                      <a:gd name="T35" fmla="*/ 0 h 1052"/>
                      <a:gd name="T36" fmla="*/ 763 w 1173"/>
                      <a:gd name="T37" fmla="*/ 59 h 1052"/>
                      <a:gd name="T38" fmla="*/ 748 w 1173"/>
                      <a:gd name="T39" fmla="*/ 57 h 1052"/>
                      <a:gd name="T40" fmla="*/ 673 w 1173"/>
                      <a:gd name="T41" fmla="*/ 115 h 1052"/>
                      <a:gd name="T42" fmla="*/ 609 w 1173"/>
                      <a:gd name="T43" fmla="*/ 209 h 1052"/>
                      <a:gd name="T44" fmla="*/ 604 w 1173"/>
                      <a:gd name="T45" fmla="*/ 248 h 1052"/>
                      <a:gd name="T46" fmla="*/ 573 w 1173"/>
                      <a:gd name="T47" fmla="*/ 290 h 1052"/>
                      <a:gd name="T48" fmla="*/ 522 w 1173"/>
                      <a:gd name="T49" fmla="*/ 337 h 1052"/>
                      <a:gd name="T50" fmla="*/ 544 w 1173"/>
                      <a:gd name="T51" fmla="*/ 370 h 1052"/>
                      <a:gd name="T52" fmla="*/ 550 w 1173"/>
                      <a:gd name="T53" fmla="*/ 346 h 1052"/>
                      <a:gd name="T54" fmla="*/ 567 w 1173"/>
                      <a:gd name="T55" fmla="*/ 353 h 1052"/>
                      <a:gd name="T56" fmla="*/ 557 w 1173"/>
                      <a:gd name="T57" fmla="*/ 364 h 1052"/>
                      <a:gd name="T58" fmla="*/ 568 w 1173"/>
                      <a:gd name="T59" fmla="*/ 370 h 1052"/>
                      <a:gd name="T60" fmla="*/ 560 w 1173"/>
                      <a:gd name="T61" fmla="*/ 394 h 1052"/>
                      <a:gd name="T62" fmla="*/ 550 w 1173"/>
                      <a:gd name="T63" fmla="*/ 391 h 1052"/>
                      <a:gd name="T64" fmla="*/ 548 w 1173"/>
                      <a:gd name="T65" fmla="*/ 402 h 1052"/>
                      <a:gd name="T66" fmla="*/ 572 w 1173"/>
                      <a:gd name="T67" fmla="*/ 437 h 1052"/>
                      <a:gd name="T68" fmla="*/ 574 w 1173"/>
                      <a:gd name="T69" fmla="*/ 467 h 1052"/>
                      <a:gd name="T70" fmla="*/ 537 w 1173"/>
                      <a:gd name="T71" fmla="*/ 484 h 1052"/>
                      <a:gd name="T72" fmla="*/ 500 w 1173"/>
                      <a:gd name="T73" fmla="*/ 541 h 1052"/>
                      <a:gd name="T74" fmla="*/ 458 w 1173"/>
                      <a:gd name="T75" fmla="*/ 570 h 1052"/>
                      <a:gd name="T76" fmla="*/ 385 w 1173"/>
                      <a:gd name="T77" fmla="*/ 575 h 1052"/>
                      <a:gd name="T78" fmla="*/ 359 w 1173"/>
                      <a:gd name="T79" fmla="*/ 596 h 1052"/>
                      <a:gd name="T80" fmla="*/ 315 w 1173"/>
                      <a:gd name="T81" fmla="*/ 577 h 1052"/>
                      <a:gd name="T82" fmla="*/ 188 w 1173"/>
                      <a:gd name="T83" fmla="*/ 592 h 1052"/>
                      <a:gd name="T84" fmla="*/ 93 w 1173"/>
                      <a:gd name="T85" fmla="*/ 631 h 1052"/>
                      <a:gd name="T86" fmla="*/ 98 w 1173"/>
                      <a:gd name="T87" fmla="*/ 663 h 1052"/>
                      <a:gd name="T88" fmla="*/ 93 w 1173"/>
                      <a:gd name="T89" fmla="*/ 679 h 1052"/>
                      <a:gd name="T90" fmla="*/ 99 w 1173"/>
                      <a:gd name="T91" fmla="*/ 679 h 1052"/>
                      <a:gd name="T92" fmla="*/ 113 w 1173"/>
                      <a:gd name="T93" fmla="*/ 711 h 1052"/>
                      <a:gd name="T94" fmla="*/ 127 w 1173"/>
                      <a:gd name="T95" fmla="*/ 710 h 1052"/>
                      <a:gd name="T96" fmla="*/ 142 w 1173"/>
                      <a:gd name="T97" fmla="*/ 742 h 1052"/>
                      <a:gd name="T98" fmla="*/ 140 w 1173"/>
                      <a:gd name="T99" fmla="*/ 754 h 1052"/>
                      <a:gd name="T100" fmla="*/ 114 w 1173"/>
                      <a:gd name="T101" fmla="*/ 772 h 1052"/>
                      <a:gd name="T102" fmla="*/ 104 w 1173"/>
                      <a:gd name="T103" fmla="*/ 808 h 1052"/>
                      <a:gd name="T104" fmla="*/ 0 w 1173"/>
                      <a:gd name="T105" fmla="*/ 906 h 105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173"/>
                      <a:gd name="T160" fmla="*/ 0 h 1052"/>
                      <a:gd name="T161" fmla="*/ 1173 w 1173"/>
                      <a:gd name="T162" fmla="*/ 1052 h 105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173" h="1052">
                        <a:moveTo>
                          <a:pt x="0" y="906"/>
                        </a:moveTo>
                        <a:lnTo>
                          <a:pt x="38" y="965"/>
                        </a:lnTo>
                        <a:lnTo>
                          <a:pt x="803" y="819"/>
                        </a:lnTo>
                        <a:lnTo>
                          <a:pt x="856" y="847"/>
                        </a:lnTo>
                        <a:lnTo>
                          <a:pt x="887" y="906"/>
                        </a:lnTo>
                        <a:lnTo>
                          <a:pt x="962" y="949"/>
                        </a:lnTo>
                        <a:lnTo>
                          <a:pt x="1132" y="1006"/>
                        </a:lnTo>
                        <a:lnTo>
                          <a:pt x="1134" y="1029"/>
                        </a:lnTo>
                        <a:lnTo>
                          <a:pt x="1145" y="1052"/>
                        </a:lnTo>
                        <a:lnTo>
                          <a:pt x="1156" y="1039"/>
                        </a:lnTo>
                        <a:lnTo>
                          <a:pt x="1172" y="989"/>
                        </a:lnTo>
                        <a:lnTo>
                          <a:pt x="1173" y="900"/>
                        </a:lnTo>
                        <a:lnTo>
                          <a:pt x="1145" y="730"/>
                        </a:lnTo>
                        <a:lnTo>
                          <a:pt x="1143" y="551"/>
                        </a:lnTo>
                        <a:lnTo>
                          <a:pt x="1113" y="410"/>
                        </a:lnTo>
                        <a:lnTo>
                          <a:pt x="1062" y="294"/>
                        </a:lnTo>
                        <a:lnTo>
                          <a:pt x="1047" y="178"/>
                        </a:lnTo>
                        <a:lnTo>
                          <a:pt x="998" y="0"/>
                        </a:lnTo>
                        <a:lnTo>
                          <a:pt x="763" y="59"/>
                        </a:lnTo>
                        <a:lnTo>
                          <a:pt x="748" y="57"/>
                        </a:lnTo>
                        <a:lnTo>
                          <a:pt x="673" y="115"/>
                        </a:lnTo>
                        <a:lnTo>
                          <a:pt x="609" y="209"/>
                        </a:lnTo>
                        <a:lnTo>
                          <a:pt x="604" y="248"/>
                        </a:lnTo>
                        <a:lnTo>
                          <a:pt x="573" y="290"/>
                        </a:lnTo>
                        <a:lnTo>
                          <a:pt x="522" y="337"/>
                        </a:lnTo>
                        <a:lnTo>
                          <a:pt x="544" y="370"/>
                        </a:lnTo>
                        <a:lnTo>
                          <a:pt x="550" y="346"/>
                        </a:lnTo>
                        <a:lnTo>
                          <a:pt x="567" y="353"/>
                        </a:lnTo>
                        <a:lnTo>
                          <a:pt x="557" y="364"/>
                        </a:lnTo>
                        <a:lnTo>
                          <a:pt x="568" y="370"/>
                        </a:lnTo>
                        <a:lnTo>
                          <a:pt x="560" y="394"/>
                        </a:lnTo>
                        <a:lnTo>
                          <a:pt x="550" y="391"/>
                        </a:lnTo>
                        <a:lnTo>
                          <a:pt x="548" y="402"/>
                        </a:lnTo>
                        <a:lnTo>
                          <a:pt x="572" y="437"/>
                        </a:lnTo>
                        <a:lnTo>
                          <a:pt x="574" y="467"/>
                        </a:lnTo>
                        <a:lnTo>
                          <a:pt x="537" y="484"/>
                        </a:lnTo>
                        <a:lnTo>
                          <a:pt x="500" y="541"/>
                        </a:lnTo>
                        <a:lnTo>
                          <a:pt x="458" y="570"/>
                        </a:lnTo>
                        <a:lnTo>
                          <a:pt x="385" y="575"/>
                        </a:lnTo>
                        <a:lnTo>
                          <a:pt x="359" y="596"/>
                        </a:lnTo>
                        <a:lnTo>
                          <a:pt x="315" y="577"/>
                        </a:lnTo>
                        <a:lnTo>
                          <a:pt x="188" y="592"/>
                        </a:lnTo>
                        <a:lnTo>
                          <a:pt x="93" y="631"/>
                        </a:lnTo>
                        <a:lnTo>
                          <a:pt x="98" y="663"/>
                        </a:lnTo>
                        <a:lnTo>
                          <a:pt x="93" y="679"/>
                        </a:lnTo>
                        <a:lnTo>
                          <a:pt x="99" y="679"/>
                        </a:lnTo>
                        <a:lnTo>
                          <a:pt x="113" y="711"/>
                        </a:lnTo>
                        <a:lnTo>
                          <a:pt x="127" y="710"/>
                        </a:lnTo>
                        <a:lnTo>
                          <a:pt x="142" y="742"/>
                        </a:lnTo>
                        <a:lnTo>
                          <a:pt x="140" y="754"/>
                        </a:lnTo>
                        <a:lnTo>
                          <a:pt x="114" y="772"/>
                        </a:lnTo>
                        <a:lnTo>
                          <a:pt x="104" y="808"/>
                        </a:lnTo>
                        <a:lnTo>
                          <a:pt x="0" y="906"/>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34" name="Freeform 72"/>
                  <p:cNvSpPr>
                    <a:spLocks/>
                  </p:cNvSpPr>
                  <p:nvPr/>
                </p:nvSpPr>
                <p:spPr bwMode="gray">
                  <a:xfrm>
                    <a:off x="5149844" y="2156109"/>
                    <a:ext cx="179306" cy="106219"/>
                  </a:xfrm>
                  <a:custGeom>
                    <a:avLst/>
                    <a:gdLst>
                      <a:gd name="T0" fmla="*/ 0 w 369"/>
                      <a:gd name="T1" fmla="*/ 197 h 218"/>
                      <a:gd name="T2" fmla="*/ 8 w 369"/>
                      <a:gd name="T3" fmla="*/ 215 h 218"/>
                      <a:gd name="T4" fmla="*/ 18 w 369"/>
                      <a:gd name="T5" fmla="*/ 216 h 218"/>
                      <a:gd name="T6" fmla="*/ 31 w 369"/>
                      <a:gd name="T7" fmla="*/ 198 h 218"/>
                      <a:gd name="T8" fmla="*/ 43 w 369"/>
                      <a:gd name="T9" fmla="*/ 193 h 218"/>
                      <a:gd name="T10" fmla="*/ 47 w 369"/>
                      <a:gd name="T11" fmla="*/ 198 h 218"/>
                      <a:gd name="T12" fmla="*/ 27 w 369"/>
                      <a:gd name="T13" fmla="*/ 218 h 218"/>
                      <a:gd name="T14" fmla="*/ 62 w 369"/>
                      <a:gd name="T15" fmla="*/ 204 h 218"/>
                      <a:gd name="T16" fmla="*/ 65 w 369"/>
                      <a:gd name="T17" fmla="*/ 196 h 218"/>
                      <a:gd name="T18" fmla="*/ 115 w 369"/>
                      <a:gd name="T19" fmla="*/ 173 h 218"/>
                      <a:gd name="T20" fmla="*/ 156 w 369"/>
                      <a:gd name="T21" fmla="*/ 144 h 218"/>
                      <a:gd name="T22" fmla="*/ 203 w 369"/>
                      <a:gd name="T23" fmla="*/ 125 h 218"/>
                      <a:gd name="T24" fmla="*/ 242 w 369"/>
                      <a:gd name="T25" fmla="*/ 101 h 218"/>
                      <a:gd name="T26" fmla="*/ 240 w 369"/>
                      <a:gd name="T27" fmla="*/ 106 h 218"/>
                      <a:gd name="T28" fmla="*/ 164 w 369"/>
                      <a:gd name="T29" fmla="*/ 163 h 218"/>
                      <a:gd name="T30" fmla="*/ 150 w 369"/>
                      <a:gd name="T31" fmla="*/ 167 h 218"/>
                      <a:gd name="T32" fmla="*/ 161 w 369"/>
                      <a:gd name="T33" fmla="*/ 171 h 218"/>
                      <a:gd name="T34" fmla="*/ 180 w 369"/>
                      <a:gd name="T35" fmla="*/ 158 h 218"/>
                      <a:gd name="T36" fmla="*/ 296 w 369"/>
                      <a:gd name="T37" fmla="*/ 74 h 218"/>
                      <a:gd name="T38" fmla="*/ 312 w 369"/>
                      <a:gd name="T39" fmla="*/ 58 h 218"/>
                      <a:gd name="T40" fmla="*/ 365 w 369"/>
                      <a:gd name="T41" fmla="*/ 14 h 218"/>
                      <a:gd name="T42" fmla="*/ 369 w 369"/>
                      <a:gd name="T43" fmla="*/ 2 h 218"/>
                      <a:gd name="T44" fmla="*/ 359 w 369"/>
                      <a:gd name="T45" fmla="*/ 3 h 218"/>
                      <a:gd name="T46" fmla="*/ 332 w 369"/>
                      <a:gd name="T47" fmla="*/ 28 h 218"/>
                      <a:gd name="T48" fmla="*/ 318 w 369"/>
                      <a:gd name="T49" fmla="*/ 22 h 218"/>
                      <a:gd name="T50" fmla="*/ 294 w 369"/>
                      <a:gd name="T51" fmla="*/ 39 h 218"/>
                      <a:gd name="T52" fmla="*/ 288 w 369"/>
                      <a:gd name="T53" fmla="*/ 34 h 218"/>
                      <a:gd name="T54" fmla="*/ 267 w 369"/>
                      <a:gd name="T55" fmla="*/ 84 h 218"/>
                      <a:gd name="T56" fmla="*/ 259 w 369"/>
                      <a:gd name="T57" fmla="*/ 74 h 218"/>
                      <a:gd name="T58" fmla="*/ 240 w 369"/>
                      <a:gd name="T59" fmla="*/ 74 h 218"/>
                      <a:gd name="T60" fmla="*/ 273 w 369"/>
                      <a:gd name="T61" fmla="*/ 36 h 218"/>
                      <a:gd name="T62" fmla="*/ 268 w 369"/>
                      <a:gd name="T63" fmla="*/ 27 h 218"/>
                      <a:gd name="T64" fmla="*/ 294 w 369"/>
                      <a:gd name="T65" fmla="*/ 0 h 218"/>
                      <a:gd name="T66" fmla="*/ 285 w 369"/>
                      <a:gd name="T67" fmla="*/ 1 h 218"/>
                      <a:gd name="T68" fmla="*/ 235 w 369"/>
                      <a:gd name="T69" fmla="*/ 56 h 218"/>
                      <a:gd name="T70" fmla="*/ 176 w 369"/>
                      <a:gd name="T71" fmla="*/ 79 h 218"/>
                      <a:gd name="T72" fmla="*/ 145 w 369"/>
                      <a:gd name="T73" fmla="*/ 82 h 218"/>
                      <a:gd name="T74" fmla="*/ 140 w 369"/>
                      <a:gd name="T75" fmla="*/ 97 h 218"/>
                      <a:gd name="T76" fmla="*/ 102 w 369"/>
                      <a:gd name="T77" fmla="*/ 108 h 218"/>
                      <a:gd name="T78" fmla="*/ 86 w 369"/>
                      <a:gd name="T79" fmla="*/ 106 h 218"/>
                      <a:gd name="T80" fmla="*/ 86 w 369"/>
                      <a:gd name="T81" fmla="*/ 117 h 218"/>
                      <a:gd name="T82" fmla="*/ 71 w 369"/>
                      <a:gd name="T83" fmla="*/ 117 h 218"/>
                      <a:gd name="T84" fmla="*/ 60 w 369"/>
                      <a:gd name="T85" fmla="*/ 126 h 218"/>
                      <a:gd name="T86" fmla="*/ 57 w 369"/>
                      <a:gd name="T87" fmla="*/ 144 h 218"/>
                      <a:gd name="T88" fmla="*/ 49 w 369"/>
                      <a:gd name="T89" fmla="*/ 138 h 218"/>
                      <a:gd name="T90" fmla="*/ 41 w 369"/>
                      <a:gd name="T91" fmla="*/ 157 h 218"/>
                      <a:gd name="T92" fmla="*/ 15 w 369"/>
                      <a:gd name="T93" fmla="*/ 165 h 218"/>
                      <a:gd name="T94" fmla="*/ 12 w 369"/>
                      <a:gd name="T95" fmla="*/ 179 h 218"/>
                      <a:gd name="T96" fmla="*/ 0 w 369"/>
                      <a:gd name="T97" fmla="*/ 197 h 21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69"/>
                      <a:gd name="T148" fmla="*/ 0 h 218"/>
                      <a:gd name="T149" fmla="*/ 369 w 369"/>
                      <a:gd name="T150" fmla="*/ 218 h 21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69" h="218">
                        <a:moveTo>
                          <a:pt x="0" y="197"/>
                        </a:moveTo>
                        <a:lnTo>
                          <a:pt x="8" y="215"/>
                        </a:lnTo>
                        <a:lnTo>
                          <a:pt x="18" y="216"/>
                        </a:lnTo>
                        <a:lnTo>
                          <a:pt x="31" y="198"/>
                        </a:lnTo>
                        <a:lnTo>
                          <a:pt x="43" y="193"/>
                        </a:lnTo>
                        <a:lnTo>
                          <a:pt x="47" y="198"/>
                        </a:lnTo>
                        <a:lnTo>
                          <a:pt x="27" y="218"/>
                        </a:lnTo>
                        <a:lnTo>
                          <a:pt x="62" y="204"/>
                        </a:lnTo>
                        <a:lnTo>
                          <a:pt x="65" y="196"/>
                        </a:lnTo>
                        <a:lnTo>
                          <a:pt x="115" y="173"/>
                        </a:lnTo>
                        <a:lnTo>
                          <a:pt x="156" y="144"/>
                        </a:lnTo>
                        <a:lnTo>
                          <a:pt x="203" y="125"/>
                        </a:lnTo>
                        <a:lnTo>
                          <a:pt x="242" y="101"/>
                        </a:lnTo>
                        <a:lnTo>
                          <a:pt x="240" y="106"/>
                        </a:lnTo>
                        <a:lnTo>
                          <a:pt x="164" y="163"/>
                        </a:lnTo>
                        <a:lnTo>
                          <a:pt x="150" y="167"/>
                        </a:lnTo>
                        <a:lnTo>
                          <a:pt x="161" y="171"/>
                        </a:lnTo>
                        <a:lnTo>
                          <a:pt x="180" y="158"/>
                        </a:lnTo>
                        <a:lnTo>
                          <a:pt x="296" y="74"/>
                        </a:lnTo>
                        <a:lnTo>
                          <a:pt x="312" y="58"/>
                        </a:lnTo>
                        <a:lnTo>
                          <a:pt x="365" y="14"/>
                        </a:lnTo>
                        <a:lnTo>
                          <a:pt x="369" y="2"/>
                        </a:lnTo>
                        <a:lnTo>
                          <a:pt x="359" y="3"/>
                        </a:lnTo>
                        <a:lnTo>
                          <a:pt x="332" y="28"/>
                        </a:lnTo>
                        <a:lnTo>
                          <a:pt x="318" y="22"/>
                        </a:lnTo>
                        <a:lnTo>
                          <a:pt x="294" y="39"/>
                        </a:lnTo>
                        <a:lnTo>
                          <a:pt x="288" y="34"/>
                        </a:lnTo>
                        <a:lnTo>
                          <a:pt x="267" y="84"/>
                        </a:lnTo>
                        <a:lnTo>
                          <a:pt x="259" y="74"/>
                        </a:lnTo>
                        <a:lnTo>
                          <a:pt x="240" y="74"/>
                        </a:lnTo>
                        <a:lnTo>
                          <a:pt x="273" y="36"/>
                        </a:lnTo>
                        <a:lnTo>
                          <a:pt x="268" y="27"/>
                        </a:lnTo>
                        <a:lnTo>
                          <a:pt x="294" y="0"/>
                        </a:lnTo>
                        <a:lnTo>
                          <a:pt x="285" y="1"/>
                        </a:lnTo>
                        <a:lnTo>
                          <a:pt x="235" y="56"/>
                        </a:lnTo>
                        <a:lnTo>
                          <a:pt x="176" y="79"/>
                        </a:lnTo>
                        <a:lnTo>
                          <a:pt x="145" y="82"/>
                        </a:lnTo>
                        <a:lnTo>
                          <a:pt x="140" y="97"/>
                        </a:lnTo>
                        <a:lnTo>
                          <a:pt x="102" y="108"/>
                        </a:lnTo>
                        <a:lnTo>
                          <a:pt x="86" y="106"/>
                        </a:lnTo>
                        <a:lnTo>
                          <a:pt x="86" y="117"/>
                        </a:lnTo>
                        <a:lnTo>
                          <a:pt x="71" y="117"/>
                        </a:lnTo>
                        <a:lnTo>
                          <a:pt x="60" y="126"/>
                        </a:lnTo>
                        <a:lnTo>
                          <a:pt x="57" y="144"/>
                        </a:lnTo>
                        <a:lnTo>
                          <a:pt x="49" y="138"/>
                        </a:lnTo>
                        <a:lnTo>
                          <a:pt x="41" y="157"/>
                        </a:lnTo>
                        <a:lnTo>
                          <a:pt x="15" y="165"/>
                        </a:lnTo>
                        <a:lnTo>
                          <a:pt x="12" y="179"/>
                        </a:lnTo>
                        <a:lnTo>
                          <a:pt x="0" y="197"/>
                        </a:lnTo>
                        <a:close/>
                      </a:path>
                    </a:pathLst>
                  </a:custGeom>
                  <a:grpFill/>
                  <a:ln w="9525">
                    <a:solidFill>
                      <a:schemeClr val="tx1"/>
                    </a:solidFill>
                    <a:round/>
                    <a:headEnd/>
                    <a:tailEnd/>
                  </a:ln>
                </p:spPr>
                <p:txBody>
                  <a:bodyPr/>
                  <a:lstStyle/>
                  <a:p>
                    <a:pPr>
                      <a:defRPr/>
                    </a:pPr>
                    <a:endParaRPr lang="en-US" sz="1100" dirty="0">
                      <a:latin typeface="+mj-lt"/>
                    </a:endParaRPr>
                  </a:p>
                </p:txBody>
              </p:sp>
            </p:grpSp>
            <p:sp>
              <p:nvSpPr>
                <p:cNvPr id="110" name="Freeform 73"/>
                <p:cNvSpPr>
                  <a:spLocks/>
                </p:cNvSpPr>
                <p:nvPr/>
              </p:nvSpPr>
              <p:spPr bwMode="gray">
                <a:xfrm>
                  <a:off x="4298140" y="2786604"/>
                  <a:ext cx="825394" cy="369332"/>
                </a:xfrm>
                <a:custGeom>
                  <a:avLst/>
                  <a:gdLst>
                    <a:gd name="T0" fmla="*/ 1 w 1693"/>
                    <a:gd name="T1" fmla="*/ 652 h 757"/>
                    <a:gd name="T2" fmla="*/ 390 w 1693"/>
                    <a:gd name="T3" fmla="*/ 551 h 757"/>
                    <a:gd name="T4" fmla="*/ 770 w 1693"/>
                    <a:gd name="T5" fmla="*/ 591 h 757"/>
                    <a:gd name="T6" fmla="*/ 1212 w 1693"/>
                    <a:gd name="T7" fmla="*/ 757 h 757"/>
                    <a:gd name="T8" fmla="*/ 1315 w 1693"/>
                    <a:gd name="T9" fmla="*/ 732 h 757"/>
                    <a:gd name="T10" fmla="*/ 1341 w 1693"/>
                    <a:gd name="T11" fmla="*/ 708 h 757"/>
                    <a:gd name="T12" fmla="*/ 1394 w 1693"/>
                    <a:gd name="T13" fmla="*/ 573 h 757"/>
                    <a:gd name="T14" fmla="*/ 1409 w 1693"/>
                    <a:gd name="T15" fmla="*/ 538 h 757"/>
                    <a:gd name="T16" fmla="*/ 1399 w 1693"/>
                    <a:gd name="T17" fmla="*/ 498 h 757"/>
                    <a:gd name="T18" fmla="*/ 1418 w 1693"/>
                    <a:gd name="T19" fmla="*/ 530 h 757"/>
                    <a:gd name="T20" fmla="*/ 1454 w 1693"/>
                    <a:gd name="T21" fmla="*/ 517 h 757"/>
                    <a:gd name="T22" fmla="*/ 1455 w 1693"/>
                    <a:gd name="T23" fmla="*/ 480 h 757"/>
                    <a:gd name="T24" fmla="*/ 1476 w 1693"/>
                    <a:gd name="T25" fmla="*/ 500 h 757"/>
                    <a:gd name="T26" fmla="*/ 1584 w 1693"/>
                    <a:gd name="T27" fmla="*/ 467 h 757"/>
                    <a:gd name="T28" fmla="*/ 1607 w 1693"/>
                    <a:gd name="T29" fmla="*/ 387 h 757"/>
                    <a:gd name="T30" fmla="*/ 1581 w 1693"/>
                    <a:gd name="T31" fmla="*/ 380 h 757"/>
                    <a:gd name="T32" fmla="*/ 1569 w 1693"/>
                    <a:gd name="T33" fmla="*/ 419 h 757"/>
                    <a:gd name="T34" fmla="*/ 1545 w 1693"/>
                    <a:gd name="T35" fmla="*/ 427 h 757"/>
                    <a:gd name="T36" fmla="*/ 1452 w 1693"/>
                    <a:gd name="T37" fmla="*/ 399 h 757"/>
                    <a:gd name="T38" fmla="*/ 1512 w 1693"/>
                    <a:gd name="T39" fmla="*/ 417 h 757"/>
                    <a:gd name="T40" fmla="*/ 1536 w 1693"/>
                    <a:gd name="T41" fmla="*/ 362 h 757"/>
                    <a:gd name="T42" fmla="*/ 1533 w 1693"/>
                    <a:gd name="T43" fmla="*/ 332 h 757"/>
                    <a:gd name="T44" fmla="*/ 1489 w 1693"/>
                    <a:gd name="T45" fmla="*/ 290 h 757"/>
                    <a:gd name="T46" fmla="*/ 1533 w 1693"/>
                    <a:gd name="T47" fmla="*/ 297 h 757"/>
                    <a:gd name="T48" fmla="*/ 1530 w 1693"/>
                    <a:gd name="T49" fmla="*/ 274 h 757"/>
                    <a:gd name="T50" fmla="*/ 1541 w 1693"/>
                    <a:gd name="T51" fmla="*/ 282 h 757"/>
                    <a:gd name="T52" fmla="*/ 1571 w 1693"/>
                    <a:gd name="T53" fmla="*/ 285 h 757"/>
                    <a:gd name="T54" fmla="*/ 1602 w 1693"/>
                    <a:gd name="T55" fmla="*/ 304 h 757"/>
                    <a:gd name="T56" fmla="*/ 1650 w 1693"/>
                    <a:gd name="T57" fmla="*/ 274 h 757"/>
                    <a:gd name="T58" fmla="*/ 1693 w 1693"/>
                    <a:gd name="T59" fmla="*/ 219 h 757"/>
                    <a:gd name="T60" fmla="*/ 1675 w 1693"/>
                    <a:gd name="T61" fmla="*/ 151 h 757"/>
                    <a:gd name="T62" fmla="*/ 1623 w 1693"/>
                    <a:gd name="T63" fmla="*/ 219 h 757"/>
                    <a:gd name="T64" fmla="*/ 1607 w 1693"/>
                    <a:gd name="T65" fmla="*/ 140 h 757"/>
                    <a:gd name="T66" fmla="*/ 1483 w 1693"/>
                    <a:gd name="T67" fmla="*/ 181 h 757"/>
                    <a:gd name="T68" fmla="*/ 1528 w 1693"/>
                    <a:gd name="T69" fmla="*/ 129 h 757"/>
                    <a:gd name="T70" fmla="*/ 1575 w 1693"/>
                    <a:gd name="T71" fmla="*/ 64 h 757"/>
                    <a:gd name="T72" fmla="*/ 1609 w 1693"/>
                    <a:gd name="T73" fmla="*/ 57 h 757"/>
                    <a:gd name="T74" fmla="*/ 1620 w 1693"/>
                    <a:gd name="T75" fmla="*/ 29 h 757"/>
                    <a:gd name="T76" fmla="*/ 982 w 1693"/>
                    <a:gd name="T77" fmla="*/ 116 h 757"/>
                    <a:gd name="T78" fmla="*/ 475 w 1693"/>
                    <a:gd name="T79" fmla="*/ 237 h 757"/>
                    <a:gd name="T80" fmla="*/ 413 w 1693"/>
                    <a:gd name="T81" fmla="*/ 317 h 757"/>
                    <a:gd name="T82" fmla="*/ 355 w 1693"/>
                    <a:gd name="T83" fmla="*/ 330 h 757"/>
                    <a:gd name="T84" fmla="*/ 305 w 1693"/>
                    <a:gd name="T85" fmla="*/ 341 h 757"/>
                    <a:gd name="T86" fmla="*/ 254 w 1693"/>
                    <a:gd name="T87" fmla="*/ 413 h 757"/>
                    <a:gd name="T88" fmla="*/ 51 w 1693"/>
                    <a:gd name="T89" fmla="*/ 570 h 75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693"/>
                    <a:gd name="T136" fmla="*/ 0 h 757"/>
                    <a:gd name="T137" fmla="*/ 1693 w 1693"/>
                    <a:gd name="T138" fmla="*/ 757 h 757"/>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693" h="757">
                      <a:moveTo>
                        <a:pt x="0" y="595"/>
                      </a:moveTo>
                      <a:lnTo>
                        <a:pt x="1" y="652"/>
                      </a:lnTo>
                      <a:lnTo>
                        <a:pt x="246" y="622"/>
                      </a:lnTo>
                      <a:lnTo>
                        <a:pt x="390" y="551"/>
                      </a:lnTo>
                      <a:lnTo>
                        <a:pt x="659" y="519"/>
                      </a:lnTo>
                      <a:lnTo>
                        <a:pt x="770" y="591"/>
                      </a:lnTo>
                      <a:lnTo>
                        <a:pt x="946" y="565"/>
                      </a:lnTo>
                      <a:lnTo>
                        <a:pt x="1212" y="757"/>
                      </a:lnTo>
                      <a:lnTo>
                        <a:pt x="1248" y="736"/>
                      </a:lnTo>
                      <a:lnTo>
                        <a:pt x="1315" y="732"/>
                      </a:lnTo>
                      <a:lnTo>
                        <a:pt x="1328" y="681"/>
                      </a:lnTo>
                      <a:lnTo>
                        <a:pt x="1341" y="708"/>
                      </a:lnTo>
                      <a:lnTo>
                        <a:pt x="1359" y="621"/>
                      </a:lnTo>
                      <a:lnTo>
                        <a:pt x="1394" y="573"/>
                      </a:lnTo>
                      <a:lnTo>
                        <a:pt x="1426" y="549"/>
                      </a:lnTo>
                      <a:lnTo>
                        <a:pt x="1409" y="538"/>
                      </a:lnTo>
                      <a:lnTo>
                        <a:pt x="1415" y="518"/>
                      </a:lnTo>
                      <a:lnTo>
                        <a:pt x="1399" y="498"/>
                      </a:lnTo>
                      <a:lnTo>
                        <a:pt x="1424" y="521"/>
                      </a:lnTo>
                      <a:lnTo>
                        <a:pt x="1418" y="530"/>
                      </a:lnTo>
                      <a:lnTo>
                        <a:pt x="1435" y="539"/>
                      </a:lnTo>
                      <a:lnTo>
                        <a:pt x="1454" y="517"/>
                      </a:lnTo>
                      <a:lnTo>
                        <a:pt x="1463" y="515"/>
                      </a:lnTo>
                      <a:lnTo>
                        <a:pt x="1455" y="480"/>
                      </a:lnTo>
                      <a:lnTo>
                        <a:pt x="1463" y="479"/>
                      </a:lnTo>
                      <a:lnTo>
                        <a:pt x="1476" y="500"/>
                      </a:lnTo>
                      <a:lnTo>
                        <a:pt x="1536" y="469"/>
                      </a:lnTo>
                      <a:lnTo>
                        <a:pt x="1584" y="467"/>
                      </a:lnTo>
                      <a:lnTo>
                        <a:pt x="1619" y="404"/>
                      </a:lnTo>
                      <a:lnTo>
                        <a:pt x="1607" y="387"/>
                      </a:lnTo>
                      <a:lnTo>
                        <a:pt x="1588" y="411"/>
                      </a:lnTo>
                      <a:lnTo>
                        <a:pt x="1581" y="380"/>
                      </a:lnTo>
                      <a:lnTo>
                        <a:pt x="1559" y="401"/>
                      </a:lnTo>
                      <a:lnTo>
                        <a:pt x="1569" y="419"/>
                      </a:lnTo>
                      <a:lnTo>
                        <a:pt x="1549" y="409"/>
                      </a:lnTo>
                      <a:lnTo>
                        <a:pt x="1545" y="427"/>
                      </a:lnTo>
                      <a:lnTo>
                        <a:pt x="1490" y="425"/>
                      </a:lnTo>
                      <a:lnTo>
                        <a:pt x="1452" y="399"/>
                      </a:lnTo>
                      <a:lnTo>
                        <a:pt x="1454" y="382"/>
                      </a:lnTo>
                      <a:lnTo>
                        <a:pt x="1512" y="417"/>
                      </a:lnTo>
                      <a:lnTo>
                        <a:pt x="1559" y="366"/>
                      </a:lnTo>
                      <a:lnTo>
                        <a:pt x="1536" y="362"/>
                      </a:lnTo>
                      <a:lnTo>
                        <a:pt x="1562" y="324"/>
                      </a:lnTo>
                      <a:lnTo>
                        <a:pt x="1533" y="332"/>
                      </a:lnTo>
                      <a:lnTo>
                        <a:pt x="1445" y="298"/>
                      </a:lnTo>
                      <a:lnTo>
                        <a:pt x="1489" y="290"/>
                      </a:lnTo>
                      <a:lnTo>
                        <a:pt x="1531" y="307"/>
                      </a:lnTo>
                      <a:lnTo>
                        <a:pt x="1533" y="297"/>
                      </a:lnTo>
                      <a:lnTo>
                        <a:pt x="1512" y="274"/>
                      </a:lnTo>
                      <a:lnTo>
                        <a:pt x="1530" y="274"/>
                      </a:lnTo>
                      <a:lnTo>
                        <a:pt x="1556" y="261"/>
                      </a:lnTo>
                      <a:lnTo>
                        <a:pt x="1541" y="282"/>
                      </a:lnTo>
                      <a:lnTo>
                        <a:pt x="1551" y="304"/>
                      </a:lnTo>
                      <a:lnTo>
                        <a:pt x="1571" y="285"/>
                      </a:lnTo>
                      <a:lnTo>
                        <a:pt x="1583" y="307"/>
                      </a:lnTo>
                      <a:lnTo>
                        <a:pt x="1602" y="304"/>
                      </a:lnTo>
                      <a:lnTo>
                        <a:pt x="1627" y="302"/>
                      </a:lnTo>
                      <a:lnTo>
                        <a:pt x="1650" y="274"/>
                      </a:lnTo>
                      <a:lnTo>
                        <a:pt x="1666" y="225"/>
                      </a:lnTo>
                      <a:lnTo>
                        <a:pt x="1693" y="219"/>
                      </a:lnTo>
                      <a:lnTo>
                        <a:pt x="1693" y="194"/>
                      </a:lnTo>
                      <a:lnTo>
                        <a:pt x="1675" y="151"/>
                      </a:lnTo>
                      <a:lnTo>
                        <a:pt x="1649" y="151"/>
                      </a:lnTo>
                      <a:lnTo>
                        <a:pt x="1623" y="219"/>
                      </a:lnTo>
                      <a:lnTo>
                        <a:pt x="1613" y="185"/>
                      </a:lnTo>
                      <a:lnTo>
                        <a:pt x="1607" y="140"/>
                      </a:lnTo>
                      <a:lnTo>
                        <a:pt x="1552" y="166"/>
                      </a:lnTo>
                      <a:lnTo>
                        <a:pt x="1483" y="181"/>
                      </a:lnTo>
                      <a:lnTo>
                        <a:pt x="1490" y="148"/>
                      </a:lnTo>
                      <a:lnTo>
                        <a:pt x="1528" y="129"/>
                      </a:lnTo>
                      <a:lnTo>
                        <a:pt x="1601" y="100"/>
                      </a:lnTo>
                      <a:lnTo>
                        <a:pt x="1575" y="64"/>
                      </a:lnTo>
                      <a:lnTo>
                        <a:pt x="1624" y="89"/>
                      </a:lnTo>
                      <a:lnTo>
                        <a:pt x="1609" y="57"/>
                      </a:lnTo>
                      <a:lnTo>
                        <a:pt x="1655" y="100"/>
                      </a:lnTo>
                      <a:lnTo>
                        <a:pt x="1620" y="29"/>
                      </a:lnTo>
                      <a:lnTo>
                        <a:pt x="1585" y="0"/>
                      </a:lnTo>
                      <a:lnTo>
                        <a:pt x="982" y="116"/>
                      </a:lnTo>
                      <a:lnTo>
                        <a:pt x="483" y="181"/>
                      </a:lnTo>
                      <a:lnTo>
                        <a:pt x="475" y="237"/>
                      </a:lnTo>
                      <a:lnTo>
                        <a:pt x="448" y="255"/>
                      </a:lnTo>
                      <a:lnTo>
                        <a:pt x="413" y="317"/>
                      </a:lnTo>
                      <a:lnTo>
                        <a:pt x="386" y="313"/>
                      </a:lnTo>
                      <a:lnTo>
                        <a:pt x="355" y="330"/>
                      </a:lnTo>
                      <a:lnTo>
                        <a:pt x="334" y="361"/>
                      </a:lnTo>
                      <a:lnTo>
                        <a:pt x="305" y="341"/>
                      </a:lnTo>
                      <a:lnTo>
                        <a:pt x="260" y="380"/>
                      </a:lnTo>
                      <a:lnTo>
                        <a:pt x="254" y="413"/>
                      </a:lnTo>
                      <a:lnTo>
                        <a:pt x="62" y="526"/>
                      </a:lnTo>
                      <a:lnTo>
                        <a:pt x="51" y="570"/>
                      </a:lnTo>
                      <a:lnTo>
                        <a:pt x="0" y="595"/>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11" name="Freeform 74"/>
                <p:cNvSpPr>
                  <a:spLocks/>
                </p:cNvSpPr>
                <p:nvPr/>
              </p:nvSpPr>
              <p:spPr bwMode="gray">
                <a:xfrm>
                  <a:off x="2466097" y="1426215"/>
                  <a:ext cx="636343" cy="401490"/>
                </a:xfrm>
                <a:custGeom>
                  <a:avLst/>
                  <a:gdLst>
                    <a:gd name="T0" fmla="*/ 0 w 1305"/>
                    <a:gd name="T1" fmla="*/ 757 h 823"/>
                    <a:gd name="T2" fmla="*/ 67 w 1305"/>
                    <a:gd name="T3" fmla="*/ 0 h 823"/>
                    <a:gd name="T4" fmla="*/ 710 w 1305"/>
                    <a:gd name="T5" fmla="*/ 45 h 823"/>
                    <a:gd name="T6" fmla="*/ 1204 w 1305"/>
                    <a:gd name="T7" fmla="*/ 61 h 823"/>
                    <a:gd name="T8" fmla="*/ 1213 w 1305"/>
                    <a:gd name="T9" fmla="*/ 267 h 823"/>
                    <a:gd name="T10" fmla="*/ 1263 w 1305"/>
                    <a:gd name="T11" fmla="*/ 434 h 823"/>
                    <a:gd name="T12" fmla="*/ 1270 w 1305"/>
                    <a:gd name="T13" fmla="*/ 650 h 823"/>
                    <a:gd name="T14" fmla="*/ 1305 w 1305"/>
                    <a:gd name="T15" fmla="*/ 823 h 823"/>
                    <a:gd name="T16" fmla="*/ 618 w 1305"/>
                    <a:gd name="T17" fmla="*/ 802 h 823"/>
                    <a:gd name="T18" fmla="*/ 0 w 1305"/>
                    <a:gd name="T19" fmla="*/ 757 h 8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05"/>
                    <a:gd name="T31" fmla="*/ 0 h 823"/>
                    <a:gd name="T32" fmla="*/ 1305 w 1305"/>
                    <a:gd name="T33" fmla="*/ 823 h 8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05" h="823">
                      <a:moveTo>
                        <a:pt x="0" y="757"/>
                      </a:moveTo>
                      <a:lnTo>
                        <a:pt x="67" y="0"/>
                      </a:lnTo>
                      <a:lnTo>
                        <a:pt x="710" y="45"/>
                      </a:lnTo>
                      <a:lnTo>
                        <a:pt x="1204" y="61"/>
                      </a:lnTo>
                      <a:lnTo>
                        <a:pt x="1213" y="267"/>
                      </a:lnTo>
                      <a:lnTo>
                        <a:pt x="1263" y="434"/>
                      </a:lnTo>
                      <a:lnTo>
                        <a:pt x="1270" y="650"/>
                      </a:lnTo>
                      <a:lnTo>
                        <a:pt x="1305" y="823"/>
                      </a:lnTo>
                      <a:lnTo>
                        <a:pt x="618" y="802"/>
                      </a:lnTo>
                      <a:lnTo>
                        <a:pt x="0" y="757"/>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12" name="Freeform 75"/>
                <p:cNvSpPr>
                  <a:spLocks/>
                </p:cNvSpPr>
                <p:nvPr/>
              </p:nvSpPr>
              <p:spPr bwMode="gray">
                <a:xfrm>
                  <a:off x="4158788" y="2207757"/>
                  <a:ext cx="405388" cy="457036"/>
                </a:xfrm>
                <a:custGeom>
                  <a:avLst/>
                  <a:gdLst>
                    <a:gd name="T0" fmla="*/ 0 w 830"/>
                    <a:gd name="T1" fmla="*/ 170 h 938"/>
                    <a:gd name="T2" fmla="*/ 70 w 830"/>
                    <a:gd name="T3" fmla="*/ 821 h 938"/>
                    <a:gd name="T4" fmla="*/ 130 w 830"/>
                    <a:gd name="T5" fmla="*/ 818 h 938"/>
                    <a:gd name="T6" fmla="*/ 170 w 830"/>
                    <a:gd name="T7" fmla="*/ 832 h 938"/>
                    <a:gd name="T8" fmla="*/ 191 w 830"/>
                    <a:gd name="T9" fmla="*/ 875 h 938"/>
                    <a:gd name="T10" fmla="*/ 256 w 830"/>
                    <a:gd name="T11" fmla="*/ 886 h 938"/>
                    <a:gd name="T12" fmla="*/ 296 w 830"/>
                    <a:gd name="T13" fmla="*/ 909 h 938"/>
                    <a:gd name="T14" fmla="*/ 385 w 830"/>
                    <a:gd name="T15" fmla="*/ 904 h 938"/>
                    <a:gd name="T16" fmla="*/ 428 w 830"/>
                    <a:gd name="T17" fmla="*/ 875 h 938"/>
                    <a:gd name="T18" fmla="*/ 523 w 830"/>
                    <a:gd name="T19" fmla="*/ 938 h 938"/>
                    <a:gd name="T20" fmla="*/ 586 w 830"/>
                    <a:gd name="T21" fmla="*/ 885 h 938"/>
                    <a:gd name="T22" fmla="*/ 597 w 830"/>
                    <a:gd name="T23" fmla="*/ 783 h 938"/>
                    <a:gd name="T24" fmla="*/ 637 w 830"/>
                    <a:gd name="T25" fmla="*/ 805 h 938"/>
                    <a:gd name="T26" fmla="*/ 656 w 830"/>
                    <a:gd name="T27" fmla="*/ 717 h 938"/>
                    <a:gd name="T28" fmla="*/ 761 w 830"/>
                    <a:gd name="T29" fmla="*/ 640 h 938"/>
                    <a:gd name="T30" fmla="*/ 795 w 830"/>
                    <a:gd name="T31" fmla="*/ 595 h 938"/>
                    <a:gd name="T32" fmla="*/ 820 w 830"/>
                    <a:gd name="T33" fmla="*/ 390 h 938"/>
                    <a:gd name="T34" fmla="*/ 803 w 830"/>
                    <a:gd name="T35" fmla="*/ 347 h 938"/>
                    <a:gd name="T36" fmla="*/ 830 w 830"/>
                    <a:gd name="T37" fmla="*/ 327 h 938"/>
                    <a:gd name="T38" fmla="*/ 776 w 830"/>
                    <a:gd name="T39" fmla="*/ 0 h 938"/>
                    <a:gd name="T40" fmla="*/ 693 w 830"/>
                    <a:gd name="T41" fmla="*/ 40 h 938"/>
                    <a:gd name="T42" fmla="*/ 637 w 830"/>
                    <a:gd name="T43" fmla="*/ 73 h 938"/>
                    <a:gd name="T44" fmla="*/ 613 w 830"/>
                    <a:gd name="T45" fmla="*/ 107 h 938"/>
                    <a:gd name="T46" fmla="*/ 565 w 830"/>
                    <a:gd name="T47" fmla="*/ 151 h 938"/>
                    <a:gd name="T48" fmla="*/ 513 w 830"/>
                    <a:gd name="T49" fmla="*/ 156 h 938"/>
                    <a:gd name="T50" fmla="*/ 461 w 830"/>
                    <a:gd name="T51" fmla="*/ 182 h 938"/>
                    <a:gd name="T52" fmla="*/ 435 w 830"/>
                    <a:gd name="T53" fmla="*/ 196 h 938"/>
                    <a:gd name="T54" fmla="*/ 400 w 830"/>
                    <a:gd name="T55" fmla="*/ 177 h 938"/>
                    <a:gd name="T56" fmla="*/ 353 w 830"/>
                    <a:gd name="T57" fmla="*/ 198 h 938"/>
                    <a:gd name="T58" fmla="*/ 345 w 830"/>
                    <a:gd name="T59" fmla="*/ 189 h 938"/>
                    <a:gd name="T60" fmla="*/ 390 w 830"/>
                    <a:gd name="T61" fmla="*/ 164 h 938"/>
                    <a:gd name="T62" fmla="*/ 387 w 830"/>
                    <a:gd name="T63" fmla="*/ 162 h 938"/>
                    <a:gd name="T64" fmla="*/ 365 w 830"/>
                    <a:gd name="T65" fmla="*/ 155 h 938"/>
                    <a:gd name="T66" fmla="*/ 348 w 830"/>
                    <a:gd name="T67" fmla="*/ 171 h 938"/>
                    <a:gd name="T68" fmla="*/ 273 w 830"/>
                    <a:gd name="T69" fmla="*/ 137 h 938"/>
                    <a:gd name="T70" fmla="*/ 242 w 830"/>
                    <a:gd name="T71" fmla="*/ 151 h 938"/>
                    <a:gd name="T72" fmla="*/ 248 w 830"/>
                    <a:gd name="T73" fmla="*/ 131 h 938"/>
                    <a:gd name="T74" fmla="*/ 0 w 830"/>
                    <a:gd name="T75" fmla="*/ 170 h 93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830"/>
                    <a:gd name="T115" fmla="*/ 0 h 938"/>
                    <a:gd name="T116" fmla="*/ 830 w 830"/>
                    <a:gd name="T117" fmla="*/ 938 h 93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830" h="938">
                      <a:moveTo>
                        <a:pt x="0" y="170"/>
                      </a:moveTo>
                      <a:lnTo>
                        <a:pt x="70" y="821"/>
                      </a:lnTo>
                      <a:lnTo>
                        <a:pt x="130" y="818"/>
                      </a:lnTo>
                      <a:lnTo>
                        <a:pt x="170" y="832"/>
                      </a:lnTo>
                      <a:lnTo>
                        <a:pt x="191" y="875"/>
                      </a:lnTo>
                      <a:lnTo>
                        <a:pt x="256" y="886"/>
                      </a:lnTo>
                      <a:lnTo>
                        <a:pt x="296" y="909"/>
                      </a:lnTo>
                      <a:lnTo>
                        <a:pt x="385" y="904"/>
                      </a:lnTo>
                      <a:lnTo>
                        <a:pt x="428" y="875"/>
                      </a:lnTo>
                      <a:lnTo>
                        <a:pt x="523" y="938"/>
                      </a:lnTo>
                      <a:lnTo>
                        <a:pt x="586" y="885"/>
                      </a:lnTo>
                      <a:lnTo>
                        <a:pt x="597" y="783"/>
                      </a:lnTo>
                      <a:lnTo>
                        <a:pt x="637" y="805"/>
                      </a:lnTo>
                      <a:lnTo>
                        <a:pt x="656" y="717"/>
                      </a:lnTo>
                      <a:lnTo>
                        <a:pt x="761" y="640"/>
                      </a:lnTo>
                      <a:lnTo>
                        <a:pt x="795" y="595"/>
                      </a:lnTo>
                      <a:lnTo>
                        <a:pt x="820" y="390"/>
                      </a:lnTo>
                      <a:lnTo>
                        <a:pt x="803" y="347"/>
                      </a:lnTo>
                      <a:lnTo>
                        <a:pt x="830" y="327"/>
                      </a:lnTo>
                      <a:lnTo>
                        <a:pt x="776" y="0"/>
                      </a:lnTo>
                      <a:lnTo>
                        <a:pt x="693" y="40"/>
                      </a:lnTo>
                      <a:lnTo>
                        <a:pt x="637" y="73"/>
                      </a:lnTo>
                      <a:lnTo>
                        <a:pt x="613" y="107"/>
                      </a:lnTo>
                      <a:lnTo>
                        <a:pt x="565" y="151"/>
                      </a:lnTo>
                      <a:lnTo>
                        <a:pt x="513" y="156"/>
                      </a:lnTo>
                      <a:lnTo>
                        <a:pt x="461" y="182"/>
                      </a:lnTo>
                      <a:lnTo>
                        <a:pt x="435" y="196"/>
                      </a:lnTo>
                      <a:lnTo>
                        <a:pt x="400" y="177"/>
                      </a:lnTo>
                      <a:lnTo>
                        <a:pt x="353" y="198"/>
                      </a:lnTo>
                      <a:lnTo>
                        <a:pt x="345" y="189"/>
                      </a:lnTo>
                      <a:lnTo>
                        <a:pt x="390" y="164"/>
                      </a:lnTo>
                      <a:lnTo>
                        <a:pt x="387" y="162"/>
                      </a:lnTo>
                      <a:lnTo>
                        <a:pt x="365" y="155"/>
                      </a:lnTo>
                      <a:lnTo>
                        <a:pt x="348" y="171"/>
                      </a:lnTo>
                      <a:lnTo>
                        <a:pt x="273" y="137"/>
                      </a:lnTo>
                      <a:lnTo>
                        <a:pt x="242" y="151"/>
                      </a:lnTo>
                      <a:lnTo>
                        <a:pt x="248" y="131"/>
                      </a:lnTo>
                      <a:lnTo>
                        <a:pt x="0" y="170"/>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13" name="Freeform 76"/>
                <p:cNvSpPr>
                  <a:spLocks/>
                </p:cNvSpPr>
                <p:nvPr/>
              </p:nvSpPr>
              <p:spPr bwMode="gray">
                <a:xfrm>
                  <a:off x="2463174" y="2894773"/>
                  <a:ext cx="834164" cy="437546"/>
                </a:xfrm>
                <a:custGeom>
                  <a:avLst/>
                  <a:gdLst>
                    <a:gd name="T0" fmla="*/ 0 w 1712"/>
                    <a:gd name="T1" fmla="*/ 131 h 896"/>
                    <a:gd name="T2" fmla="*/ 11 w 1712"/>
                    <a:gd name="T3" fmla="*/ 0 h 896"/>
                    <a:gd name="T4" fmla="*/ 200 w 1712"/>
                    <a:gd name="T5" fmla="*/ 14 h 896"/>
                    <a:gd name="T6" fmla="*/ 1038 w 1712"/>
                    <a:gd name="T7" fmla="*/ 54 h 896"/>
                    <a:gd name="T8" fmla="*/ 1668 w 1712"/>
                    <a:gd name="T9" fmla="*/ 52 h 896"/>
                    <a:gd name="T10" fmla="*/ 1672 w 1712"/>
                    <a:gd name="T11" fmla="*/ 182 h 896"/>
                    <a:gd name="T12" fmla="*/ 1712 w 1712"/>
                    <a:gd name="T13" fmla="*/ 462 h 896"/>
                    <a:gd name="T14" fmla="*/ 1705 w 1712"/>
                    <a:gd name="T15" fmla="*/ 896 h 896"/>
                    <a:gd name="T16" fmla="*/ 1652 w 1712"/>
                    <a:gd name="T17" fmla="*/ 877 h 896"/>
                    <a:gd name="T18" fmla="*/ 1567 w 1712"/>
                    <a:gd name="T19" fmla="*/ 820 h 896"/>
                    <a:gd name="T20" fmla="*/ 1534 w 1712"/>
                    <a:gd name="T21" fmla="*/ 836 h 896"/>
                    <a:gd name="T22" fmla="*/ 1423 w 1712"/>
                    <a:gd name="T23" fmla="*/ 847 h 896"/>
                    <a:gd name="T24" fmla="*/ 1313 w 1712"/>
                    <a:gd name="T25" fmla="*/ 882 h 896"/>
                    <a:gd name="T26" fmla="*/ 1270 w 1712"/>
                    <a:gd name="T27" fmla="*/ 841 h 896"/>
                    <a:gd name="T28" fmla="*/ 1216 w 1712"/>
                    <a:gd name="T29" fmla="*/ 850 h 896"/>
                    <a:gd name="T30" fmla="*/ 1205 w 1712"/>
                    <a:gd name="T31" fmla="*/ 821 h 896"/>
                    <a:gd name="T32" fmla="*/ 1165 w 1712"/>
                    <a:gd name="T33" fmla="*/ 848 h 896"/>
                    <a:gd name="T34" fmla="*/ 1158 w 1712"/>
                    <a:gd name="T35" fmla="*/ 883 h 896"/>
                    <a:gd name="T36" fmla="*/ 1144 w 1712"/>
                    <a:gd name="T37" fmla="*/ 836 h 896"/>
                    <a:gd name="T38" fmla="*/ 1106 w 1712"/>
                    <a:gd name="T39" fmla="*/ 861 h 896"/>
                    <a:gd name="T40" fmla="*/ 1043 w 1712"/>
                    <a:gd name="T41" fmla="*/ 811 h 896"/>
                    <a:gd name="T42" fmla="*/ 1009 w 1712"/>
                    <a:gd name="T43" fmla="*/ 848 h 896"/>
                    <a:gd name="T44" fmla="*/ 986 w 1712"/>
                    <a:gd name="T45" fmla="*/ 829 h 896"/>
                    <a:gd name="T46" fmla="*/ 956 w 1712"/>
                    <a:gd name="T47" fmla="*/ 768 h 896"/>
                    <a:gd name="T48" fmla="*/ 903 w 1712"/>
                    <a:gd name="T49" fmla="*/ 764 h 896"/>
                    <a:gd name="T50" fmla="*/ 896 w 1712"/>
                    <a:gd name="T51" fmla="*/ 783 h 896"/>
                    <a:gd name="T52" fmla="*/ 858 w 1712"/>
                    <a:gd name="T53" fmla="*/ 758 h 896"/>
                    <a:gd name="T54" fmla="*/ 828 w 1712"/>
                    <a:gd name="T55" fmla="*/ 769 h 896"/>
                    <a:gd name="T56" fmla="*/ 787 w 1712"/>
                    <a:gd name="T57" fmla="*/ 749 h 896"/>
                    <a:gd name="T58" fmla="*/ 738 w 1712"/>
                    <a:gd name="T59" fmla="*/ 744 h 896"/>
                    <a:gd name="T60" fmla="*/ 740 w 1712"/>
                    <a:gd name="T61" fmla="*/ 712 h 896"/>
                    <a:gd name="T62" fmla="*/ 706 w 1712"/>
                    <a:gd name="T63" fmla="*/ 683 h 896"/>
                    <a:gd name="T64" fmla="*/ 695 w 1712"/>
                    <a:gd name="T65" fmla="*/ 703 h 896"/>
                    <a:gd name="T66" fmla="*/ 637 w 1712"/>
                    <a:gd name="T67" fmla="*/ 700 h 896"/>
                    <a:gd name="T68" fmla="*/ 578 w 1712"/>
                    <a:gd name="T69" fmla="*/ 651 h 896"/>
                    <a:gd name="T70" fmla="*/ 598 w 1712"/>
                    <a:gd name="T71" fmla="*/ 165 h 896"/>
                    <a:gd name="T72" fmla="*/ 0 w 1712"/>
                    <a:gd name="T73" fmla="*/ 131 h 89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712"/>
                    <a:gd name="T112" fmla="*/ 0 h 896"/>
                    <a:gd name="T113" fmla="*/ 1712 w 1712"/>
                    <a:gd name="T114" fmla="*/ 896 h 89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712" h="896">
                      <a:moveTo>
                        <a:pt x="0" y="131"/>
                      </a:moveTo>
                      <a:lnTo>
                        <a:pt x="11" y="0"/>
                      </a:lnTo>
                      <a:lnTo>
                        <a:pt x="200" y="14"/>
                      </a:lnTo>
                      <a:lnTo>
                        <a:pt x="1038" y="54"/>
                      </a:lnTo>
                      <a:lnTo>
                        <a:pt x="1668" y="52"/>
                      </a:lnTo>
                      <a:lnTo>
                        <a:pt x="1672" y="182"/>
                      </a:lnTo>
                      <a:lnTo>
                        <a:pt x="1712" y="462"/>
                      </a:lnTo>
                      <a:lnTo>
                        <a:pt x="1705" y="896"/>
                      </a:lnTo>
                      <a:lnTo>
                        <a:pt x="1652" y="877"/>
                      </a:lnTo>
                      <a:lnTo>
                        <a:pt x="1567" y="820"/>
                      </a:lnTo>
                      <a:lnTo>
                        <a:pt x="1534" y="836"/>
                      </a:lnTo>
                      <a:lnTo>
                        <a:pt x="1423" y="847"/>
                      </a:lnTo>
                      <a:lnTo>
                        <a:pt x="1313" y="882"/>
                      </a:lnTo>
                      <a:lnTo>
                        <a:pt x="1270" y="841"/>
                      </a:lnTo>
                      <a:lnTo>
                        <a:pt x="1216" y="850"/>
                      </a:lnTo>
                      <a:lnTo>
                        <a:pt x="1205" y="821"/>
                      </a:lnTo>
                      <a:lnTo>
                        <a:pt x="1165" y="848"/>
                      </a:lnTo>
                      <a:lnTo>
                        <a:pt x="1158" y="883"/>
                      </a:lnTo>
                      <a:lnTo>
                        <a:pt x="1144" y="836"/>
                      </a:lnTo>
                      <a:lnTo>
                        <a:pt x="1106" y="861"/>
                      </a:lnTo>
                      <a:lnTo>
                        <a:pt x="1043" y="811"/>
                      </a:lnTo>
                      <a:lnTo>
                        <a:pt x="1009" y="848"/>
                      </a:lnTo>
                      <a:lnTo>
                        <a:pt x="986" y="829"/>
                      </a:lnTo>
                      <a:lnTo>
                        <a:pt x="956" y="768"/>
                      </a:lnTo>
                      <a:lnTo>
                        <a:pt x="903" y="764"/>
                      </a:lnTo>
                      <a:lnTo>
                        <a:pt x="896" y="783"/>
                      </a:lnTo>
                      <a:lnTo>
                        <a:pt x="858" y="758"/>
                      </a:lnTo>
                      <a:lnTo>
                        <a:pt x="828" y="769"/>
                      </a:lnTo>
                      <a:lnTo>
                        <a:pt x="787" y="749"/>
                      </a:lnTo>
                      <a:lnTo>
                        <a:pt x="738" y="744"/>
                      </a:lnTo>
                      <a:lnTo>
                        <a:pt x="740" y="712"/>
                      </a:lnTo>
                      <a:lnTo>
                        <a:pt x="706" y="683"/>
                      </a:lnTo>
                      <a:lnTo>
                        <a:pt x="695" y="703"/>
                      </a:lnTo>
                      <a:lnTo>
                        <a:pt x="637" y="700"/>
                      </a:lnTo>
                      <a:lnTo>
                        <a:pt x="578" y="651"/>
                      </a:lnTo>
                      <a:lnTo>
                        <a:pt x="598" y="165"/>
                      </a:lnTo>
                      <a:lnTo>
                        <a:pt x="0" y="131"/>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14" name="Freeform 77"/>
                <p:cNvSpPr>
                  <a:spLocks/>
                </p:cNvSpPr>
                <p:nvPr/>
              </p:nvSpPr>
              <p:spPr bwMode="gray">
                <a:xfrm>
                  <a:off x="644775" y="1433037"/>
                  <a:ext cx="769848" cy="656807"/>
                </a:xfrm>
                <a:custGeom>
                  <a:avLst/>
                  <a:gdLst>
                    <a:gd name="T0" fmla="*/ 0 w 1580"/>
                    <a:gd name="T1" fmla="*/ 1004 h 1348"/>
                    <a:gd name="T2" fmla="*/ 25 w 1580"/>
                    <a:gd name="T3" fmla="*/ 761 h 1348"/>
                    <a:gd name="T4" fmla="*/ 148 w 1580"/>
                    <a:gd name="T5" fmla="*/ 564 h 1348"/>
                    <a:gd name="T6" fmla="*/ 343 w 1580"/>
                    <a:gd name="T7" fmla="*/ 0 h 1348"/>
                    <a:gd name="T8" fmla="*/ 440 w 1580"/>
                    <a:gd name="T9" fmla="*/ 30 h 1348"/>
                    <a:gd name="T10" fmla="*/ 445 w 1580"/>
                    <a:gd name="T11" fmla="*/ 55 h 1348"/>
                    <a:gd name="T12" fmla="*/ 471 w 1580"/>
                    <a:gd name="T13" fmla="*/ 59 h 1348"/>
                    <a:gd name="T14" fmla="*/ 520 w 1580"/>
                    <a:gd name="T15" fmla="*/ 156 h 1348"/>
                    <a:gd name="T16" fmla="*/ 512 w 1580"/>
                    <a:gd name="T17" fmla="*/ 188 h 1348"/>
                    <a:gd name="T18" fmla="*/ 589 w 1580"/>
                    <a:gd name="T19" fmla="*/ 254 h 1348"/>
                    <a:gd name="T20" fmla="*/ 724 w 1580"/>
                    <a:gd name="T21" fmla="*/ 249 h 1348"/>
                    <a:gd name="T22" fmla="*/ 824 w 1580"/>
                    <a:gd name="T23" fmla="*/ 294 h 1348"/>
                    <a:gd name="T24" fmla="*/ 872 w 1580"/>
                    <a:gd name="T25" fmla="*/ 284 h 1348"/>
                    <a:gd name="T26" fmla="*/ 1175 w 1580"/>
                    <a:gd name="T27" fmla="*/ 294 h 1348"/>
                    <a:gd name="T28" fmla="*/ 1521 w 1580"/>
                    <a:gd name="T29" fmla="*/ 375 h 1348"/>
                    <a:gd name="T30" fmla="*/ 1539 w 1580"/>
                    <a:gd name="T31" fmla="*/ 418 h 1348"/>
                    <a:gd name="T32" fmla="*/ 1580 w 1580"/>
                    <a:gd name="T33" fmla="*/ 481 h 1348"/>
                    <a:gd name="T34" fmla="*/ 1525 w 1580"/>
                    <a:gd name="T35" fmla="*/ 564 h 1348"/>
                    <a:gd name="T36" fmla="*/ 1464 w 1580"/>
                    <a:gd name="T37" fmla="*/ 660 h 1348"/>
                    <a:gd name="T38" fmla="*/ 1389 w 1580"/>
                    <a:gd name="T39" fmla="*/ 731 h 1348"/>
                    <a:gd name="T40" fmla="*/ 1378 w 1580"/>
                    <a:gd name="T41" fmla="*/ 778 h 1348"/>
                    <a:gd name="T42" fmla="*/ 1421 w 1580"/>
                    <a:gd name="T43" fmla="*/ 830 h 1348"/>
                    <a:gd name="T44" fmla="*/ 1373 w 1580"/>
                    <a:gd name="T45" fmla="*/ 939 h 1348"/>
                    <a:gd name="T46" fmla="*/ 1279 w 1580"/>
                    <a:gd name="T47" fmla="*/ 1348 h 1348"/>
                    <a:gd name="T48" fmla="*/ 744 w 1580"/>
                    <a:gd name="T49" fmla="*/ 1214 h 1348"/>
                    <a:gd name="T50" fmla="*/ 0 w 1580"/>
                    <a:gd name="T51" fmla="*/ 1004 h 134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80"/>
                    <a:gd name="T79" fmla="*/ 0 h 1348"/>
                    <a:gd name="T80" fmla="*/ 1580 w 1580"/>
                    <a:gd name="T81" fmla="*/ 1348 h 134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80" h="1348">
                      <a:moveTo>
                        <a:pt x="0" y="1004"/>
                      </a:moveTo>
                      <a:lnTo>
                        <a:pt x="25" y="761"/>
                      </a:lnTo>
                      <a:lnTo>
                        <a:pt x="148" y="564"/>
                      </a:lnTo>
                      <a:lnTo>
                        <a:pt x="343" y="0"/>
                      </a:lnTo>
                      <a:lnTo>
                        <a:pt x="440" y="30"/>
                      </a:lnTo>
                      <a:lnTo>
                        <a:pt x="445" y="55"/>
                      </a:lnTo>
                      <a:lnTo>
                        <a:pt x="471" y="59"/>
                      </a:lnTo>
                      <a:lnTo>
                        <a:pt x="520" y="156"/>
                      </a:lnTo>
                      <a:lnTo>
                        <a:pt x="512" y="188"/>
                      </a:lnTo>
                      <a:lnTo>
                        <a:pt x="589" y="254"/>
                      </a:lnTo>
                      <a:lnTo>
                        <a:pt x="724" y="249"/>
                      </a:lnTo>
                      <a:lnTo>
                        <a:pt x="824" y="294"/>
                      </a:lnTo>
                      <a:lnTo>
                        <a:pt x="872" y="284"/>
                      </a:lnTo>
                      <a:lnTo>
                        <a:pt x="1175" y="294"/>
                      </a:lnTo>
                      <a:lnTo>
                        <a:pt x="1521" y="375"/>
                      </a:lnTo>
                      <a:lnTo>
                        <a:pt x="1539" y="418"/>
                      </a:lnTo>
                      <a:lnTo>
                        <a:pt x="1580" y="481"/>
                      </a:lnTo>
                      <a:lnTo>
                        <a:pt x="1525" y="564"/>
                      </a:lnTo>
                      <a:lnTo>
                        <a:pt x="1464" y="660"/>
                      </a:lnTo>
                      <a:lnTo>
                        <a:pt x="1389" y="731"/>
                      </a:lnTo>
                      <a:lnTo>
                        <a:pt x="1378" y="778"/>
                      </a:lnTo>
                      <a:lnTo>
                        <a:pt x="1421" y="830"/>
                      </a:lnTo>
                      <a:lnTo>
                        <a:pt x="1373" y="939"/>
                      </a:lnTo>
                      <a:lnTo>
                        <a:pt x="1279" y="1348"/>
                      </a:lnTo>
                      <a:lnTo>
                        <a:pt x="744" y="1214"/>
                      </a:lnTo>
                      <a:lnTo>
                        <a:pt x="0" y="1004"/>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15" name="Freeform 78"/>
                <p:cNvSpPr>
                  <a:spLocks/>
                </p:cNvSpPr>
                <p:nvPr/>
              </p:nvSpPr>
              <p:spPr bwMode="gray">
                <a:xfrm>
                  <a:off x="4537864" y="2118104"/>
                  <a:ext cx="561307" cy="361536"/>
                </a:xfrm>
                <a:custGeom>
                  <a:avLst/>
                  <a:gdLst>
                    <a:gd name="T0" fmla="*/ 0 w 1153"/>
                    <a:gd name="T1" fmla="*/ 183 h 741"/>
                    <a:gd name="T2" fmla="*/ 54 w 1153"/>
                    <a:gd name="T3" fmla="*/ 510 h 741"/>
                    <a:gd name="T4" fmla="*/ 92 w 1153"/>
                    <a:gd name="T5" fmla="*/ 741 h 741"/>
                    <a:gd name="T6" fmla="*/ 284 w 1153"/>
                    <a:gd name="T7" fmla="*/ 709 h 741"/>
                    <a:gd name="T8" fmla="*/ 977 w 1153"/>
                    <a:gd name="T9" fmla="*/ 576 h 741"/>
                    <a:gd name="T10" fmla="*/ 1006 w 1153"/>
                    <a:gd name="T11" fmla="*/ 542 h 741"/>
                    <a:gd name="T12" fmla="*/ 1046 w 1153"/>
                    <a:gd name="T13" fmla="*/ 542 h 741"/>
                    <a:gd name="T14" fmla="*/ 1091 w 1153"/>
                    <a:gd name="T15" fmla="*/ 511 h 741"/>
                    <a:gd name="T16" fmla="*/ 1114 w 1153"/>
                    <a:gd name="T17" fmla="*/ 462 h 741"/>
                    <a:gd name="T18" fmla="*/ 1153 w 1153"/>
                    <a:gd name="T19" fmla="*/ 425 h 741"/>
                    <a:gd name="T20" fmla="*/ 1041 w 1153"/>
                    <a:gd name="T21" fmla="*/ 333 h 741"/>
                    <a:gd name="T22" fmla="*/ 1038 w 1153"/>
                    <a:gd name="T23" fmla="*/ 246 h 741"/>
                    <a:gd name="T24" fmla="*/ 1090 w 1153"/>
                    <a:gd name="T25" fmla="*/ 130 h 741"/>
                    <a:gd name="T26" fmla="*/ 1015 w 1153"/>
                    <a:gd name="T27" fmla="*/ 87 h 741"/>
                    <a:gd name="T28" fmla="*/ 984 w 1153"/>
                    <a:gd name="T29" fmla="*/ 28 h 741"/>
                    <a:gd name="T30" fmla="*/ 931 w 1153"/>
                    <a:gd name="T31" fmla="*/ 0 h 741"/>
                    <a:gd name="T32" fmla="*/ 166 w 1153"/>
                    <a:gd name="T33" fmla="*/ 146 h 741"/>
                    <a:gd name="T34" fmla="*/ 128 w 1153"/>
                    <a:gd name="T35" fmla="*/ 87 h 741"/>
                    <a:gd name="T36" fmla="*/ 0 w 1153"/>
                    <a:gd name="T37" fmla="*/ 183 h 74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153"/>
                    <a:gd name="T58" fmla="*/ 0 h 741"/>
                    <a:gd name="T59" fmla="*/ 1153 w 1153"/>
                    <a:gd name="T60" fmla="*/ 741 h 74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153" h="741">
                      <a:moveTo>
                        <a:pt x="0" y="183"/>
                      </a:moveTo>
                      <a:lnTo>
                        <a:pt x="54" y="510"/>
                      </a:lnTo>
                      <a:lnTo>
                        <a:pt x="92" y="741"/>
                      </a:lnTo>
                      <a:lnTo>
                        <a:pt x="284" y="709"/>
                      </a:lnTo>
                      <a:lnTo>
                        <a:pt x="977" y="576"/>
                      </a:lnTo>
                      <a:lnTo>
                        <a:pt x="1006" y="542"/>
                      </a:lnTo>
                      <a:lnTo>
                        <a:pt x="1046" y="542"/>
                      </a:lnTo>
                      <a:lnTo>
                        <a:pt x="1091" y="511"/>
                      </a:lnTo>
                      <a:lnTo>
                        <a:pt x="1114" y="462"/>
                      </a:lnTo>
                      <a:lnTo>
                        <a:pt x="1153" y="425"/>
                      </a:lnTo>
                      <a:lnTo>
                        <a:pt x="1041" y="333"/>
                      </a:lnTo>
                      <a:lnTo>
                        <a:pt x="1038" y="246"/>
                      </a:lnTo>
                      <a:lnTo>
                        <a:pt x="1090" y="130"/>
                      </a:lnTo>
                      <a:lnTo>
                        <a:pt x="1015" y="87"/>
                      </a:lnTo>
                      <a:lnTo>
                        <a:pt x="984" y="28"/>
                      </a:lnTo>
                      <a:lnTo>
                        <a:pt x="931" y="0"/>
                      </a:lnTo>
                      <a:lnTo>
                        <a:pt x="166" y="146"/>
                      </a:lnTo>
                      <a:lnTo>
                        <a:pt x="128" y="87"/>
                      </a:lnTo>
                      <a:lnTo>
                        <a:pt x="0" y="183"/>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16" name="Freeform 79"/>
                <p:cNvSpPr>
                  <a:spLocks/>
                </p:cNvSpPr>
                <p:nvPr/>
              </p:nvSpPr>
              <p:spPr bwMode="gray">
                <a:xfrm>
                  <a:off x="5307712" y="2034297"/>
                  <a:ext cx="75036" cy="93551"/>
                </a:xfrm>
                <a:custGeom>
                  <a:avLst/>
                  <a:gdLst>
                    <a:gd name="T0" fmla="*/ 0 w 154"/>
                    <a:gd name="T1" fmla="*/ 19 h 192"/>
                    <a:gd name="T2" fmla="*/ 33 w 154"/>
                    <a:gd name="T3" fmla="*/ 183 h 192"/>
                    <a:gd name="T4" fmla="*/ 39 w 154"/>
                    <a:gd name="T5" fmla="*/ 192 h 192"/>
                    <a:gd name="T6" fmla="*/ 97 w 154"/>
                    <a:gd name="T7" fmla="*/ 159 h 192"/>
                    <a:gd name="T8" fmla="*/ 89 w 154"/>
                    <a:gd name="T9" fmla="*/ 109 h 192"/>
                    <a:gd name="T10" fmla="*/ 99 w 154"/>
                    <a:gd name="T11" fmla="*/ 85 h 192"/>
                    <a:gd name="T12" fmla="*/ 115 w 154"/>
                    <a:gd name="T13" fmla="*/ 102 h 192"/>
                    <a:gd name="T14" fmla="*/ 121 w 154"/>
                    <a:gd name="T15" fmla="*/ 137 h 192"/>
                    <a:gd name="T16" fmla="*/ 132 w 154"/>
                    <a:gd name="T17" fmla="*/ 135 h 192"/>
                    <a:gd name="T18" fmla="*/ 154 w 154"/>
                    <a:gd name="T19" fmla="*/ 102 h 192"/>
                    <a:gd name="T20" fmla="*/ 132 w 154"/>
                    <a:gd name="T21" fmla="*/ 61 h 192"/>
                    <a:gd name="T22" fmla="*/ 98 w 154"/>
                    <a:gd name="T23" fmla="*/ 55 h 192"/>
                    <a:gd name="T24" fmla="*/ 76 w 154"/>
                    <a:gd name="T25" fmla="*/ 5 h 192"/>
                    <a:gd name="T26" fmla="*/ 53 w 154"/>
                    <a:gd name="T27" fmla="*/ 0 h 192"/>
                    <a:gd name="T28" fmla="*/ 0 w 154"/>
                    <a:gd name="T29" fmla="*/ 19 h 19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54"/>
                    <a:gd name="T46" fmla="*/ 0 h 192"/>
                    <a:gd name="T47" fmla="*/ 154 w 154"/>
                    <a:gd name="T48" fmla="*/ 192 h 19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54" h="192">
                      <a:moveTo>
                        <a:pt x="0" y="19"/>
                      </a:moveTo>
                      <a:lnTo>
                        <a:pt x="33" y="183"/>
                      </a:lnTo>
                      <a:lnTo>
                        <a:pt x="39" y="192"/>
                      </a:lnTo>
                      <a:lnTo>
                        <a:pt x="97" y="159"/>
                      </a:lnTo>
                      <a:lnTo>
                        <a:pt x="89" y="109"/>
                      </a:lnTo>
                      <a:lnTo>
                        <a:pt x="99" y="85"/>
                      </a:lnTo>
                      <a:lnTo>
                        <a:pt x="115" y="102"/>
                      </a:lnTo>
                      <a:lnTo>
                        <a:pt x="121" y="137"/>
                      </a:lnTo>
                      <a:lnTo>
                        <a:pt x="132" y="135"/>
                      </a:lnTo>
                      <a:lnTo>
                        <a:pt x="154" y="102"/>
                      </a:lnTo>
                      <a:lnTo>
                        <a:pt x="132" y="61"/>
                      </a:lnTo>
                      <a:lnTo>
                        <a:pt x="98" y="55"/>
                      </a:lnTo>
                      <a:lnTo>
                        <a:pt x="76" y="5"/>
                      </a:lnTo>
                      <a:lnTo>
                        <a:pt x="53" y="0"/>
                      </a:lnTo>
                      <a:lnTo>
                        <a:pt x="0" y="19"/>
                      </a:lnTo>
                      <a:close/>
                    </a:path>
                  </a:pathLst>
                </a:custGeom>
                <a:solidFill>
                  <a:schemeClr val="accent4">
                    <a:lumMod val="40000"/>
                    <a:lumOff val="60000"/>
                  </a:schemeClr>
                </a:solidFill>
                <a:ln w="9525">
                  <a:solidFill>
                    <a:schemeClr val="tx1"/>
                  </a:solidFill>
                  <a:round/>
                  <a:headEnd/>
                  <a:tailEnd/>
                </a:ln>
              </p:spPr>
              <p:txBody>
                <a:bodyPr/>
                <a:lstStyle/>
                <a:p>
                  <a:pPr>
                    <a:defRPr/>
                  </a:pPr>
                  <a:endParaRPr lang="en-US" sz="1100" dirty="0">
                    <a:latin typeface="+mj-lt"/>
                  </a:endParaRPr>
                </a:p>
              </p:txBody>
            </p:sp>
            <p:sp>
              <p:nvSpPr>
                <p:cNvPr id="117" name="Freeform 80"/>
                <p:cNvSpPr>
                  <a:spLocks/>
                </p:cNvSpPr>
                <p:nvPr/>
              </p:nvSpPr>
              <p:spPr bwMode="gray">
                <a:xfrm>
                  <a:off x="4398512" y="3039972"/>
                  <a:ext cx="491143" cy="376153"/>
                </a:xfrm>
                <a:custGeom>
                  <a:avLst/>
                  <a:gdLst>
                    <a:gd name="T0" fmla="*/ 0 w 1008"/>
                    <a:gd name="T1" fmla="*/ 181 h 772"/>
                    <a:gd name="T2" fmla="*/ 42 w 1008"/>
                    <a:gd name="T3" fmla="*/ 103 h 772"/>
                    <a:gd name="T4" fmla="*/ 186 w 1008"/>
                    <a:gd name="T5" fmla="*/ 32 h 772"/>
                    <a:gd name="T6" fmla="*/ 455 w 1008"/>
                    <a:gd name="T7" fmla="*/ 0 h 772"/>
                    <a:gd name="T8" fmla="*/ 566 w 1008"/>
                    <a:gd name="T9" fmla="*/ 72 h 772"/>
                    <a:gd name="T10" fmla="*/ 742 w 1008"/>
                    <a:gd name="T11" fmla="*/ 46 h 772"/>
                    <a:gd name="T12" fmla="*/ 1008 w 1008"/>
                    <a:gd name="T13" fmla="*/ 238 h 772"/>
                    <a:gd name="T14" fmla="*/ 931 w 1008"/>
                    <a:gd name="T15" fmla="*/ 326 h 772"/>
                    <a:gd name="T16" fmla="*/ 890 w 1008"/>
                    <a:gd name="T17" fmla="*/ 387 h 772"/>
                    <a:gd name="T18" fmla="*/ 895 w 1008"/>
                    <a:gd name="T19" fmla="*/ 448 h 772"/>
                    <a:gd name="T20" fmla="*/ 825 w 1008"/>
                    <a:gd name="T21" fmla="*/ 506 h 772"/>
                    <a:gd name="T22" fmla="*/ 771 w 1008"/>
                    <a:gd name="T23" fmla="*/ 591 h 772"/>
                    <a:gd name="T24" fmla="*/ 694 w 1008"/>
                    <a:gd name="T25" fmla="*/ 637 h 772"/>
                    <a:gd name="T26" fmla="*/ 661 w 1008"/>
                    <a:gd name="T27" fmla="*/ 643 h 772"/>
                    <a:gd name="T28" fmla="*/ 646 w 1008"/>
                    <a:gd name="T29" fmla="*/ 699 h 772"/>
                    <a:gd name="T30" fmla="*/ 602 w 1008"/>
                    <a:gd name="T31" fmla="*/ 669 h 772"/>
                    <a:gd name="T32" fmla="*/ 641 w 1008"/>
                    <a:gd name="T33" fmla="*/ 720 h 772"/>
                    <a:gd name="T34" fmla="*/ 604 w 1008"/>
                    <a:gd name="T35" fmla="*/ 772 h 772"/>
                    <a:gd name="T36" fmla="*/ 567 w 1008"/>
                    <a:gd name="T37" fmla="*/ 765 h 772"/>
                    <a:gd name="T38" fmla="*/ 543 w 1008"/>
                    <a:gd name="T39" fmla="*/ 734 h 772"/>
                    <a:gd name="T40" fmla="*/ 500 w 1008"/>
                    <a:gd name="T41" fmla="*/ 657 h 772"/>
                    <a:gd name="T42" fmla="*/ 476 w 1008"/>
                    <a:gd name="T43" fmla="*/ 647 h 772"/>
                    <a:gd name="T44" fmla="*/ 428 w 1008"/>
                    <a:gd name="T45" fmla="*/ 545 h 772"/>
                    <a:gd name="T46" fmla="*/ 358 w 1008"/>
                    <a:gd name="T47" fmla="*/ 502 h 772"/>
                    <a:gd name="T48" fmla="*/ 309 w 1008"/>
                    <a:gd name="T49" fmla="*/ 433 h 772"/>
                    <a:gd name="T50" fmla="*/ 188 w 1008"/>
                    <a:gd name="T51" fmla="*/ 345 h 772"/>
                    <a:gd name="T52" fmla="*/ 130 w 1008"/>
                    <a:gd name="T53" fmla="*/ 266 h 772"/>
                    <a:gd name="T54" fmla="*/ 0 w 1008"/>
                    <a:gd name="T55" fmla="*/ 181 h 77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008"/>
                    <a:gd name="T85" fmla="*/ 0 h 772"/>
                    <a:gd name="T86" fmla="*/ 1008 w 1008"/>
                    <a:gd name="T87" fmla="*/ 772 h 77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008" h="772">
                      <a:moveTo>
                        <a:pt x="0" y="181"/>
                      </a:moveTo>
                      <a:lnTo>
                        <a:pt x="42" y="103"/>
                      </a:lnTo>
                      <a:lnTo>
                        <a:pt x="186" y="32"/>
                      </a:lnTo>
                      <a:lnTo>
                        <a:pt x="455" y="0"/>
                      </a:lnTo>
                      <a:lnTo>
                        <a:pt x="566" y="72"/>
                      </a:lnTo>
                      <a:lnTo>
                        <a:pt x="742" y="46"/>
                      </a:lnTo>
                      <a:lnTo>
                        <a:pt x="1008" y="238"/>
                      </a:lnTo>
                      <a:lnTo>
                        <a:pt x="931" y="326"/>
                      </a:lnTo>
                      <a:lnTo>
                        <a:pt x="890" y="387"/>
                      </a:lnTo>
                      <a:lnTo>
                        <a:pt x="895" y="448"/>
                      </a:lnTo>
                      <a:lnTo>
                        <a:pt x="825" y="506"/>
                      </a:lnTo>
                      <a:lnTo>
                        <a:pt x="771" y="591"/>
                      </a:lnTo>
                      <a:lnTo>
                        <a:pt x="694" y="637"/>
                      </a:lnTo>
                      <a:lnTo>
                        <a:pt x="661" y="643"/>
                      </a:lnTo>
                      <a:lnTo>
                        <a:pt x="646" y="699"/>
                      </a:lnTo>
                      <a:lnTo>
                        <a:pt x="602" y="669"/>
                      </a:lnTo>
                      <a:lnTo>
                        <a:pt x="641" y="720"/>
                      </a:lnTo>
                      <a:lnTo>
                        <a:pt x="604" y="772"/>
                      </a:lnTo>
                      <a:lnTo>
                        <a:pt x="567" y="765"/>
                      </a:lnTo>
                      <a:lnTo>
                        <a:pt x="543" y="734"/>
                      </a:lnTo>
                      <a:lnTo>
                        <a:pt x="500" y="657"/>
                      </a:lnTo>
                      <a:lnTo>
                        <a:pt x="476" y="647"/>
                      </a:lnTo>
                      <a:lnTo>
                        <a:pt x="428" y="545"/>
                      </a:lnTo>
                      <a:lnTo>
                        <a:pt x="358" y="502"/>
                      </a:lnTo>
                      <a:lnTo>
                        <a:pt x="309" y="433"/>
                      </a:lnTo>
                      <a:lnTo>
                        <a:pt x="188" y="345"/>
                      </a:lnTo>
                      <a:lnTo>
                        <a:pt x="130" y="266"/>
                      </a:lnTo>
                      <a:lnTo>
                        <a:pt x="0" y="181"/>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18" name="Freeform 81"/>
                <p:cNvSpPr>
                  <a:spLocks/>
                </p:cNvSpPr>
                <p:nvPr/>
              </p:nvSpPr>
              <p:spPr bwMode="gray">
                <a:xfrm>
                  <a:off x="2432965" y="1795548"/>
                  <a:ext cx="679220" cy="456062"/>
                </a:xfrm>
                <a:custGeom>
                  <a:avLst/>
                  <a:gdLst>
                    <a:gd name="T0" fmla="*/ 0 w 1395"/>
                    <a:gd name="T1" fmla="*/ 733 h 936"/>
                    <a:gd name="T2" fmla="*/ 46 w 1395"/>
                    <a:gd name="T3" fmla="*/ 233 h 936"/>
                    <a:gd name="T4" fmla="*/ 69 w 1395"/>
                    <a:gd name="T5" fmla="*/ 0 h 936"/>
                    <a:gd name="T6" fmla="*/ 687 w 1395"/>
                    <a:gd name="T7" fmla="*/ 45 h 936"/>
                    <a:gd name="T8" fmla="*/ 1374 w 1395"/>
                    <a:gd name="T9" fmla="*/ 66 h 936"/>
                    <a:gd name="T10" fmla="*/ 1328 w 1395"/>
                    <a:gd name="T11" fmla="*/ 155 h 936"/>
                    <a:gd name="T12" fmla="*/ 1395 w 1395"/>
                    <a:gd name="T13" fmla="*/ 220 h 936"/>
                    <a:gd name="T14" fmla="*/ 1391 w 1395"/>
                    <a:gd name="T15" fmla="*/ 679 h 936"/>
                    <a:gd name="T16" fmla="*/ 1364 w 1395"/>
                    <a:gd name="T17" fmla="*/ 677 h 936"/>
                    <a:gd name="T18" fmla="*/ 1367 w 1395"/>
                    <a:gd name="T19" fmla="*/ 738 h 936"/>
                    <a:gd name="T20" fmla="*/ 1389 w 1395"/>
                    <a:gd name="T21" fmla="*/ 783 h 936"/>
                    <a:gd name="T22" fmla="*/ 1374 w 1395"/>
                    <a:gd name="T23" fmla="*/ 827 h 936"/>
                    <a:gd name="T24" fmla="*/ 1387 w 1395"/>
                    <a:gd name="T25" fmla="*/ 936 h 936"/>
                    <a:gd name="T26" fmla="*/ 1357 w 1395"/>
                    <a:gd name="T27" fmla="*/ 926 h 936"/>
                    <a:gd name="T28" fmla="*/ 1322 w 1395"/>
                    <a:gd name="T29" fmla="*/ 884 h 936"/>
                    <a:gd name="T30" fmla="*/ 1255 w 1395"/>
                    <a:gd name="T31" fmla="*/ 854 h 936"/>
                    <a:gd name="T32" fmla="*/ 1198 w 1395"/>
                    <a:gd name="T33" fmla="*/ 841 h 936"/>
                    <a:gd name="T34" fmla="*/ 1078 w 1395"/>
                    <a:gd name="T35" fmla="*/ 846 h 936"/>
                    <a:gd name="T36" fmla="*/ 1009 w 1395"/>
                    <a:gd name="T37" fmla="*/ 795 h 936"/>
                    <a:gd name="T38" fmla="*/ 0 w 1395"/>
                    <a:gd name="T39" fmla="*/ 733 h 9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395"/>
                    <a:gd name="T61" fmla="*/ 0 h 936"/>
                    <a:gd name="T62" fmla="*/ 1395 w 1395"/>
                    <a:gd name="T63" fmla="*/ 936 h 9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395" h="936">
                      <a:moveTo>
                        <a:pt x="0" y="733"/>
                      </a:moveTo>
                      <a:lnTo>
                        <a:pt x="46" y="233"/>
                      </a:lnTo>
                      <a:lnTo>
                        <a:pt x="69" y="0"/>
                      </a:lnTo>
                      <a:lnTo>
                        <a:pt x="687" y="45"/>
                      </a:lnTo>
                      <a:lnTo>
                        <a:pt x="1374" y="66"/>
                      </a:lnTo>
                      <a:lnTo>
                        <a:pt x="1328" y="155"/>
                      </a:lnTo>
                      <a:lnTo>
                        <a:pt x="1395" y="220"/>
                      </a:lnTo>
                      <a:lnTo>
                        <a:pt x="1391" y="679"/>
                      </a:lnTo>
                      <a:lnTo>
                        <a:pt x="1364" y="677"/>
                      </a:lnTo>
                      <a:lnTo>
                        <a:pt x="1367" y="738"/>
                      </a:lnTo>
                      <a:lnTo>
                        <a:pt x="1389" y="783"/>
                      </a:lnTo>
                      <a:lnTo>
                        <a:pt x="1374" y="827"/>
                      </a:lnTo>
                      <a:lnTo>
                        <a:pt x="1387" y="936"/>
                      </a:lnTo>
                      <a:lnTo>
                        <a:pt x="1357" y="926"/>
                      </a:lnTo>
                      <a:lnTo>
                        <a:pt x="1322" y="884"/>
                      </a:lnTo>
                      <a:lnTo>
                        <a:pt x="1255" y="854"/>
                      </a:lnTo>
                      <a:lnTo>
                        <a:pt x="1198" y="841"/>
                      </a:lnTo>
                      <a:lnTo>
                        <a:pt x="1078" y="846"/>
                      </a:lnTo>
                      <a:lnTo>
                        <a:pt x="1009" y="795"/>
                      </a:lnTo>
                      <a:lnTo>
                        <a:pt x="0" y="733"/>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19" name="Freeform 82"/>
                <p:cNvSpPr>
                  <a:spLocks/>
                </p:cNvSpPr>
                <p:nvPr/>
              </p:nvSpPr>
              <p:spPr bwMode="gray">
                <a:xfrm>
                  <a:off x="3710522" y="2875283"/>
                  <a:ext cx="823444" cy="279678"/>
                </a:xfrm>
                <a:custGeom>
                  <a:avLst/>
                  <a:gdLst>
                    <a:gd name="T0" fmla="*/ 0 w 1691"/>
                    <a:gd name="T1" fmla="*/ 575 h 575"/>
                    <a:gd name="T2" fmla="*/ 30 w 1691"/>
                    <a:gd name="T3" fmla="*/ 473 h 575"/>
                    <a:gd name="T4" fmla="*/ 18 w 1691"/>
                    <a:gd name="T5" fmla="*/ 465 h 575"/>
                    <a:gd name="T6" fmla="*/ 69 w 1691"/>
                    <a:gd name="T7" fmla="*/ 426 h 575"/>
                    <a:gd name="T8" fmla="*/ 114 w 1691"/>
                    <a:gd name="T9" fmla="*/ 335 h 575"/>
                    <a:gd name="T10" fmla="*/ 98 w 1691"/>
                    <a:gd name="T11" fmla="*/ 315 h 575"/>
                    <a:gd name="T12" fmla="*/ 121 w 1691"/>
                    <a:gd name="T13" fmla="*/ 272 h 575"/>
                    <a:gd name="T14" fmla="*/ 124 w 1691"/>
                    <a:gd name="T15" fmla="*/ 223 h 575"/>
                    <a:gd name="T16" fmla="*/ 154 w 1691"/>
                    <a:gd name="T17" fmla="*/ 186 h 575"/>
                    <a:gd name="T18" fmla="*/ 421 w 1691"/>
                    <a:gd name="T19" fmla="*/ 167 h 575"/>
                    <a:gd name="T20" fmla="*/ 417 w 1691"/>
                    <a:gd name="T21" fmla="*/ 123 h 575"/>
                    <a:gd name="T22" fmla="*/ 502 w 1691"/>
                    <a:gd name="T23" fmla="*/ 127 h 575"/>
                    <a:gd name="T24" fmla="*/ 1295 w 1691"/>
                    <a:gd name="T25" fmla="*/ 54 h 575"/>
                    <a:gd name="T26" fmla="*/ 1691 w 1691"/>
                    <a:gd name="T27" fmla="*/ 0 h 575"/>
                    <a:gd name="T28" fmla="*/ 1683 w 1691"/>
                    <a:gd name="T29" fmla="*/ 56 h 575"/>
                    <a:gd name="T30" fmla="*/ 1656 w 1691"/>
                    <a:gd name="T31" fmla="*/ 74 h 575"/>
                    <a:gd name="T32" fmla="*/ 1621 w 1691"/>
                    <a:gd name="T33" fmla="*/ 136 h 575"/>
                    <a:gd name="T34" fmla="*/ 1594 w 1691"/>
                    <a:gd name="T35" fmla="*/ 132 h 575"/>
                    <a:gd name="T36" fmla="*/ 1563 w 1691"/>
                    <a:gd name="T37" fmla="*/ 149 h 575"/>
                    <a:gd name="T38" fmla="*/ 1542 w 1691"/>
                    <a:gd name="T39" fmla="*/ 180 h 575"/>
                    <a:gd name="T40" fmla="*/ 1513 w 1691"/>
                    <a:gd name="T41" fmla="*/ 160 h 575"/>
                    <a:gd name="T42" fmla="*/ 1468 w 1691"/>
                    <a:gd name="T43" fmla="*/ 199 h 575"/>
                    <a:gd name="T44" fmla="*/ 1462 w 1691"/>
                    <a:gd name="T45" fmla="*/ 232 h 575"/>
                    <a:gd name="T46" fmla="*/ 1270 w 1691"/>
                    <a:gd name="T47" fmla="*/ 345 h 575"/>
                    <a:gd name="T48" fmla="*/ 1259 w 1691"/>
                    <a:gd name="T49" fmla="*/ 389 h 575"/>
                    <a:gd name="T50" fmla="*/ 1208 w 1691"/>
                    <a:gd name="T51" fmla="*/ 414 h 575"/>
                    <a:gd name="T52" fmla="*/ 1209 w 1691"/>
                    <a:gd name="T53" fmla="*/ 471 h 575"/>
                    <a:gd name="T54" fmla="*/ 949 w 1691"/>
                    <a:gd name="T55" fmla="*/ 504 h 575"/>
                    <a:gd name="T56" fmla="*/ 424 w 1691"/>
                    <a:gd name="T57" fmla="*/ 547 h 575"/>
                    <a:gd name="T58" fmla="*/ 0 w 1691"/>
                    <a:gd name="T59" fmla="*/ 575 h 57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691"/>
                    <a:gd name="T91" fmla="*/ 0 h 575"/>
                    <a:gd name="T92" fmla="*/ 1691 w 1691"/>
                    <a:gd name="T93" fmla="*/ 575 h 57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691" h="575">
                      <a:moveTo>
                        <a:pt x="0" y="575"/>
                      </a:moveTo>
                      <a:lnTo>
                        <a:pt x="30" y="473"/>
                      </a:lnTo>
                      <a:lnTo>
                        <a:pt x="18" y="465"/>
                      </a:lnTo>
                      <a:lnTo>
                        <a:pt x="69" y="426"/>
                      </a:lnTo>
                      <a:lnTo>
                        <a:pt x="114" y="335"/>
                      </a:lnTo>
                      <a:lnTo>
                        <a:pt x="98" y="315"/>
                      </a:lnTo>
                      <a:lnTo>
                        <a:pt x="121" y="272"/>
                      </a:lnTo>
                      <a:lnTo>
                        <a:pt x="124" y="223"/>
                      </a:lnTo>
                      <a:lnTo>
                        <a:pt x="154" y="186"/>
                      </a:lnTo>
                      <a:lnTo>
                        <a:pt x="421" y="167"/>
                      </a:lnTo>
                      <a:lnTo>
                        <a:pt x="417" y="123"/>
                      </a:lnTo>
                      <a:lnTo>
                        <a:pt x="502" y="127"/>
                      </a:lnTo>
                      <a:lnTo>
                        <a:pt x="1295" y="54"/>
                      </a:lnTo>
                      <a:lnTo>
                        <a:pt x="1691" y="0"/>
                      </a:lnTo>
                      <a:lnTo>
                        <a:pt x="1683" y="56"/>
                      </a:lnTo>
                      <a:lnTo>
                        <a:pt x="1656" y="74"/>
                      </a:lnTo>
                      <a:lnTo>
                        <a:pt x="1621" y="136"/>
                      </a:lnTo>
                      <a:lnTo>
                        <a:pt x="1594" y="132"/>
                      </a:lnTo>
                      <a:lnTo>
                        <a:pt x="1563" y="149"/>
                      </a:lnTo>
                      <a:lnTo>
                        <a:pt x="1542" y="180"/>
                      </a:lnTo>
                      <a:lnTo>
                        <a:pt x="1513" y="160"/>
                      </a:lnTo>
                      <a:lnTo>
                        <a:pt x="1468" y="199"/>
                      </a:lnTo>
                      <a:lnTo>
                        <a:pt x="1462" y="232"/>
                      </a:lnTo>
                      <a:lnTo>
                        <a:pt x="1270" y="345"/>
                      </a:lnTo>
                      <a:lnTo>
                        <a:pt x="1259" y="389"/>
                      </a:lnTo>
                      <a:lnTo>
                        <a:pt x="1208" y="414"/>
                      </a:lnTo>
                      <a:lnTo>
                        <a:pt x="1209" y="471"/>
                      </a:lnTo>
                      <a:lnTo>
                        <a:pt x="949" y="504"/>
                      </a:lnTo>
                      <a:lnTo>
                        <a:pt x="424" y="547"/>
                      </a:lnTo>
                      <a:lnTo>
                        <a:pt x="0" y="575"/>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20" name="Freeform 83"/>
                <p:cNvSpPr>
                  <a:spLocks/>
                </p:cNvSpPr>
                <p:nvPr/>
              </p:nvSpPr>
              <p:spPr bwMode="gray">
                <a:xfrm>
                  <a:off x="2046092" y="2950318"/>
                  <a:ext cx="1349669" cy="1310690"/>
                </a:xfrm>
                <a:custGeom>
                  <a:avLst/>
                  <a:gdLst>
                    <a:gd name="T0" fmla="*/ 55 w 2771"/>
                    <a:gd name="T1" fmla="*/ 1056 h 2690"/>
                    <a:gd name="T2" fmla="*/ 1455 w 2771"/>
                    <a:gd name="T3" fmla="*/ 34 h 2690"/>
                    <a:gd name="T4" fmla="*/ 1552 w 2771"/>
                    <a:gd name="T5" fmla="*/ 572 h 2690"/>
                    <a:gd name="T6" fmla="*/ 1595 w 2771"/>
                    <a:gd name="T7" fmla="*/ 613 h 2690"/>
                    <a:gd name="T8" fmla="*/ 1715 w 2771"/>
                    <a:gd name="T9" fmla="*/ 627 h 2690"/>
                    <a:gd name="T10" fmla="*/ 1813 w 2771"/>
                    <a:gd name="T11" fmla="*/ 637 h 2690"/>
                    <a:gd name="T12" fmla="*/ 1900 w 2771"/>
                    <a:gd name="T13" fmla="*/ 680 h 2690"/>
                    <a:gd name="T14" fmla="*/ 2015 w 2771"/>
                    <a:gd name="T15" fmla="*/ 752 h 2690"/>
                    <a:gd name="T16" fmla="*/ 2073 w 2771"/>
                    <a:gd name="T17" fmla="*/ 719 h 2690"/>
                    <a:gd name="T18" fmla="*/ 2280 w 2771"/>
                    <a:gd name="T19" fmla="*/ 716 h 2690"/>
                    <a:gd name="T20" fmla="*/ 2509 w 2771"/>
                    <a:gd name="T21" fmla="*/ 746 h 2690"/>
                    <a:gd name="T22" fmla="*/ 2653 w 2771"/>
                    <a:gd name="T23" fmla="*/ 788 h 2690"/>
                    <a:gd name="T24" fmla="*/ 2699 w 2771"/>
                    <a:gd name="T25" fmla="*/ 1219 h 2690"/>
                    <a:gd name="T26" fmla="*/ 2769 w 2771"/>
                    <a:gd name="T27" fmla="*/ 1460 h 2690"/>
                    <a:gd name="T28" fmla="*/ 2747 w 2771"/>
                    <a:gd name="T29" fmla="*/ 1621 h 2690"/>
                    <a:gd name="T30" fmla="*/ 2694 w 2771"/>
                    <a:gd name="T31" fmla="*/ 1726 h 2690"/>
                    <a:gd name="T32" fmla="*/ 2513 w 2771"/>
                    <a:gd name="T33" fmla="*/ 1835 h 2690"/>
                    <a:gd name="T34" fmla="*/ 2526 w 2771"/>
                    <a:gd name="T35" fmla="*/ 1724 h 2690"/>
                    <a:gd name="T36" fmla="*/ 2458 w 2771"/>
                    <a:gd name="T37" fmla="*/ 1796 h 2690"/>
                    <a:gd name="T38" fmla="*/ 2446 w 2771"/>
                    <a:gd name="T39" fmla="*/ 1878 h 2690"/>
                    <a:gd name="T40" fmla="*/ 2163 w 2771"/>
                    <a:gd name="T41" fmla="*/ 2080 h 2690"/>
                    <a:gd name="T42" fmla="*/ 2192 w 2771"/>
                    <a:gd name="T43" fmla="*/ 2037 h 2690"/>
                    <a:gd name="T44" fmla="*/ 2147 w 2771"/>
                    <a:gd name="T45" fmla="*/ 2001 h 2690"/>
                    <a:gd name="T46" fmla="*/ 2099 w 2771"/>
                    <a:gd name="T47" fmla="*/ 2035 h 2690"/>
                    <a:gd name="T48" fmla="*/ 2067 w 2771"/>
                    <a:gd name="T49" fmla="*/ 2057 h 2690"/>
                    <a:gd name="T50" fmla="*/ 1975 w 2771"/>
                    <a:gd name="T51" fmla="*/ 2135 h 2690"/>
                    <a:gd name="T52" fmla="*/ 1898 w 2771"/>
                    <a:gd name="T53" fmla="*/ 2213 h 2690"/>
                    <a:gd name="T54" fmla="*/ 1952 w 2771"/>
                    <a:gd name="T55" fmla="*/ 2256 h 2690"/>
                    <a:gd name="T56" fmla="*/ 1904 w 2771"/>
                    <a:gd name="T57" fmla="*/ 2323 h 2690"/>
                    <a:gd name="T58" fmla="*/ 1848 w 2771"/>
                    <a:gd name="T59" fmla="*/ 2357 h 2690"/>
                    <a:gd name="T60" fmla="*/ 1912 w 2771"/>
                    <a:gd name="T61" fmla="*/ 2571 h 2690"/>
                    <a:gd name="T62" fmla="*/ 1816 w 2771"/>
                    <a:gd name="T63" fmla="*/ 2655 h 2690"/>
                    <a:gd name="T64" fmla="*/ 1540 w 2771"/>
                    <a:gd name="T65" fmla="*/ 2562 h 2690"/>
                    <a:gd name="T66" fmla="*/ 1467 w 2771"/>
                    <a:gd name="T67" fmla="*/ 2405 h 2690"/>
                    <a:gd name="T68" fmla="*/ 1451 w 2771"/>
                    <a:gd name="T69" fmla="*/ 2267 h 2690"/>
                    <a:gd name="T70" fmla="*/ 1194 w 2771"/>
                    <a:gd name="T71" fmla="*/ 1840 h 2690"/>
                    <a:gd name="T72" fmla="*/ 995 w 2771"/>
                    <a:gd name="T73" fmla="*/ 1699 h 2690"/>
                    <a:gd name="T74" fmla="*/ 855 w 2771"/>
                    <a:gd name="T75" fmla="*/ 1692 h 2690"/>
                    <a:gd name="T76" fmla="*/ 681 w 2771"/>
                    <a:gd name="T77" fmla="*/ 1874 h 2690"/>
                    <a:gd name="T78" fmla="*/ 495 w 2771"/>
                    <a:gd name="T79" fmla="*/ 1777 h 2690"/>
                    <a:gd name="T80" fmla="*/ 368 w 2771"/>
                    <a:gd name="T81" fmla="*/ 1537 h 2690"/>
                    <a:gd name="T82" fmla="*/ 121 w 2771"/>
                    <a:gd name="T83" fmla="*/ 1217 h 2690"/>
                    <a:gd name="T84" fmla="*/ 16 w 2771"/>
                    <a:gd name="T85" fmla="*/ 1103 h 269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771"/>
                    <a:gd name="T130" fmla="*/ 0 h 2690"/>
                    <a:gd name="T131" fmla="*/ 2771 w 2771"/>
                    <a:gd name="T132" fmla="*/ 2690 h 269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771" h="2690">
                      <a:moveTo>
                        <a:pt x="16" y="1103"/>
                      </a:moveTo>
                      <a:lnTo>
                        <a:pt x="0" y="1051"/>
                      </a:lnTo>
                      <a:lnTo>
                        <a:pt x="55" y="1056"/>
                      </a:lnTo>
                      <a:lnTo>
                        <a:pt x="753" y="1123"/>
                      </a:lnTo>
                      <a:lnTo>
                        <a:pt x="857" y="0"/>
                      </a:lnTo>
                      <a:lnTo>
                        <a:pt x="1455" y="34"/>
                      </a:lnTo>
                      <a:lnTo>
                        <a:pt x="1435" y="520"/>
                      </a:lnTo>
                      <a:lnTo>
                        <a:pt x="1494" y="569"/>
                      </a:lnTo>
                      <a:lnTo>
                        <a:pt x="1552" y="572"/>
                      </a:lnTo>
                      <a:lnTo>
                        <a:pt x="1563" y="552"/>
                      </a:lnTo>
                      <a:lnTo>
                        <a:pt x="1597" y="581"/>
                      </a:lnTo>
                      <a:lnTo>
                        <a:pt x="1595" y="613"/>
                      </a:lnTo>
                      <a:lnTo>
                        <a:pt x="1644" y="618"/>
                      </a:lnTo>
                      <a:lnTo>
                        <a:pt x="1685" y="638"/>
                      </a:lnTo>
                      <a:lnTo>
                        <a:pt x="1715" y="627"/>
                      </a:lnTo>
                      <a:lnTo>
                        <a:pt x="1753" y="652"/>
                      </a:lnTo>
                      <a:lnTo>
                        <a:pt x="1760" y="633"/>
                      </a:lnTo>
                      <a:lnTo>
                        <a:pt x="1813" y="637"/>
                      </a:lnTo>
                      <a:lnTo>
                        <a:pt x="1843" y="698"/>
                      </a:lnTo>
                      <a:lnTo>
                        <a:pt x="1866" y="717"/>
                      </a:lnTo>
                      <a:lnTo>
                        <a:pt x="1900" y="680"/>
                      </a:lnTo>
                      <a:lnTo>
                        <a:pt x="1963" y="730"/>
                      </a:lnTo>
                      <a:lnTo>
                        <a:pt x="2001" y="705"/>
                      </a:lnTo>
                      <a:lnTo>
                        <a:pt x="2015" y="752"/>
                      </a:lnTo>
                      <a:lnTo>
                        <a:pt x="2022" y="717"/>
                      </a:lnTo>
                      <a:lnTo>
                        <a:pt x="2062" y="690"/>
                      </a:lnTo>
                      <a:lnTo>
                        <a:pt x="2073" y="719"/>
                      </a:lnTo>
                      <a:lnTo>
                        <a:pt x="2127" y="710"/>
                      </a:lnTo>
                      <a:lnTo>
                        <a:pt x="2170" y="751"/>
                      </a:lnTo>
                      <a:lnTo>
                        <a:pt x="2280" y="716"/>
                      </a:lnTo>
                      <a:lnTo>
                        <a:pt x="2391" y="705"/>
                      </a:lnTo>
                      <a:lnTo>
                        <a:pt x="2424" y="689"/>
                      </a:lnTo>
                      <a:lnTo>
                        <a:pt x="2509" y="746"/>
                      </a:lnTo>
                      <a:lnTo>
                        <a:pt x="2562" y="765"/>
                      </a:lnTo>
                      <a:lnTo>
                        <a:pt x="2582" y="790"/>
                      </a:lnTo>
                      <a:lnTo>
                        <a:pt x="2653" y="788"/>
                      </a:lnTo>
                      <a:lnTo>
                        <a:pt x="2656" y="922"/>
                      </a:lnTo>
                      <a:lnTo>
                        <a:pt x="2669" y="1185"/>
                      </a:lnTo>
                      <a:lnTo>
                        <a:pt x="2699" y="1219"/>
                      </a:lnTo>
                      <a:lnTo>
                        <a:pt x="2711" y="1286"/>
                      </a:lnTo>
                      <a:lnTo>
                        <a:pt x="2771" y="1380"/>
                      </a:lnTo>
                      <a:lnTo>
                        <a:pt x="2769" y="1460"/>
                      </a:lnTo>
                      <a:lnTo>
                        <a:pt x="2733" y="1536"/>
                      </a:lnTo>
                      <a:lnTo>
                        <a:pt x="2736" y="1577"/>
                      </a:lnTo>
                      <a:lnTo>
                        <a:pt x="2747" y="1621"/>
                      </a:lnTo>
                      <a:lnTo>
                        <a:pt x="2742" y="1664"/>
                      </a:lnTo>
                      <a:lnTo>
                        <a:pt x="2721" y="1692"/>
                      </a:lnTo>
                      <a:lnTo>
                        <a:pt x="2694" y="1726"/>
                      </a:lnTo>
                      <a:lnTo>
                        <a:pt x="2713" y="1747"/>
                      </a:lnTo>
                      <a:lnTo>
                        <a:pt x="2602" y="1784"/>
                      </a:lnTo>
                      <a:lnTo>
                        <a:pt x="2513" y="1835"/>
                      </a:lnTo>
                      <a:lnTo>
                        <a:pt x="2567" y="1793"/>
                      </a:lnTo>
                      <a:lnTo>
                        <a:pt x="2509" y="1792"/>
                      </a:lnTo>
                      <a:lnTo>
                        <a:pt x="2526" y="1724"/>
                      </a:lnTo>
                      <a:lnTo>
                        <a:pt x="2479" y="1763"/>
                      </a:lnTo>
                      <a:lnTo>
                        <a:pt x="2456" y="1750"/>
                      </a:lnTo>
                      <a:lnTo>
                        <a:pt x="2458" y="1796"/>
                      </a:lnTo>
                      <a:lnTo>
                        <a:pt x="2478" y="1804"/>
                      </a:lnTo>
                      <a:lnTo>
                        <a:pt x="2482" y="1846"/>
                      </a:lnTo>
                      <a:lnTo>
                        <a:pt x="2446" y="1878"/>
                      </a:lnTo>
                      <a:lnTo>
                        <a:pt x="2425" y="1876"/>
                      </a:lnTo>
                      <a:lnTo>
                        <a:pt x="2419" y="1923"/>
                      </a:lnTo>
                      <a:lnTo>
                        <a:pt x="2163" y="2080"/>
                      </a:lnTo>
                      <a:lnTo>
                        <a:pt x="2166" y="2064"/>
                      </a:lnTo>
                      <a:lnTo>
                        <a:pt x="2284" y="1988"/>
                      </a:lnTo>
                      <a:lnTo>
                        <a:pt x="2192" y="2037"/>
                      </a:lnTo>
                      <a:lnTo>
                        <a:pt x="2198" y="1992"/>
                      </a:lnTo>
                      <a:lnTo>
                        <a:pt x="2173" y="2014"/>
                      </a:lnTo>
                      <a:lnTo>
                        <a:pt x="2147" y="2001"/>
                      </a:lnTo>
                      <a:lnTo>
                        <a:pt x="2137" y="2037"/>
                      </a:lnTo>
                      <a:lnTo>
                        <a:pt x="2096" y="2001"/>
                      </a:lnTo>
                      <a:lnTo>
                        <a:pt x="2099" y="2035"/>
                      </a:lnTo>
                      <a:lnTo>
                        <a:pt x="2147" y="2066"/>
                      </a:lnTo>
                      <a:lnTo>
                        <a:pt x="2092" y="2098"/>
                      </a:lnTo>
                      <a:lnTo>
                        <a:pt x="2067" y="2057"/>
                      </a:lnTo>
                      <a:lnTo>
                        <a:pt x="2048" y="2159"/>
                      </a:lnTo>
                      <a:lnTo>
                        <a:pt x="2024" y="2118"/>
                      </a:lnTo>
                      <a:lnTo>
                        <a:pt x="1975" y="2135"/>
                      </a:lnTo>
                      <a:lnTo>
                        <a:pt x="1965" y="2161"/>
                      </a:lnTo>
                      <a:lnTo>
                        <a:pt x="1989" y="2207"/>
                      </a:lnTo>
                      <a:lnTo>
                        <a:pt x="1898" y="2213"/>
                      </a:lnTo>
                      <a:lnTo>
                        <a:pt x="1931" y="2222"/>
                      </a:lnTo>
                      <a:lnTo>
                        <a:pt x="1933" y="2267"/>
                      </a:lnTo>
                      <a:lnTo>
                        <a:pt x="1952" y="2256"/>
                      </a:lnTo>
                      <a:lnTo>
                        <a:pt x="1942" y="2288"/>
                      </a:lnTo>
                      <a:lnTo>
                        <a:pt x="1901" y="2354"/>
                      </a:lnTo>
                      <a:lnTo>
                        <a:pt x="1904" y="2323"/>
                      </a:lnTo>
                      <a:lnTo>
                        <a:pt x="1877" y="2351"/>
                      </a:lnTo>
                      <a:lnTo>
                        <a:pt x="1841" y="2310"/>
                      </a:lnTo>
                      <a:lnTo>
                        <a:pt x="1848" y="2357"/>
                      </a:lnTo>
                      <a:lnTo>
                        <a:pt x="1917" y="2364"/>
                      </a:lnTo>
                      <a:lnTo>
                        <a:pt x="1890" y="2434"/>
                      </a:lnTo>
                      <a:lnTo>
                        <a:pt x="1912" y="2571"/>
                      </a:lnTo>
                      <a:lnTo>
                        <a:pt x="1973" y="2685"/>
                      </a:lnTo>
                      <a:lnTo>
                        <a:pt x="1893" y="2690"/>
                      </a:lnTo>
                      <a:lnTo>
                        <a:pt x="1816" y="2655"/>
                      </a:lnTo>
                      <a:lnTo>
                        <a:pt x="1750" y="2656"/>
                      </a:lnTo>
                      <a:lnTo>
                        <a:pt x="1653" y="2604"/>
                      </a:lnTo>
                      <a:lnTo>
                        <a:pt x="1540" y="2562"/>
                      </a:lnTo>
                      <a:lnTo>
                        <a:pt x="1528" y="2517"/>
                      </a:lnTo>
                      <a:lnTo>
                        <a:pt x="1504" y="2453"/>
                      </a:lnTo>
                      <a:lnTo>
                        <a:pt x="1467" y="2405"/>
                      </a:lnTo>
                      <a:lnTo>
                        <a:pt x="1471" y="2354"/>
                      </a:lnTo>
                      <a:lnTo>
                        <a:pt x="1450" y="2336"/>
                      </a:lnTo>
                      <a:lnTo>
                        <a:pt x="1451" y="2267"/>
                      </a:lnTo>
                      <a:lnTo>
                        <a:pt x="1385" y="2215"/>
                      </a:lnTo>
                      <a:lnTo>
                        <a:pt x="1313" y="2109"/>
                      </a:lnTo>
                      <a:lnTo>
                        <a:pt x="1194" y="1840"/>
                      </a:lnTo>
                      <a:lnTo>
                        <a:pt x="1103" y="1771"/>
                      </a:lnTo>
                      <a:lnTo>
                        <a:pt x="1073" y="1709"/>
                      </a:lnTo>
                      <a:lnTo>
                        <a:pt x="995" y="1699"/>
                      </a:lnTo>
                      <a:lnTo>
                        <a:pt x="930" y="1692"/>
                      </a:lnTo>
                      <a:lnTo>
                        <a:pt x="873" y="1666"/>
                      </a:lnTo>
                      <a:lnTo>
                        <a:pt x="855" y="1692"/>
                      </a:lnTo>
                      <a:lnTo>
                        <a:pt x="794" y="1692"/>
                      </a:lnTo>
                      <a:lnTo>
                        <a:pt x="740" y="1819"/>
                      </a:lnTo>
                      <a:lnTo>
                        <a:pt x="681" y="1874"/>
                      </a:lnTo>
                      <a:lnTo>
                        <a:pt x="647" y="1870"/>
                      </a:lnTo>
                      <a:lnTo>
                        <a:pt x="541" y="1790"/>
                      </a:lnTo>
                      <a:lnTo>
                        <a:pt x="495" y="1777"/>
                      </a:lnTo>
                      <a:lnTo>
                        <a:pt x="394" y="1685"/>
                      </a:lnTo>
                      <a:lnTo>
                        <a:pt x="367" y="1612"/>
                      </a:lnTo>
                      <a:lnTo>
                        <a:pt x="368" y="1537"/>
                      </a:lnTo>
                      <a:lnTo>
                        <a:pt x="319" y="1431"/>
                      </a:lnTo>
                      <a:lnTo>
                        <a:pt x="235" y="1362"/>
                      </a:lnTo>
                      <a:lnTo>
                        <a:pt x="121" y="1217"/>
                      </a:lnTo>
                      <a:lnTo>
                        <a:pt x="77" y="1192"/>
                      </a:lnTo>
                      <a:lnTo>
                        <a:pt x="47" y="1116"/>
                      </a:lnTo>
                      <a:lnTo>
                        <a:pt x="16" y="1103"/>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21" name="Freeform 84"/>
                <p:cNvSpPr>
                  <a:spLocks/>
                </p:cNvSpPr>
                <p:nvPr/>
              </p:nvSpPr>
              <p:spPr bwMode="gray">
                <a:xfrm>
                  <a:off x="1411699" y="2146364"/>
                  <a:ext cx="545715" cy="685066"/>
                </a:xfrm>
                <a:custGeom>
                  <a:avLst/>
                  <a:gdLst>
                    <a:gd name="T0" fmla="*/ 0 w 1119"/>
                    <a:gd name="T1" fmla="*/ 1238 h 1406"/>
                    <a:gd name="T2" fmla="*/ 244 w 1119"/>
                    <a:gd name="T3" fmla="*/ 0 h 1406"/>
                    <a:gd name="T4" fmla="*/ 790 w 1119"/>
                    <a:gd name="T5" fmla="*/ 100 h 1406"/>
                    <a:gd name="T6" fmla="*/ 748 w 1119"/>
                    <a:gd name="T7" fmla="*/ 349 h 1406"/>
                    <a:gd name="T8" fmla="*/ 1119 w 1119"/>
                    <a:gd name="T9" fmla="*/ 406 h 1406"/>
                    <a:gd name="T10" fmla="*/ 979 w 1119"/>
                    <a:gd name="T11" fmla="*/ 1406 h 1406"/>
                    <a:gd name="T12" fmla="*/ 0 w 1119"/>
                    <a:gd name="T13" fmla="*/ 1238 h 1406"/>
                    <a:gd name="T14" fmla="*/ 0 60000 65536"/>
                    <a:gd name="T15" fmla="*/ 0 60000 65536"/>
                    <a:gd name="T16" fmla="*/ 0 60000 65536"/>
                    <a:gd name="T17" fmla="*/ 0 60000 65536"/>
                    <a:gd name="T18" fmla="*/ 0 60000 65536"/>
                    <a:gd name="T19" fmla="*/ 0 60000 65536"/>
                    <a:gd name="T20" fmla="*/ 0 60000 65536"/>
                    <a:gd name="T21" fmla="*/ 0 w 1119"/>
                    <a:gd name="T22" fmla="*/ 0 h 1406"/>
                    <a:gd name="T23" fmla="*/ 1119 w 1119"/>
                    <a:gd name="T24" fmla="*/ 1406 h 140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19" h="1406">
                      <a:moveTo>
                        <a:pt x="0" y="1238"/>
                      </a:moveTo>
                      <a:lnTo>
                        <a:pt x="244" y="0"/>
                      </a:lnTo>
                      <a:lnTo>
                        <a:pt x="790" y="100"/>
                      </a:lnTo>
                      <a:lnTo>
                        <a:pt x="748" y="349"/>
                      </a:lnTo>
                      <a:lnTo>
                        <a:pt x="1119" y="406"/>
                      </a:lnTo>
                      <a:lnTo>
                        <a:pt x="979" y="1406"/>
                      </a:lnTo>
                      <a:lnTo>
                        <a:pt x="0" y="1238"/>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22" name="Freeform 85"/>
                <p:cNvSpPr>
                  <a:spLocks/>
                </p:cNvSpPr>
                <p:nvPr/>
              </p:nvSpPr>
              <p:spPr bwMode="gray">
                <a:xfrm>
                  <a:off x="5086503" y="1680558"/>
                  <a:ext cx="154944" cy="306964"/>
                </a:xfrm>
                <a:custGeom>
                  <a:avLst/>
                  <a:gdLst>
                    <a:gd name="T0" fmla="*/ 0 w 318"/>
                    <a:gd name="T1" fmla="*/ 79 h 630"/>
                    <a:gd name="T2" fmla="*/ 49 w 318"/>
                    <a:gd name="T3" fmla="*/ 257 h 630"/>
                    <a:gd name="T4" fmla="*/ 64 w 318"/>
                    <a:gd name="T5" fmla="*/ 373 h 630"/>
                    <a:gd name="T6" fmla="*/ 115 w 318"/>
                    <a:gd name="T7" fmla="*/ 489 h 630"/>
                    <a:gd name="T8" fmla="*/ 145 w 318"/>
                    <a:gd name="T9" fmla="*/ 630 h 630"/>
                    <a:gd name="T10" fmla="*/ 290 w 318"/>
                    <a:gd name="T11" fmla="*/ 599 h 630"/>
                    <a:gd name="T12" fmla="*/ 260 w 318"/>
                    <a:gd name="T13" fmla="*/ 383 h 630"/>
                    <a:gd name="T14" fmla="*/ 278 w 318"/>
                    <a:gd name="T15" fmla="*/ 230 h 630"/>
                    <a:gd name="T16" fmla="*/ 314 w 318"/>
                    <a:gd name="T17" fmla="*/ 159 h 630"/>
                    <a:gd name="T18" fmla="*/ 318 w 318"/>
                    <a:gd name="T19" fmla="*/ 0 h 630"/>
                    <a:gd name="T20" fmla="*/ 0 w 318"/>
                    <a:gd name="T21" fmla="*/ 79 h 6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18"/>
                    <a:gd name="T34" fmla="*/ 0 h 630"/>
                    <a:gd name="T35" fmla="*/ 318 w 318"/>
                    <a:gd name="T36" fmla="*/ 630 h 63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18" h="630">
                      <a:moveTo>
                        <a:pt x="0" y="79"/>
                      </a:moveTo>
                      <a:lnTo>
                        <a:pt x="49" y="257"/>
                      </a:lnTo>
                      <a:lnTo>
                        <a:pt x="64" y="373"/>
                      </a:lnTo>
                      <a:lnTo>
                        <a:pt x="115" y="489"/>
                      </a:lnTo>
                      <a:lnTo>
                        <a:pt x="145" y="630"/>
                      </a:lnTo>
                      <a:lnTo>
                        <a:pt x="290" y="599"/>
                      </a:lnTo>
                      <a:lnTo>
                        <a:pt x="260" y="383"/>
                      </a:lnTo>
                      <a:lnTo>
                        <a:pt x="278" y="230"/>
                      </a:lnTo>
                      <a:lnTo>
                        <a:pt x="314" y="159"/>
                      </a:lnTo>
                      <a:lnTo>
                        <a:pt x="318" y="0"/>
                      </a:lnTo>
                      <a:lnTo>
                        <a:pt x="0" y="79"/>
                      </a:lnTo>
                      <a:close/>
                    </a:path>
                  </a:pathLst>
                </a:custGeom>
                <a:solidFill>
                  <a:schemeClr val="accent4">
                    <a:lumMod val="40000"/>
                    <a:lumOff val="60000"/>
                  </a:schemeClr>
                </a:solidFill>
                <a:ln w="9525">
                  <a:solidFill>
                    <a:schemeClr val="tx1"/>
                  </a:solidFill>
                  <a:round/>
                  <a:headEnd/>
                  <a:tailEnd/>
                </a:ln>
              </p:spPr>
              <p:txBody>
                <a:bodyPr/>
                <a:lstStyle/>
                <a:p>
                  <a:pPr>
                    <a:defRPr/>
                  </a:pPr>
                  <a:endParaRPr lang="en-US" sz="1100" dirty="0">
                    <a:latin typeface="+mj-lt"/>
                  </a:endParaRPr>
                </a:p>
              </p:txBody>
            </p:sp>
            <p:grpSp>
              <p:nvGrpSpPr>
                <p:cNvPr id="123" name="Group 196"/>
                <p:cNvGrpSpPr/>
                <p:nvPr/>
              </p:nvGrpSpPr>
              <p:grpSpPr bwMode="gray">
                <a:xfrm>
                  <a:off x="4341017" y="2476716"/>
                  <a:ext cx="756205" cy="424878"/>
                  <a:chOff x="4341017" y="2476716"/>
                  <a:chExt cx="756205" cy="424878"/>
                </a:xfrm>
                <a:grpFill/>
              </p:grpSpPr>
              <p:sp>
                <p:nvSpPr>
                  <p:cNvPr id="131" name="Freeform 86"/>
                  <p:cNvSpPr>
                    <a:spLocks/>
                  </p:cNvSpPr>
                  <p:nvPr/>
                </p:nvSpPr>
                <p:spPr bwMode="gray">
                  <a:xfrm>
                    <a:off x="4341017" y="2476716"/>
                    <a:ext cx="747435" cy="424878"/>
                  </a:xfrm>
                  <a:custGeom>
                    <a:avLst/>
                    <a:gdLst>
                      <a:gd name="T0" fmla="*/ 143 w 1534"/>
                      <a:gd name="T1" fmla="*/ 776 h 871"/>
                      <a:gd name="T2" fmla="*/ 196 w 1534"/>
                      <a:gd name="T3" fmla="*/ 692 h 871"/>
                      <a:gd name="T4" fmla="*/ 299 w 1534"/>
                      <a:gd name="T5" fmla="*/ 592 h 871"/>
                      <a:gd name="T6" fmla="*/ 424 w 1534"/>
                      <a:gd name="T7" fmla="*/ 625 h 871"/>
                      <a:gd name="T8" fmla="*/ 496 w 1534"/>
                      <a:gd name="T9" fmla="*/ 625 h 871"/>
                      <a:gd name="T10" fmla="*/ 598 w 1534"/>
                      <a:gd name="T11" fmla="*/ 575 h 871"/>
                      <a:gd name="T12" fmla="*/ 618 w 1534"/>
                      <a:gd name="T13" fmla="*/ 507 h 871"/>
                      <a:gd name="T14" fmla="*/ 707 w 1534"/>
                      <a:gd name="T15" fmla="*/ 259 h 871"/>
                      <a:gd name="T16" fmla="*/ 811 w 1534"/>
                      <a:gd name="T17" fmla="*/ 196 h 871"/>
                      <a:gd name="T18" fmla="*/ 899 w 1534"/>
                      <a:gd name="T19" fmla="*/ 98 h 871"/>
                      <a:gd name="T20" fmla="*/ 1023 w 1534"/>
                      <a:gd name="T21" fmla="*/ 61 h 871"/>
                      <a:gd name="T22" fmla="*/ 1093 w 1534"/>
                      <a:gd name="T23" fmla="*/ 26 h 871"/>
                      <a:gd name="T24" fmla="*/ 1169 w 1534"/>
                      <a:gd name="T25" fmla="*/ 85 h 871"/>
                      <a:gd name="T26" fmla="*/ 1189 w 1534"/>
                      <a:gd name="T27" fmla="*/ 144 h 871"/>
                      <a:gd name="T28" fmla="*/ 1169 w 1534"/>
                      <a:gd name="T29" fmla="*/ 239 h 871"/>
                      <a:gd name="T30" fmla="*/ 1224 w 1534"/>
                      <a:gd name="T31" fmla="*/ 246 h 871"/>
                      <a:gd name="T32" fmla="*/ 1306 w 1534"/>
                      <a:gd name="T33" fmla="*/ 268 h 871"/>
                      <a:gd name="T34" fmla="*/ 1390 w 1534"/>
                      <a:gd name="T35" fmla="*/ 308 h 871"/>
                      <a:gd name="T36" fmla="*/ 1379 w 1534"/>
                      <a:gd name="T37" fmla="*/ 364 h 871"/>
                      <a:gd name="T38" fmla="*/ 1360 w 1534"/>
                      <a:gd name="T39" fmla="*/ 373 h 871"/>
                      <a:gd name="T40" fmla="*/ 1250 w 1534"/>
                      <a:gd name="T41" fmla="*/ 305 h 871"/>
                      <a:gd name="T42" fmla="*/ 1396 w 1534"/>
                      <a:gd name="T43" fmla="*/ 396 h 871"/>
                      <a:gd name="T44" fmla="*/ 1416 w 1534"/>
                      <a:gd name="T45" fmla="*/ 435 h 871"/>
                      <a:gd name="T46" fmla="*/ 1397 w 1534"/>
                      <a:gd name="T47" fmla="*/ 437 h 871"/>
                      <a:gd name="T48" fmla="*/ 1383 w 1534"/>
                      <a:gd name="T49" fmla="*/ 456 h 871"/>
                      <a:gd name="T50" fmla="*/ 1377 w 1534"/>
                      <a:gd name="T51" fmla="*/ 478 h 871"/>
                      <a:gd name="T52" fmla="*/ 1303 w 1534"/>
                      <a:gd name="T53" fmla="*/ 423 h 871"/>
                      <a:gd name="T54" fmla="*/ 1368 w 1534"/>
                      <a:gd name="T55" fmla="*/ 485 h 871"/>
                      <a:gd name="T56" fmla="*/ 1413 w 1534"/>
                      <a:gd name="T57" fmla="*/ 497 h 871"/>
                      <a:gd name="T58" fmla="*/ 1424 w 1534"/>
                      <a:gd name="T59" fmla="*/ 510 h 871"/>
                      <a:gd name="T60" fmla="*/ 1406 w 1534"/>
                      <a:gd name="T61" fmla="*/ 540 h 871"/>
                      <a:gd name="T62" fmla="*/ 1357 w 1534"/>
                      <a:gd name="T63" fmla="*/ 503 h 871"/>
                      <a:gd name="T64" fmla="*/ 1296 w 1534"/>
                      <a:gd name="T65" fmla="*/ 481 h 871"/>
                      <a:gd name="T66" fmla="*/ 1346 w 1534"/>
                      <a:gd name="T67" fmla="*/ 517 h 871"/>
                      <a:gd name="T68" fmla="*/ 1409 w 1534"/>
                      <a:gd name="T69" fmla="*/ 562 h 871"/>
                      <a:gd name="T70" fmla="*/ 1430 w 1534"/>
                      <a:gd name="T71" fmla="*/ 542 h 871"/>
                      <a:gd name="T72" fmla="*/ 1490 w 1534"/>
                      <a:gd name="T73" fmla="*/ 545 h 871"/>
                      <a:gd name="T74" fmla="*/ 1506 w 1534"/>
                      <a:gd name="T75" fmla="*/ 612 h 871"/>
                      <a:gd name="T76" fmla="*/ 895 w 1534"/>
                      <a:gd name="T77" fmla="*/ 752 h 871"/>
                      <a:gd name="T78" fmla="*/ 0 w 1534"/>
                      <a:gd name="T79" fmla="*/ 871 h 87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534"/>
                      <a:gd name="T121" fmla="*/ 0 h 871"/>
                      <a:gd name="T122" fmla="*/ 1534 w 1534"/>
                      <a:gd name="T123" fmla="*/ 871 h 87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534" h="871">
                        <a:moveTo>
                          <a:pt x="0" y="871"/>
                        </a:moveTo>
                        <a:lnTo>
                          <a:pt x="143" y="776"/>
                        </a:lnTo>
                        <a:lnTo>
                          <a:pt x="144" y="755"/>
                        </a:lnTo>
                        <a:lnTo>
                          <a:pt x="196" y="692"/>
                        </a:lnTo>
                        <a:lnTo>
                          <a:pt x="244" y="658"/>
                        </a:lnTo>
                        <a:lnTo>
                          <a:pt x="299" y="592"/>
                        </a:lnTo>
                        <a:lnTo>
                          <a:pt x="355" y="658"/>
                        </a:lnTo>
                        <a:lnTo>
                          <a:pt x="424" y="625"/>
                        </a:lnTo>
                        <a:lnTo>
                          <a:pt x="453" y="645"/>
                        </a:lnTo>
                        <a:lnTo>
                          <a:pt x="496" y="625"/>
                        </a:lnTo>
                        <a:lnTo>
                          <a:pt x="522" y="588"/>
                        </a:lnTo>
                        <a:lnTo>
                          <a:pt x="598" y="575"/>
                        </a:lnTo>
                        <a:lnTo>
                          <a:pt x="638" y="521"/>
                        </a:lnTo>
                        <a:lnTo>
                          <a:pt x="618" y="507"/>
                        </a:lnTo>
                        <a:lnTo>
                          <a:pt x="690" y="343"/>
                        </a:lnTo>
                        <a:lnTo>
                          <a:pt x="707" y="259"/>
                        </a:lnTo>
                        <a:lnTo>
                          <a:pt x="776" y="292"/>
                        </a:lnTo>
                        <a:lnTo>
                          <a:pt x="811" y="196"/>
                        </a:lnTo>
                        <a:lnTo>
                          <a:pt x="847" y="190"/>
                        </a:lnTo>
                        <a:lnTo>
                          <a:pt x="899" y="98"/>
                        </a:lnTo>
                        <a:lnTo>
                          <a:pt x="915" y="0"/>
                        </a:lnTo>
                        <a:lnTo>
                          <a:pt x="1023" y="61"/>
                        </a:lnTo>
                        <a:lnTo>
                          <a:pt x="1041" y="11"/>
                        </a:lnTo>
                        <a:lnTo>
                          <a:pt x="1093" y="26"/>
                        </a:lnTo>
                        <a:lnTo>
                          <a:pt x="1123" y="64"/>
                        </a:lnTo>
                        <a:lnTo>
                          <a:pt x="1169" y="85"/>
                        </a:lnTo>
                        <a:lnTo>
                          <a:pt x="1190" y="116"/>
                        </a:lnTo>
                        <a:lnTo>
                          <a:pt x="1189" y="144"/>
                        </a:lnTo>
                        <a:lnTo>
                          <a:pt x="1156" y="201"/>
                        </a:lnTo>
                        <a:lnTo>
                          <a:pt x="1169" y="239"/>
                        </a:lnTo>
                        <a:lnTo>
                          <a:pt x="1208" y="222"/>
                        </a:lnTo>
                        <a:lnTo>
                          <a:pt x="1224" y="246"/>
                        </a:lnTo>
                        <a:lnTo>
                          <a:pt x="1238" y="262"/>
                        </a:lnTo>
                        <a:lnTo>
                          <a:pt x="1306" y="268"/>
                        </a:lnTo>
                        <a:lnTo>
                          <a:pt x="1326" y="291"/>
                        </a:lnTo>
                        <a:lnTo>
                          <a:pt x="1390" y="308"/>
                        </a:lnTo>
                        <a:lnTo>
                          <a:pt x="1374" y="325"/>
                        </a:lnTo>
                        <a:lnTo>
                          <a:pt x="1379" y="364"/>
                        </a:lnTo>
                        <a:lnTo>
                          <a:pt x="1384" y="380"/>
                        </a:lnTo>
                        <a:lnTo>
                          <a:pt x="1360" y="373"/>
                        </a:lnTo>
                        <a:lnTo>
                          <a:pt x="1319" y="351"/>
                        </a:lnTo>
                        <a:lnTo>
                          <a:pt x="1250" y="305"/>
                        </a:lnTo>
                        <a:lnTo>
                          <a:pt x="1345" y="393"/>
                        </a:lnTo>
                        <a:lnTo>
                          <a:pt x="1396" y="396"/>
                        </a:lnTo>
                        <a:lnTo>
                          <a:pt x="1367" y="411"/>
                        </a:lnTo>
                        <a:lnTo>
                          <a:pt x="1416" y="435"/>
                        </a:lnTo>
                        <a:lnTo>
                          <a:pt x="1415" y="455"/>
                        </a:lnTo>
                        <a:lnTo>
                          <a:pt x="1397" y="437"/>
                        </a:lnTo>
                        <a:lnTo>
                          <a:pt x="1377" y="438"/>
                        </a:lnTo>
                        <a:lnTo>
                          <a:pt x="1383" y="456"/>
                        </a:lnTo>
                        <a:lnTo>
                          <a:pt x="1397" y="468"/>
                        </a:lnTo>
                        <a:lnTo>
                          <a:pt x="1377" y="478"/>
                        </a:lnTo>
                        <a:lnTo>
                          <a:pt x="1325" y="441"/>
                        </a:lnTo>
                        <a:lnTo>
                          <a:pt x="1303" y="423"/>
                        </a:lnTo>
                        <a:lnTo>
                          <a:pt x="1316" y="448"/>
                        </a:lnTo>
                        <a:lnTo>
                          <a:pt x="1368" y="485"/>
                        </a:lnTo>
                        <a:lnTo>
                          <a:pt x="1390" y="488"/>
                        </a:lnTo>
                        <a:lnTo>
                          <a:pt x="1413" y="497"/>
                        </a:lnTo>
                        <a:lnTo>
                          <a:pt x="1411" y="510"/>
                        </a:lnTo>
                        <a:lnTo>
                          <a:pt x="1424" y="510"/>
                        </a:lnTo>
                        <a:lnTo>
                          <a:pt x="1428" y="522"/>
                        </a:lnTo>
                        <a:lnTo>
                          <a:pt x="1406" y="540"/>
                        </a:lnTo>
                        <a:lnTo>
                          <a:pt x="1366" y="522"/>
                        </a:lnTo>
                        <a:lnTo>
                          <a:pt x="1357" y="503"/>
                        </a:lnTo>
                        <a:lnTo>
                          <a:pt x="1306" y="497"/>
                        </a:lnTo>
                        <a:lnTo>
                          <a:pt x="1296" y="481"/>
                        </a:lnTo>
                        <a:lnTo>
                          <a:pt x="1280" y="502"/>
                        </a:lnTo>
                        <a:lnTo>
                          <a:pt x="1346" y="517"/>
                        </a:lnTo>
                        <a:lnTo>
                          <a:pt x="1351" y="536"/>
                        </a:lnTo>
                        <a:lnTo>
                          <a:pt x="1409" y="562"/>
                        </a:lnTo>
                        <a:lnTo>
                          <a:pt x="1425" y="562"/>
                        </a:lnTo>
                        <a:lnTo>
                          <a:pt x="1430" y="542"/>
                        </a:lnTo>
                        <a:lnTo>
                          <a:pt x="1452" y="548"/>
                        </a:lnTo>
                        <a:lnTo>
                          <a:pt x="1490" y="545"/>
                        </a:lnTo>
                        <a:lnTo>
                          <a:pt x="1534" y="625"/>
                        </a:lnTo>
                        <a:lnTo>
                          <a:pt x="1506" y="612"/>
                        </a:lnTo>
                        <a:lnTo>
                          <a:pt x="1498" y="636"/>
                        </a:lnTo>
                        <a:lnTo>
                          <a:pt x="895" y="752"/>
                        </a:lnTo>
                        <a:lnTo>
                          <a:pt x="396" y="817"/>
                        </a:lnTo>
                        <a:lnTo>
                          <a:pt x="0" y="871"/>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32" name="Freeform 87"/>
                  <p:cNvSpPr>
                    <a:spLocks/>
                  </p:cNvSpPr>
                  <p:nvPr/>
                </p:nvSpPr>
                <p:spPr bwMode="gray">
                  <a:xfrm>
                    <a:off x="5055319" y="2595604"/>
                    <a:ext cx="41903" cy="119863"/>
                  </a:xfrm>
                  <a:custGeom>
                    <a:avLst/>
                    <a:gdLst>
                      <a:gd name="T0" fmla="*/ 1 w 86"/>
                      <a:gd name="T1" fmla="*/ 139 h 247"/>
                      <a:gd name="T2" fmla="*/ 0 w 86"/>
                      <a:gd name="T3" fmla="*/ 216 h 247"/>
                      <a:gd name="T4" fmla="*/ 18 w 86"/>
                      <a:gd name="T5" fmla="*/ 247 h 247"/>
                      <a:gd name="T6" fmla="*/ 33 w 86"/>
                      <a:gd name="T7" fmla="*/ 156 h 247"/>
                      <a:gd name="T8" fmla="*/ 61 w 86"/>
                      <a:gd name="T9" fmla="*/ 118 h 247"/>
                      <a:gd name="T10" fmla="*/ 86 w 86"/>
                      <a:gd name="T11" fmla="*/ 0 h 247"/>
                      <a:gd name="T12" fmla="*/ 36 w 86"/>
                      <a:gd name="T13" fmla="*/ 27 h 247"/>
                      <a:gd name="T14" fmla="*/ 1 w 86"/>
                      <a:gd name="T15" fmla="*/ 139 h 247"/>
                      <a:gd name="T16" fmla="*/ 0 60000 65536"/>
                      <a:gd name="T17" fmla="*/ 0 60000 65536"/>
                      <a:gd name="T18" fmla="*/ 0 60000 65536"/>
                      <a:gd name="T19" fmla="*/ 0 60000 65536"/>
                      <a:gd name="T20" fmla="*/ 0 60000 65536"/>
                      <a:gd name="T21" fmla="*/ 0 60000 65536"/>
                      <a:gd name="T22" fmla="*/ 0 60000 65536"/>
                      <a:gd name="T23" fmla="*/ 0 60000 65536"/>
                      <a:gd name="T24" fmla="*/ 0 w 86"/>
                      <a:gd name="T25" fmla="*/ 0 h 247"/>
                      <a:gd name="T26" fmla="*/ 86 w 86"/>
                      <a:gd name="T27" fmla="*/ 247 h 2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6" h="247">
                        <a:moveTo>
                          <a:pt x="1" y="139"/>
                        </a:moveTo>
                        <a:lnTo>
                          <a:pt x="0" y="216"/>
                        </a:lnTo>
                        <a:lnTo>
                          <a:pt x="18" y="247"/>
                        </a:lnTo>
                        <a:lnTo>
                          <a:pt x="33" y="156"/>
                        </a:lnTo>
                        <a:lnTo>
                          <a:pt x="61" y="118"/>
                        </a:lnTo>
                        <a:lnTo>
                          <a:pt x="86" y="0"/>
                        </a:lnTo>
                        <a:lnTo>
                          <a:pt x="36" y="27"/>
                        </a:lnTo>
                        <a:lnTo>
                          <a:pt x="1" y="139"/>
                        </a:lnTo>
                        <a:close/>
                      </a:path>
                    </a:pathLst>
                  </a:custGeom>
                  <a:grpFill/>
                  <a:ln w="9525">
                    <a:solidFill>
                      <a:schemeClr val="tx1"/>
                    </a:solidFill>
                    <a:round/>
                    <a:headEnd/>
                    <a:tailEnd/>
                  </a:ln>
                </p:spPr>
                <p:txBody>
                  <a:bodyPr/>
                  <a:lstStyle/>
                  <a:p>
                    <a:pPr>
                      <a:defRPr/>
                    </a:pPr>
                    <a:endParaRPr lang="en-US" sz="1100" dirty="0">
                      <a:latin typeface="+mj-lt"/>
                    </a:endParaRPr>
                  </a:p>
                </p:txBody>
              </p:sp>
            </p:grpSp>
            <p:grpSp>
              <p:nvGrpSpPr>
                <p:cNvPr id="124" name="Group 112"/>
                <p:cNvGrpSpPr/>
                <p:nvPr/>
              </p:nvGrpSpPr>
              <p:grpSpPr bwMode="gray">
                <a:xfrm>
                  <a:off x="813361" y="1144588"/>
                  <a:ext cx="646088" cy="471653"/>
                  <a:chOff x="813361" y="1144588"/>
                  <a:chExt cx="646088" cy="471653"/>
                </a:xfrm>
                <a:grpFill/>
              </p:grpSpPr>
              <p:sp>
                <p:nvSpPr>
                  <p:cNvPr id="128" name="Freeform 88"/>
                  <p:cNvSpPr>
                    <a:spLocks/>
                  </p:cNvSpPr>
                  <p:nvPr/>
                </p:nvSpPr>
                <p:spPr bwMode="gray">
                  <a:xfrm>
                    <a:off x="813361" y="1144588"/>
                    <a:ext cx="646088" cy="471653"/>
                  </a:xfrm>
                  <a:custGeom>
                    <a:avLst/>
                    <a:gdLst>
                      <a:gd name="T0" fmla="*/ 46 w 1325"/>
                      <a:gd name="T1" fmla="*/ 266 h 966"/>
                      <a:gd name="T2" fmla="*/ 39 w 1325"/>
                      <a:gd name="T3" fmla="*/ 412 h 966"/>
                      <a:gd name="T4" fmla="*/ 56 w 1325"/>
                      <a:gd name="T5" fmla="*/ 430 h 966"/>
                      <a:gd name="T6" fmla="*/ 30 w 1325"/>
                      <a:gd name="T7" fmla="*/ 476 h 966"/>
                      <a:gd name="T8" fmla="*/ 41 w 1325"/>
                      <a:gd name="T9" fmla="*/ 501 h 966"/>
                      <a:gd name="T10" fmla="*/ 16 w 1325"/>
                      <a:gd name="T11" fmla="*/ 561 h 966"/>
                      <a:gd name="T12" fmla="*/ 0 w 1325"/>
                      <a:gd name="T13" fmla="*/ 571 h 966"/>
                      <a:gd name="T14" fmla="*/ 98 w 1325"/>
                      <a:gd name="T15" fmla="*/ 646 h 966"/>
                      <a:gd name="T16" fmla="*/ 165 w 1325"/>
                      <a:gd name="T17" fmla="*/ 779 h 966"/>
                      <a:gd name="T18" fmla="*/ 477 w 1325"/>
                      <a:gd name="T19" fmla="*/ 885 h 966"/>
                      <a:gd name="T20" fmla="*/ 1174 w 1325"/>
                      <a:gd name="T21" fmla="*/ 966 h 966"/>
                      <a:gd name="T22" fmla="*/ 408 w 1325"/>
                      <a:gd name="T23" fmla="*/ 0 h 966"/>
                      <a:gd name="T24" fmla="*/ 394 w 1325"/>
                      <a:gd name="T25" fmla="*/ 24 h 966"/>
                      <a:gd name="T26" fmla="*/ 404 w 1325"/>
                      <a:gd name="T27" fmla="*/ 66 h 966"/>
                      <a:gd name="T28" fmla="*/ 425 w 1325"/>
                      <a:gd name="T29" fmla="*/ 96 h 966"/>
                      <a:gd name="T30" fmla="*/ 391 w 1325"/>
                      <a:gd name="T31" fmla="*/ 120 h 966"/>
                      <a:gd name="T32" fmla="*/ 399 w 1325"/>
                      <a:gd name="T33" fmla="*/ 144 h 966"/>
                      <a:gd name="T34" fmla="*/ 417 w 1325"/>
                      <a:gd name="T35" fmla="*/ 249 h 966"/>
                      <a:gd name="T36" fmla="*/ 410 w 1325"/>
                      <a:gd name="T37" fmla="*/ 267 h 966"/>
                      <a:gd name="T38" fmla="*/ 375 w 1325"/>
                      <a:gd name="T39" fmla="*/ 330 h 966"/>
                      <a:gd name="T40" fmla="*/ 365 w 1325"/>
                      <a:gd name="T41" fmla="*/ 351 h 966"/>
                      <a:gd name="T42" fmla="*/ 342 w 1325"/>
                      <a:gd name="T43" fmla="*/ 430 h 966"/>
                      <a:gd name="T44" fmla="*/ 287 w 1325"/>
                      <a:gd name="T45" fmla="*/ 455 h 966"/>
                      <a:gd name="T46" fmla="*/ 263 w 1325"/>
                      <a:gd name="T47" fmla="*/ 444 h 966"/>
                      <a:gd name="T48" fmla="*/ 243 w 1325"/>
                      <a:gd name="T49" fmla="*/ 458 h 966"/>
                      <a:gd name="T50" fmla="*/ 248 w 1325"/>
                      <a:gd name="T51" fmla="*/ 429 h 966"/>
                      <a:gd name="T52" fmla="*/ 227 w 1325"/>
                      <a:gd name="T53" fmla="*/ 413 h 966"/>
                      <a:gd name="T54" fmla="*/ 260 w 1325"/>
                      <a:gd name="T55" fmla="*/ 397 h 966"/>
                      <a:gd name="T56" fmla="*/ 279 w 1325"/>
                      <a:gd name="T57" fmla="*/ 431 h 966"/>
                      <a:gd name="T58" fmla="*/ 302 w 1325"/>
                      <a:gd name="T59" fmla="*/ 409 h 966"/>
                      <a:gd name="T60" fmla="*/ 329 w 1325"/>
                      <a:gd name="T61" fmla="*/ 389 h 966"/>
                      <a:gd name="T62" fmla="*/ 316 w 1325"/>
                      <a:gd name="T63" fmla="*/ 350 h 966"/>
                      <a:gd name="T64" fmla="*/ 334 w 1325"/>
                      <a:gd name="T65" fmla="*/ 305 h 966"/>
                      <a:gd name="T66" fmla="*/ 356 w 1325"/>
                      <a:gd name="T67" fmla="*/ 255 h 966"/>
                      <a:gd name="T68" fmla="*/ 326 w 1325"/>
                      <a:gd name="T69" fmla="*/ 295 h 966"/>
                      <a:gd name="T70" fmla="*/ 263 w 1325"/>
                      <a:gd name="T71" fmla="*/ 338 h 966"/>
                      <a:gd name="T72" fmla="*/ 244 w 1325"/>
                      <a:gd name="T73" fmla="*/ 377 h 966"/>
                      <a:gd name="T74" fmla="*/ 289 w 1325"/>
                      <a:gd name="T75" fmla="*/ 304 h 966"/>
                      <a:gd name="T76" fmla="*/ 339 w 1325"/>
                      <a:gd name="T77" fmla="*/ 273 h 966"/>
                      <a:gd name="T78" fmla="*/ 345 w 1325"/>
                      <a:gd name="T79" fmla="*/ 232 h 966"/>
                      <a:gd name="T80" fmla="*/ 332 w 1325"/>
                      <a:gd name="T81" fmla="*/ 202 h 966"/>
                      <a:gd name="T82" fmla="*/ 317 w 1325"/>
                      <a:gd name="T83" fmla="*/ 208 h 966"/>
                      <a:gd name="T84" fmla="*/ 284 w 1325"/>
                      <a:gd name="T85" fmla="*/ 181 h 966"/>
                      <a:gd name="T86" fmla="*/ 55 w 1325"/>
                      <a:gd name="T87" fmla="*/ 47 h 96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325"/>
                      <a:gd name="T133" fmla="*/ 0 h 966"/>
                      <a:gd name="T134" fmla="*/ 1325 w 1325"/>
                      <a:gd name="T135" fmla="*/ 966 h 96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325" h="966">
                        <a:moveTo>
                          <a:pt x="30" y="167"/>
                        </a:moveTo>
                        <a:lnTo>
                          <a:pt x="49" y="210"/>
                        </a:lnTo>
                        <a:lnTo>
                          <a:pt x="46" y="266"/>
                        </a:lnTo>
                        <a:lnTo>
                          <a:pt x="41" y="318"/>
                        </a:lnTo>
                        <a:lnTo>
                          <a:pt x="48" y="339"/>
                        </a:lnTo>
                        <a:lnTo>
                          <a:pt x="39" y="412"/>
                        </a:lnTo>
                        <a:lnTo>
                          <a:pt x="61" y="397"/>
                        </a:lnTo>
                        <a:lnTo>
                          <a:pt x="92" y="426"/>
                        </a:lnTo>
                        <a:lnTo>
                          <a:pt x="56" y="430"/>
                        </a:lnTo>
                        <a:lnTo>
                          <a:pt x="36" y="428"/>
                        </a:lnTo>
                        <a:lnTo>
                          <a:pt x="33" y="457"/>
                        </a:lnTo>
                        <a:lnTo>
                          <a:pt x="30" y="476"/>
                        </a:lnTo>
                        <a:lnTo>
                          <a:pt x="62" y="476"/>
                        </a:lnTo>
                        <a:lnTo>
                          <a:pt x="67" y="489"/>
                        </a:lnTo>
                        <a:lnTo>
                          <a:pt x="41" y="501"/>
                        </a:lnTo>
                        <a:lnTo>
                          <a:pt x="46" y="529"/>
                        </a:lnTo>
                        <a:lnTo>
                          <a:pt x="28" y="562"/>
                        </a:lnTo>
                        <a:lnTo>
                          <a:pt x="16" y="561"/>
                        </a:lnTo>
                        <a:lnTo>
                          <a:pt x="29" y="513"/>
                        </a:lnTo>
                        <a:lnTo>
                          <a:pt x="22" y="499"/>
                        </a:lnTo>
                        <a:lnTo>
                          <a:pt x="0" y="571"/>
                        </a:lnTo>
                        <a:lnTo>
                          <a:pt x="36" y="595"/>
                        </a:lnTo>
                        <a:lnTo>
                          <a:pt x="93" y="621"/>
                        </a:lnTo>
                        <a:lnTo>
                          <a:pt x="98" y="646"/>
                        </a:lnTo>
                        <a:lnTo>
                          <a:pt x="124" y="650"/>
                        </a:lnTo>
                        <a:lnTo>
                          <a:pt x="173" y="747"/>
                        </a:lnTo>
                        <a:lnTo>
                          <a:pt x="165" y="779"/>
                        </a:lnTo>
                        <a:lnTo>
                          <a:pt x="242" y="845"/>
                        </a:lnTo>
                        <a:lnTo>
                          <a:pt x="377" y="840"/>
                        </a:lnTo>
                        <a:lnTo>
                          <a:pt x="477" y="885"/>
                        </a:lnTo>
                        <a:lnTo>
                          <a:pt x="525" y="875"/>
                        </a:lnTo>
                        <a:lnTo>
                          <a:pt x="828" y="885"/>
                        </a:lnTo>
                        <a:lnTo>
                          <a:pt x="1174" y="966"/>
                        </a:lnTo>
                        <a:lnTo>
                          <a:pt x="1181" y="860"/>
                        </a:lnTo>
                        <a:lnTo>
                          <a:pt x="1325" y="240"/>
                        </a:lnTo>
                        <a:lnTo>
                          <a:pt x="408" y="0"/>
                        </a:lnTo>
                        <a:lnTo>
                          <a:pt x="398" y="5"/>
                        </a:lnTo>
                        <a:lnTo>
                          <a:pt x="404" y="18"/>
                        </a:lnTo>
                        <a:lnTo>
                          <a:pt x="394" y="24"/>
                        </a:lnTo>
                        <a:lnTo>
                          <a:pt x="404" y="37"/>
                        </a:lnTo>
                        <a:lnTo>
                          <a:pt x="400" y="51"/>
                        </a:lnTo>
                        <a:lnTo>
                          <a:pt x="404" y="66"/>
                        </a:lnTo>
                        <a:lnTo>
                          <a:pt x="417" y="61"/>
                        </a:lnTo>
                        <a:lnTo>
                          <a:pt x="432" y="68"/>
                        </a:lnTo>
                        <a:lnTo>
                          <a:pt x="425" y="96"/>
                        </a:lnTo>
                        <a:lnTo>
                          <a:pt x="430" y="107"/>
                        </a:lnTo>
                        <a:lnTo>
                          <a:pt x="412" y="143"/>
                        </a:lnTo>
                        <a:lnTo>
                          <a:pt x="391" y="120"/>
                        </a:lnTo>
                        <a:lnTo>
                          <a:pt x="382" y="124"/>
                        </a:lnTo>
                        <a:lnTo>
                          <a:pt x="382" y="141"/>
                        </a:lnTo>
                        <a:lnTo>
                          <a:pt x="399" y="144"/>
                        </a:lnTo>
                        <a:lnTo>
                          <a:pt x="418" y="183"/>
                        </a:lnTo>
                        <a:lnTo>
                          <a:pt x="410" y="233"/>
                        </a:lnTo>
                        <a:lnTo>
                          <a:pt x="417" y="249"/>
                        </a:lnTo>
                        <a:lnTo>
                          <a:pt x="429" y="253"/>
                        </a:lnTo>
                        <a:lnTo>
                          <a:pt x="421" y="262"/>
                        </a:lnTo>
                        <a:lnTo>
                          <a:pt x="410" y="267"/>
                        </a:lnTo>
                        <a:lnTo>
                          <a:pt x="382" y="299"/>
                        </a:lnTo>
                        <a:lnTo>
                          <a:pt x="382" y="310"/>
                        </a:lnTo>
                        <a:lnTo>
                          <a:pt x="375" y="330"/>
                        </a:lnTo>
                        <a:lnTo>
                          <a:pt x="368" y="332"/>
                        </a:lnTo>
                        <a:lnTo>
                          <a:pt x="377" y="347"/>
                        </a:lnTo>
                        <a:lnTo>
                          <a:pt x="365" y="351"/>
                        </a:lnTo>
                        <a:lnTo>
                          <a:pt x="365" y="408"/>
                        </a:lnTo>
                        <a:lnTo>
                          <a:pt x="342" y="415"/>
                        </a:lnTo>
                        <a:lnTo>
                          <a:pt x="342" y="430"/>
                        </a:lnTo>
                        <a:lnTo>
                          <a:pt x="326" y="411"/>
                        </a:lnTo>
                        <a:lnTo>
                          <a:pt x="323" y="422"/>
                        </a:lnTo>
                        <a:lnTo>
                          <a:pt x="287" y="455"/>
                        </a:lnTo>
                        <a:lnTo>
                          <a:pt x="274" y="450"/>
                        </a:lnTo>
                        <a:lnTo>
                          <a:pt x="268" y="434"/>
                        </a:lnTo>
                        <a:lnTo>
                          <a:pt x="263" y="444"/>
                        </a:lnTo>
                        <a:lnTo>
                          <a:pt x="255" y="436"/>
                        </a:lnTo>
                        <a:lnTo>
                          <a:pt x="248" y="461"/>
                        </a:lnTo>
                        <a:lnTo>
                          <a:pt x="243" y="458"/>
                        </a:lnTo>
                        <a:lnTo>
                          <a:pt x="245" y="441"/>
                        </a:lnTo>
                        <a:lnTo>
                          <a:pt x="232" y="443"/>
                        </a:lnTo>
                        <a:lnTo>
                          <a:pt x="248" y="429"/>
                        </a:lnTo>
                        <a:lnTo>
                          <a:pt x="228" y="428"/>
                        </a:lnTo>
                        <a:lnTo>
                          <a:pt x="243" y="418"/>
                        </a:lnTo>
                        <a:lnTo>
                          <a:pt x="227" y="413"/>
                        </a:lnTo>
                        <a:lnTo>
                          <a:pt x="234" y="402"/>
                        </a:lnTo>
                        <a:lnTo>
                          <a:pt x="250" y="413"/>
                        </a:lnTo>
                        <a:lnTo>
                          <a:pt x="260" y="397"/>
                        </a:lnTo>
                        <a:lnTo>
                          <a:pt x="287" y="383"/>
                        </a:lnTo>
                        <a:lnTo>
                          <a:pt x="273" y="416"/>
                        </a:lnTo>
                        <a:lnTo>
                          <a:pt x="279" y="431"/>
                        </a:lnTo>
                        <a:lnTo>
                          <a:pt x="289" y="400"/>
                        </a:lnTo>
                        <a:lnTo>
                          <a:pt x="315" y="387"/>
                        </a:lnTo>
                        <a:lnTo>
                          <a:pt x="302" y="409"/>
                        </a:lnTo>
                        <a:lnTo>
                          <a:pt x="316" y="421"/>
                        </a:lnTo>
                        <a:lnTo>
                          <a:pt x="316" y="403"/>
                        </a:lnTo>
                        <a:lnTo>
                          <a:pt x="329" y="389"/>
                        </a:lnTo>
                        <a:lnTo>
                          <a:pt x="343" y="366"/>
                        </a:lnTo>
                        <a:lnTo>
                          <a:pt x="340" y="348"/>
                        </a:lnTo>
                        <a:lnTo>
                          <a:pt x="316" y="350"/>
                        </a:lnTo>
                        <a:lnTo>
                          <a:pt x="320" y="328"/>
                        </a:lnTo>
                        <a:lnTo>
                          <a:pt x="333" y="340"/>
                        </a:lnTo>
                        <a:lnTo>
                          <a:pt x="334" y="305"/>
                        </a:lnTo>
                        <a:lnTo>
                          <a:pt x="365" y="307"/>
                        </a:lnTo>
                        <a:lnTo>
                          <a:pt x="367" y="273"/>
                        </a:lnTo>
                        <a:lnTo>
                          <a:pt x="356" y="255"/>
                        </a:lnTo>
                        <a:lnTo>
                          <a:pt x="355" y="287"/>
                        </a:lnTo>
                        <a:lnTo>
                          <a:pt x="347" y="280"/>
                        </a:lnTo>
                        <a:lnTo>
                          <a:pt x="326" y="295"/>
                        </a:lnTo>
                        <a:lnTo>
                          <a:pt x="313" y="315"/>
                        </a:lnTo>
                        <a:lnTo>
                          <a:pt x="295" y="317"/>
                        </a:lnTo>
                        <a:lnTo>
                          <a:pt x="263" y="338"/>
                        </a:lnTo>
                        <a:lnTo>
                          <a:pt x="238" y="366"/>
                        </a:lnTo>
                        <a:lnTo>
                          <a:pt x="282" y="367"/>
                        </a:lnTo>
                        <a:lnTo>
                          <a:pt x="244" y="377"/>
                        </a:lnTo>
                        <a:lnTo>
                          <a:pt x="227" y="370"/>
                        </a:lnTo>
                        <a:lnTo>
                          <a:pt x="263" y="317"/>
                        </a:lnTo>
                        <a:lnTo>
                          <a:pt x="289" y="304"/>
                        </a:lnTo>
                        <a:lnTo>
                          <a:pt x="317" y="271"/>
                        </a:lnTo>
                        <a:lnTo>
                          <a:pt x="322" y="289"/>
                        </a:lnTo>
                        <a:lnTo>
                          <a:pt x="339" y="273"/>
                        </a:lnTo>
                        <a:lnTo>
                          <a:pt x="355" y="237"/>
                        </a:lnTo>
                        <a:lnTo>
                          <a:pt x="351" y="213"/>
                        </a:lnTo>
                        <a:lnTo>
                          <a:pt x="345" y="232"/>
                        </a:lnTo>
                        <a:lnTo>
                          <a:pt x="335" y="229"/>
                        </a:lnTo>
                        <a:lnTo>
                          <a:pt x="343" y="202"/>
                        </a:lnTo>
                        <a:lnTo>
                          <a:pt x="332" y="202"/>
                        </a:lnTo>
                        <a:lnTo>
                          <a:pt x="329" y="226"/>
                        </a:lnTo>
                        <a:lnTo>
                          <a:pt x="319" y="233"/>
                        </a:lnTo>
                        <a:lnTo>
                          <a:pt x="317" y="208"/>
                        </a:lnTo>
                        <a:lnTo>
                          <a:pt x="308" y="202"/>
                        </a:lnTo>
                        <a:lnTo>
                          <a:pt x="300" y="214"/>
                        </a:lnTo>
                        <a:lnTo>
                          <a:pt x="284" y="181"/>
                        </a:lnTo>
                        <a:lnTo>
                          <a:pt x="254" y="180"/>
                        </a:lnTo>
                        <a:lnTo>
                          <a:pt x="137" y="120"/>
                        </a:lnTo>
                        <a:lnTo>
                          <a:pt x="55" y="47"/>
                        </a:lnTo>
                        <a:lnTo>
                          <a:pt x="32" y="100"/>
                        </a:lnTo>
                        <a:lnTo>
                          <a:pt x="30" y="167"/>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29" name="Freeform 89"/>
                  <p:cNvSpPr>
                    <a:spLocks/>
                  </p:cNvSpPr>
                  <p:nvPr/>
                </p:nvSpPr>
                <p:spPr bwMode="gray">
                  <a:xfrm>
                    <a:off x="965382" y="1172848"/>
                    <a:ext cx="29235" cy="35082"/>
                  </a:xfrm>
                  <a:custGeom>
                    <a:avLst/>
                    <a:gdLst>
                      <a:gd name="T0" fmla="*/ 0 w 60"/>
                      <a:gd name="T1" fmla="*/ 32 h 72"/>
                      <a:gd name="T2" fmla="*/ 49 w 60"/>
                      <a:gd name="T3" fmla="*/ 0 h 72"/>
                      <a:gd name="T4" fmla="*/ 60 w 60"/>
                      <a:gd name="T5" fmla="*/ 30 h 72"/>
                      <a:gd name="T6" fmla="*/ 50 w 60"/>
                      <a:gd name="T7" fmla="*/ 72 h 72"/>
                      <a:gd name="T8" fmla="*/ 0 w 60"/>
                      <a:gd name="T9" fmla="*/ 32 h 72"/>
                      <a:gd name="T10" fmla="*/ 0 60000 65536"/>
                      <a:gd name="T11" fmla="*/ 0 60000 65536"/>
                      <a:gd name="T12" fmla="*/ 0 60000 65536"/>
                      <a:gd name="T13" fmla="*/ 0 60000 65536"/>
                      <a:gd name="T14" fmla="*/ 0 60000 65536"/>
                      <a:gd name="T15" fmla="*/ 0 w 60"/>
                      <a:gd name="T16" fmla="*/ 0 h 72"/>
                      <a:gd name="T17" fmla="*/ 60 w 60"/>
                      <a:gd name="T18" fmla="*/ 72 h 72"/>
                    </a:gdLst>
                    <a:ahLst/>
                    <a:cxnLst>
                      <a:cxn ang="T10">
                        <a:pos x="T0" y="T1"/>
                      </a:cxn>
                      <a:cxn ang="T11">
                        <a:pos x="T2" y="T3"/>
                      </a:cxn>
                      <a:cxn ang="T12">
                        <a:pos x="T4" y="T5"/>
                      </a:cxn>
                      <a:cxn ang="T13">
                        <a:pos x="T6" y="T7"/>
                      </a:cxn>
                      <a:cxn ang="T14">
                        <a:pos x="T8" y="T9"/>
                      </a:cxn>
                    </a:cxnLst>
                    <a:rect l="T15" t="T16" r="T17" b="T18"/>
                    <a:pathLst>
                      <a:path w="60" h="72">
                        <a:moveTo>
                          <a:pt x="0" y="32"/>
                        </a:moveTo>
                        <a:lnTo>
                          <a:pt x="49" y="0"/>
                        </a:lnTo>
                        <a:lnTo>
                          <a:pt x="60" y="30"/>
                        </a:lnTo>
                        <a:lnTo>
                          <a:pt x="50" y="72"/>
                        </a:lnTo>
                        <a:lnTo>
                          <a:pt x="0" y="32"/>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30" name="Freeform 90"/>
                  <p:cNvSpPr>
                    <a:spLocks/>
                  </p:cNvSpPr>
                  <p:nvPr/>
                </p:nvSpPr>
                <p:spPr bwMode="gray">
                  <a:xfrm>
                    <a:off x="985847" y="1218649"/>
                    <a:ext cx="21439" cy="49699"/>
                  </a:xfrm>
                  <a:custGeom>
                    <a:avLst/>
                    <a:gdLst>
                      <a:gd name="T0" fmla="*/ 0 w 44"/>
                      <a:gd name="T1" fmla="*/ 28 h 103"/>
                      <a:gd name="T2" fmla="*/ 26 w 44"/>
                      <a:gd name="T3" fmla="*/ 0 h 103"/>
                      <a:gd name="T4" fmla="*/ 44 w 44"/>
                      <a:gd name="T5" fmla="*/ 17 h 103"/>
                      <a:gd name="T6" fmla="*/ 32 w 44"/>
                      <a:gd name="T7" fmla="*/ 103 h 103"/>
                      <a:gd name="T8" fmla="*/ 0 w 44"/>
                      <a:gd name="T9" fmla="*/ 28 h 103"/>
                      <a:gd name="T10" fmla="*/ 0 60000 65536"/>
                      <a:gd name="T11" fmla="*/ 0 60000 65536"/>
                      <a:gd name="T12" fmla="*/ 0 60000 65536"/>
                      <a:gd name="T13" fmla="*/ 0 60000 65536"/>
                      <a:gd name="T14" fmla="*/ 0 60000 65536"/>
                      <a:gd name="T15" fmla="*/ 0 w 44"/>
                      <a:gd name="T16" fmla="*/ 0 h 103"/>
                      <a:gd name="T17" fmla="*/ 44 w 44"/>
                      <a:gd name="T18" fmla="*/ 103 h 103"/>
                    </a:gdLst>
                    <a:ahLst/>
                    <a:cxnLst>
                      <a:cxn ang="T10">
                        <a:pos x="T0" y="T1"/>
                      </a:cxn>
                      <a:cxn ang="T11">
                        <a:pos x="T2" y="T3"/>
                      </a:cxn>
                      <a:cxn ang="T12">
                        <a:pos x="T4" y="T5"/>
                      </a:cxn>
                      <a:cxn ang="T13">
                        <a:pos x="T6" y="T7"/>
                      </a:cxn>
                      <a:cxn ang="T14">
                        <a:pos x="T8" y="T9"/>
                      </a:cxn>
                    </a:cxnLst>
                    <a:rect l="T15" t="T16" r="T17" b="T18"/>
                    <a:pathLst>
                      <a:path w="44" h="103">
                        <a:moveTo>
                          <a:pt x="0" y="28"/>
                        </a:moveTo>
                        <a:lnTo>
                          <a:pt x="26" y="0"/>
                        </a:lnTo>
                        <a:lnTo>
                          <a:pt x="44" y="17"/>
                        </a:lnTo>
                        <a:lnTo>
                          <a:pt x="32" y="103"/>
                        </a:lnTo>
                        <a:lnTo>
                          <a:pt x="0" y="28"/>
                        </a:lnTo>
                        <a:close/>
                      </a:path>
                    </a:pathLst>
                  </a:custGeom>
                  <a:grpFill/>
                  <a:ln w="9525">
                    <a:solidFill>
                      <a:schemeClr val="tx1"/>
                    </a:solidFill>
                    <a:round/>
                    <a:headEnd/>
                    <a:tailEnd/>
                  </a:ln>
                </p:spPr>
                <p:txBody>
                  <a:bodyPr/>
                  <a:lstStyle/>
                  <a:p>
                    <a:pPr>
                      <a:defRPr/>
                    </a:pPr>
                    <a:endParaRPr lang="en-US" sz="1100" dirty="0">
                      <a:latin typeface="+mj-lt"/>
                    </a:endParaRPr>
                  </a:p>
                </p:txBody>
              </p:sp>
            </p:grpSp>
            <p:sp>
              <p:nvSpPr>
                <p:cNvPr id="125" name="Freeform 91"/>
                <p:cNvSpPr>
                  <a:spLocks/>
                </p:cNvSpPr>
                <p:nvPr/>
              </p:nvSpPr>
              <p:spPr bwMode="gray">
                <a:xfrm>
                  <a:off x="4414104" y="2367573"/>
                  <a:ext cx="434623" cy="429751"/>
                </a:xfrm>
                <a:custGeom>
                  <a:avLst/>
                  <a:gdLst>
                    <a:gd name="T0" fmla="*/ 0 w 891"/>
                    <a:gd name="T1" fmla="*/ 611 h 884"/>
                    <a:gd name="T2" fmla="*/ 35 w 891"/>
                    <a:gd name="T3" fmla="*/ 733 h 884"/>
                    <a:gd name="T4" fmla="*/ 74 w 891"/>
                    <a:gd name="T5" fmla="*/ 775 h 884"/>
                    <a:gd name="T6" fmla="*/ 149 w 891"/>
                    <a:gd name="T7" fmla="*/ 818 h 884"/>
                    <a:gd name="T8" fmla="*/ 205 w 891"/>
                    <a:gd name="T9" fmla="*/ 884 h 884"/>
                    <a:gd name="T10" fmla="*/ 274 w 891"/>
                    <a:gd name="T11" fmla="*/ 851 h 884"/>
                    <a:gd name="T12" fmla="*/ 303 w 891"/>
                    <a:gd name="T13" fmla="*/ 871 h 884"/>
                    <a:gd name="T14" fmla="*/ 346 w 891"/>
                    <a:gd name="T15" fmla="*/ 851 h 884"/>
                    <a:gd name="T16" fmla="*/ 372 w 891"/>
                    <a:gd name="T17" fmla="*/ 814 h 884"/>
                    <a:gd name="T18" fmla="*/ 448 w 891"/>
                    <a:gd name="T19" fmla="*/ 801 h 884"/>
                    <a:gd name="T20" fmla="*/ 488 w 891"/>
                    <a:gd name="T21" fmla="*/ 747 h 884"/>
                    <a:gd name="T22" fmla="*/ 468 w 891"/>
                    <a:gd name="T23" fmla="*/ 733 h 884"/>
                    <a:gd name="T24" fmla="*/ 540 w 891"/>
                    <a:gd name="T25" fmla="*/ 569 h 884"/>
                    <a:gd name="T26" fmla="*/ 557 w 891"/>
                    <a:gd name="T27" fmla="*/ 485 h 884"/>
                    <a:gd name="T28" fmla="*/ 626 w 891"/>
                    <a:gd name="T29" fmla="*/ 518 h 884"/>
                    <a:gd name="T30" fmla="*/ 661 w 891"/>
                    <a:gd name="T31" fmla="*/ 422 h 884"/>
                    <a:gd name="T32" fmla="*/ 697 w 891"/>
                    <a:gd name="T33" fmla="*/ 416 h 884"/>
                    <a:gd name="T34" fmla="*/ 749 w 891"/>
                    <a:gd name="T35" fmla="*/ 324 h 884"/>
                    <a:gd name="T36" fmla="*/ 765 w 891"/>
                    <a:gd name="T37" fmla="*/ 226 h 884"/>
                    <a:gd name="T38" fmla="*/ 873 w 891"/>
                    <a:gd name="T39" fmla="*/ 287 h 884"/>
                    <a:gd name="T40" fmla="*/ 891 w 891"/>
                    <a:gd name="T41" fmla="*/ 237 h 884"/>
                    <a:gd name="T42" fmla="*/ 863 w 891"/>
                    <a:gd name="T43" fmla="*/ 198 h 884"/>
                    <a:gd name="T44" fmla="*/ 814 w 891"/>
                    <a:gd name="T45" fmla="*/ 176 h 884"/>
                    <a:gd name="T46" fmla="*/ 756 w 891"/>
                    <a:gd name="T47" fmla="*/ 182 h 884"/>
                    <a:gd name="T48" fmla="*/ 735 w 891"/>
                    <a:gd name="T49" fmla="*/ 216 h 884"/>
                    <a:gd name="T50" fmla="*/ 628 w 891"/>
                    <a:gd name="T51" fmla="*/ 246 h 884"/>
                    <a:gd name="T52" fmla="*/ 560 w 891"/>
                    <a:gd name="T53" fmla="*/ 326 h 884"/>
                    <a:gd name="T54" fmla="*/ 537 w 891"/>
                    <a:gd name="T55" fmla="*/ 199 h 884"/>
                    <a:gd name="T56" fmla="*/ 345 w 891"/>
                    <a:gd name="T57" fmla="*/ 231 h 884"/>
                    <a:gd name="T58" fmla="*/ 307 w 891"/>
                    <a:gd name="T59" fmla="*/ 0 h 884"/>
                    <a:gd name="T60" fmla="*/ 280 w 891"/>
                    <a:gd name="T61" fmla="*/ 20 h 884"/>
                    <a:gd name="T62" fmla="*/ 297 w 891"/>
                    <a:gd name="T63" fmla="*/ 63 h 884"/>
                    <a:gd name="T64" fmla="*/ 272 w 891"/>
                    <a:gd name="T65" fmla="*/ 268 h 884"/>
                    <a:gd name="T66" fmla="*/ 238 w 891"/>
                    <a:gd name="T67" fmla="*/ 313 h 884"/>
                    <a:gd name="T68" fmla="*/ 133 w 891"/>
                    <a:gd name="T69" fmla="*/ 390 h 884"/>
                    <a:gd name="T70" fmla="*/ 114 w 891"/>
                    <a:gd name="T71" fmla="*/ 478 h 884"/>
                    <a:gd name="T72" fmla="*/ 74 w 891"/>
                    <a:gd name="T73" fmla="*/ 456 h 884"/>
                    <a:gd name="T74" fmla="*/ 63 w 891"/>
                    <a:gd name="T75" fmla="*/ 558 h 884"/>
                    <a:gd name="T76" fmla="*/ 0 w 891"/>
                    <a:gd name="T77" fmla="*/ 611 h 8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891"/>
                    <a:gd name="T118" fmla="*/ 0 h 884"/>
                    <a:gd name="T119" fmla="*/ 891 w 891"/>
                    <a:gd name="T120" fmla="*/ 884 h 88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891" h="884">
                      <a:moveTo>
                        <a:pt x="0" y="611"/>
                      </a:moveTo>
                      <a:lnTo>
                        <a:pt x="35" y="733"/>
                      </a:lnTo>
                      <a:lnTo>
                        <a:pt x="74" y="775"/>
                      </a:lnTo>
                      <a:lnTo>
                        <a:pt x="149" y="818"/>
                      </a:lnTo>
                      <a:lnTo>
                        <a:pt x="205" y="884"/>
                      </a:lnTo>
                      <a:lnTo>
                        <a:pt x="274" y="851"/>
                      </a:lnTo>
                      <a:lnTo>
                        <a:pt x="303" y="871"/>
                      </a:lnTo>
                      <a:lnTo>
                        <a:pt x="346" y="851"/>
                      </a:lnTo>
                      <a:lnTo>
                        <a:pt x="372" y="814"/>
                      </a:lnTo>
                      <a:lnTo>
                        <a:pt x="448" y="801"/>
                      </a:lnTo>
                      <a:lnTo>
                        <a:pt x="488" y="747"/>
                      </a:lnTo>
                      <a:lnTo>
                        <a:pt x="468" y="733"/>
                      </a:lnTo>
                      <a:lnTo>
                        <a:pt x="540" y="569"/>
                      </a:lnTo>
                      <a:lnTo>
                        <a:pt x="557" y="485"/>
                      </a:lnTo>
                      <a:lnTo>
                        <a:pt x="626" y="518"/>
                      </a:lnTo>
                      <a:lnTo>
                        <a:pt x="661" y="422"/>
                      </a:lnTo>
                      <a:lnTo>
                        <a:pt x="697" y="416"/>
                      </a:lnTo>
                      <a:lnTo>
                        <a:pt x="749" y="324"/>
                      </a:lnTo>
                      <a:lnTo>
                        <a:pt x="765" y="226"/>
                      </a:lnTo>
                      <a:lnTo>
                        <a:pt x="873" y="287"/>
                      </a:lnTo>
                      <a:lnTo>
                        <a:pt x="891" y="237"/>
                      </a:lnTo>
                      <a:lnTo>
                        <a:pt x="863" y="198"/>
                      </a:lnTo>
                      <a:lnTo>
                        <a:pt x="814" y="176"/>
                      </a:lnTo>
                      <a:lnTo>
                        <a:pt x="756" y="182"/>
                      </a:lnTo>
                      <a:lnTo>
                        <a:pt x="735" y="216"/>
                      </a:lnTo>
                      <a:lnTo>
                        <a:pt x="628" y="246"/>
                      </a:lnTo>
                      <a:lnTo>
                        <a:pt x="560" y="326"/>
                      </a:lnTo>
                      <a:lnTo>
                        <a:pt x="537" y="199"/>
                      </a:lnTo>
                      <a:lnTo>
                        <a:pt x="345" y="231"/>
                      </a:lnTo>
                      <a:lnTo>
                        <a:pt x="307" y="0"/>
                      </a:lnTo>
                      <a:lnTo>
                        <a:pt x="280" y="20"/>
                      </a:lnTo>
                      <a:lnTo>
                        <a:pt x="297" y="63"/>
                      </a:lnTo>
                      <a:lnTo>
                        <a:pt x="272" y="268"/>
                      </a:lnTo>
                      <a:lnTo>
                        <a:pt x="238" y="313"/>
                      </a:lnTo>
                      <a:lnTo>
                        <a:pt x="133" y="390"/>
                      </a:lnTo>
                      <a:lnTo>
                        <a:pt x="114" y="478"/>
                      </a:lnTo>
                      <a:lnTo>
                        <a:pt x="74" y="456"/>
                      </a:lnTo>
                      <a:lnTo>
                        <a:pt x="63" y="558"/>
                      </a:lnTo>
                      <a:lnTo>
                        <a:pt x="0" y="611"/>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26" name="Freeform 92"/>
                <p:cNvSpPr>
                  <a:spLocks/>
                </p:cNvSpPr>
                <p:nvPr/>
              </p:nvSpPr>
              <p:spPr bwMode="gray">
                <a:xfrm>
                  <a:off x="3415251" y="1698099"/>
                  <a:ext cx="510633" cy="538893"/>
                </a:xfrm>
                <a:custGeom>
                  <a:avLst/>
                  <a:gdLst>
                    <a:gd name="T0" fmla="*/ 0 w 1049"/>
                    <a:gd name="T1" fmla="*/ 337 h 1106"/>
                    <a:gd name="T2" fmla="*/ 27 w 1049"/>
                    <a:gd name="T3" fmla="*/ 422 h 1106"/>
                    <a:gd name="T4" fmla="*/ 24 w 1049"/>
                    <a:gd name="T5" fmla="*/ 558 h 1106"/>
                    <a:gd name="T6" fmla="*/ 150 w 1049"/>
                    <a:gd name="T7" fmla="*/ 637 h 1106"/>
                    <a:gd name="T8" fmla="*/ 201 w 1049"/>
                    <a:gd name="T9" fmla="*/ 693 h 1106"/>
                    <a:gd name="T10" fmla="*/ 274 w 1049"/>
                    <a:gd name="T11" fmla="*/ 740 h 1106"/>
                    <a:gd name="T12" fmla="*/ 303 w 1049"/>
                    <a:gd name="T13" fmla="*/ 773 h 1106"/>
                    <a:gd name="T14" fmla="*/ 318 w 1049"/>
                    <a:gd name="T15" fmla="*/ 863 h 1106"/>
                    <a:gd name="T16" fmla="*/ 337 w 1049"/>
                    <a:gd name="T17" fmla="*/ 989 h 1106"/>
                    <a:gd name="T18" fmla="*/ 436 w 1049"/>
                    <a:gd name="T19" fmla="*/ 1106 h 1106"/>
                    <a:gd name="T20" fmla="*/ 957 w 1049"/>
                    <a:gd name="T21" fmla="*/ 1073 h 1106"/>
                    <a:gd name="T22" fmla="*/ 926 w 1049"/>
                    <a:gd name="T23" fmla="*/ 902 h 1106"/>
                    <a:gd name="T24" fmla="*/ 945 w 1049"/>
                    <a:gd name="T25" fmla="*/ 724 h 1106"/>
                    <a:gd name="T26" fmla="*/ 975 w 1049"/>
                    <a:gd name="T27" fmla="*/ 645 h 1106"/>
                    <a:gd name="T28" fmla="*/ 971 w 1049"/>
                    <a:gd name="T29" fmla="*/ 573 h 1106"/>
                    <a:gd name="T30" fmla="*/ 1037 w 1049"/>
                    <a:gd name="T31" fmla="*/ 413 h 1106"/>
                    <a:gd name="T32" fmla="*/ 1049 w 1049"/>
                    <a:gd name="T33" fmla="*/ 371 h 1106"/>
                    <a:gd name="T34" fmla="*/ 1029 w 1049"/>
                    <a:gd name="T35" fmla="*/ 364 h 1106"/>
                    <a:gd name="T36" fmla="*/ 1003 w 1049"/>
                    <a:gd name="T37" fmla="*/ 397 h 1106"/>
                    <a:gd name="T38" fmla="*/ 982 w 1049"/>
                    <a:gd name="T39" fmla="*/ 481 h 1106"/>
                    <a:gd name="T40" fmla="*/ 939 w 1049"/>
                    <a:gd name="T41" fmla="*/ 488 h 1106"/>
                    <a:gd name="T42" fmla="*/ 920 w 1049"/>
                    <a:gd name="T43" fmla="*/ 537 h 1106"/>
                    <a:gd name="T44" fmla="*/ 877 w 1049"/>
                    <a:gd name="T45" fmla="*/ 571 h 1106"/>
                    <a:gd name="T46" fmla="*/ 880 w 1049"/>
                    <a:gd name="T47" fmla="*/ 518 h 1106"/>
                    <a:gd name="T48" fmla="*/ 909 w 1049"/>
                    <a:gd name="T49" fmla="*/ 461 h 1106"/>
                    <a:gd name="T50" fmla="*/ 938 w 1049"/>
                    <a:gd name="T51" fmla="*/ 444 h 1106"/>
                    <a:gd name="T52" fmla="*/ 941 w 1049"/>
                    <a:gd name="T53" fmla="*/ 421 h 1106"/>
                    <a:gd name="T54" fmla="*/ 884 w 1049"/>
                    <a:gd name="T55" fmla="*/ 268 h 1106"/>
                    <a:gd name="T56" fmla="*/ 845 w 1049"/>
                    <a:gd name="T57" fmla="*/ 257 h 1106"/>
                    <a:gd name="T58" fmla="*/ 831 w 1049"/>
                    <a:gd name="T59" fmla="*/ 221 h 1106"/>
                    <a:gd name="T60" fmla="*/ 730 w 1049"/>
                    <a:gd name="T61" fmla="*/ 209 h 1106"/>
                    <a:gd name="T62" fmla="*/ 512 w 1049"/>
                    <a:gd name="T63" fmla="*/ 153 h 1106"/>
                    <a:gd name="T64" fmla="*/ 423 w 1049"/>
                    <a:gd name="T65" fmla="*/ 90 h 1106"/>
                    <a:gd name="T66" fmla="*/ 373 w 1049"/>
                    <a:gd name="T67" fmla="*/ 68 h 1106"/>
                    <a:gd name="T68" fmla="*/ 344 w 1049"/>
                    <a:gd name="T69" fmla="*/ 89 h 1106"/>
                    <a:gd name="T70" fmla="*/ 333 w 1049"/>
                    <a:gd name="T71" fmla="*/ 84 h 1106"/>
                    <a:gd name="T72" fmla="*/ 349 w 1049"/>
                    <a:gd name="T73" fmla="*/ 68 h 1106"/>
                    <a:gd name="T74" fmla="*/ 350 w 1049"/>
                    <a:gd name="T75" fmla="*/ 38 h 1106"/>
                    <a:gd name="T76" fmla="*/ 359 w 1049"/>
                    <a:gd name="T77" fmla="*/ 30 h 1106"/>
                    <a:gd name="T78" fmla="*/ 360 w 1049"/>
                    <a:gd name="T79" fmla="*/ 8 h 1106"/>
                    <a:gd name="T80" fmla="*/ 346 w 1049"/>
                    <a:gd name="T81" fmla="*/ 0 h 1106"/>
                    <a:gd name="T82" fmla="*/ 225 w 1049"/>
                    <a:gd name="T83" fmla="*/ 56 h 1106"/>
                    <a:gd name="T84" fmla="*/ 180 w 1049"/>
                    <a:gd name="T85" fmla="*/ 73 h 1106"/>
                    <a:gd name="T86" fmla="*/ 161 w 1049"/>
                    <a:gd name="T87" fmla="*/ 76 h 1106"/>
                    <a:gd name="T88" fmla="*/ 130 w 1049"/>
                    <a:gd name="T89" fmla="*/ 59 h 1106"/>
                    <a:gd name="T90" fmla="*/ 124 w 1049"/>
                    <a:gd name="T91" fmla="*/ 73 h 1106"/>
                    <a:gd name="T92" fmla="*/ 121 w 1049"/>
                    <a:gd name="T93" fmla="*/ 58 h 1106"/>
                    <a:gd name="T94" fmla="*/ 96 w 1049"/>
                    <a:gd name="T95" fmla="*/ 79 h 1106"/>
                    <a:gd name="T96" fmla="*/ 102 w 1049"/>
                    <a:gd name="T97" fmla="*/ 207 h 1106"/>
                    <a:gd name="T98" fmla="*/ 0 w 1049"/>
                    <a:gd name="T99" fmla="*/ 337 h 110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049"/>
                    <a:gd name="T151" fmla="*/ 0 h 1106"/>
                    <a:gd name="T152" fmla="*/ 1049 w 1049"/>
                    <a:gd name="T153" fmla="*/ 1106 h 110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049" h="1106">
                      <a:moveTo>
                        <a:pt x="0" y="337"/>
                      </a:moveTo>
                      <a:lnTo>
                        <a:pt x="27" y="422"/>
                      </a:lnTo>
                      <a:lnTo>
                        <a:pt x="24" y="558"/>
                      </a:lnTo>
                      <a:lnTo>
                        <a:pt x="150" y="637"/>
                      </a:lnTo>
                      <a:lnTo>
                        <a:pt x="201" y="693"/>
                      </a:lnTo>
                      <a:lnTo>
                        <a:pt x="274" y="740"/>
                      </a:lnTo>
                      <a:lnTo>
                        <a:pt x="303" y="773"/>
                      </a:lnTo>
                      <a:lnTo>
                        <a:pt x="318" y="863"/>
                      </a:lnTo>
                      <a:lnTo>
                        <a:pt x="337" y="989"/>
                      </a:lnTo>
                      <a:lnTo>
                        <a:pt x="436" y="1106"/>
                      </a:lnTo>
                      <a:lnTo>
                        <a:pt x="957" y="1073"/>
                      </a:lnTo>
                      <a:lnTo>
                        <a:pt x="926" y="902"/>
                      </a:lnTo>
                      <a:lnTo>
                        <a:pt x="945" y="724"/>
                      </a:lnTo>
                      <a:lnTo>
                        <a:pt x="975" y="645"/>
                      </a:lnTo>
                      <a:lnTo>
                        <a:pt x="971" y="573"/>
                      </a:lnTo>
                      <a:lnTo>
                        <a:pt x="1037" y="413"/>
                      </a:lnTo>
                      <a:lnTo>
                        <a:pt x="1049" y="371"/>
                      </a:lnTo>
                      <a:lnTo>
                        <a:pt x="1029" y="364"/>
                      </a:lnTo>
                      <a:lnTo>
                        <a:pt x="1003" y="397"/>
                      </a:lnTo>
                      <a:lnTo>
                        <a:pt x="982" y="481"/>
                      </a:lnTo>
                      <a:lnTo>
                        <a:pt x="939" y="488"/>
                      </a:lnTo>
                      <a:lnTo>
                        <a:pt x="920" y="537"/>
                      </a:lnTo>
                      <a:lnTo>
                        <a:pt x="877" y="571"/>
                      </a:lnTo>
                      <a:lnTo>
                        <a:pt x="880" y="518"/>
                      </a:lnTo>
                      <a:lnTo>
                        <a:pt x="909" y="461"/>
                      </a:lnTo>
                      <a:lnTo>
                        <a:pt x="938" y="444"/>
                      </a:lnTo>
                      <a:lnTo>
                        <a:pt x="941" y="421"/>
                      </a:lnTo>
                      <a:lnTo>
                        <a:pt x="884" y="268"/>
                      </a:lnTo>
                      <a:lnTo>
                        <a:pt x="845" y="257"/>
                      </a:lnTo>
                      <a:lnTo>
                        <a:pt x="831" y="221"/>
                      </a:lnTo>
                      <a:lnTo>
                        <a:pt x="730" y="209"/>
                      </a:lnTo>
                      <a:lnTo>
                        <a:pt x="512" y="153"/>
                      </a:lnTo>
                      <a:lnTo>
                        <a:pt x="423" y="90"/>
                      </a:lnTo>
                      <a:lnTo>
                        <a:pt x="373" y="68"/>
                      </a:lnTo>
                      <a:lnTo>
                        <a:pt x="344" y="89"/>
                      </a:lnTo>
                      <a:lnTo>
                        <a:pt x="333" y="84"/>
                      </a:lnTo>
                      <a:lnTo>
                        <a:pt x="349" y="68"/>
                      </a:lnTo>
                      <a:lnTo>
                        <a:pt x="350" y="38"/>
                      </a:lnTo>
                      <a:lnTo>
                        <a:pt x="359" y="30"/>
                      </a:lnTo>
                      <a:lnTo>
                        <a:pt x="360" y="8"/>
                      </a:lnTo>
                      <a:lnTo>
                        <a:pt x="346" y="0"/>
                      </a:lnTo>
                      <a:lnTo>
                        <a:pt x="225" y="56"/>
                      </a:lnTo>
                      <a:lnTo>
                        <a:pt x="180" y="73"/>
                      </a:lnTo>
                      <a:lnTo>
                        <a:pt x="161" y="76"/>
                      </a:lnTo>
                      <a:lnTo>
                        <a:pt x="130" y="59"/>
                      </a:lnTo>
                      <a:lnTo>
                        <a:pt x="124" y="73"/>
                      </a:lnTo>
                      <a:lnTo>
                        <a:pt x="121" y="58"/>
                      </a:lnTo>
                      <a:lnTo>
                        <a:pt x="96" y="79"/>
                      </a:lnTo>
                      <a:lnTo>
                        <a:pt x="102" y="207"/>
                      </a:lnTo>
                      <a:lnTo>
                        <a:pt x="0" y="337"/>
                      </a:lnTo>
                      <a:close/>
                    </a:path>
                  </a:pathLst>
                </a:custGeom>
                <a:grpFill/>
                <a:ln w="9525">
                  <a:solidFill>
                    <a:schemeClr val="tx1"/>
                  </a:solidFill>
                  <a:round/>
                  <a:headEnd/>
                  <a:tailEnd/>
                </a:ln>
              </p:spPr>
              <p:txBody>
                <a:bodyPr/>
                <a:lstStyle/>
                <a:p>
                  <a:pPr>
                    <a:defRPr/>
                  </a:pPr>
                  <a:endParaRPr lang="en-US" sz="1100" dirty="0">
                    <a:latin typeface="+mj-lt"/>
                  </a:endParaRPr>
                </a:p>
              </p:txBody>
            </p:sp>
            <p:sp>
              <p:nvSpPr>
                <p:cNvPr id="127" name="Freeform 93"/>
                <p:cNvSpPr>
                  <a:spLocks/>
                </p:cNvSpPr>
                <p:nvPr/>
              </p:nvSpPr>
              <p:spPr bwMode="gray">
                <a:xfrm>
                  <a:off x="1776158" y="1834527"/>
                  <a:ext cx="679220" cy="562281"/>
                </a:xfrm>
                <a:custGeom>
                  <a:avLst/>
                  <a:gdLst>
                    <a:gd name="T0" fmla="*/ 0 w 1393"/>
                    <a:gd name="T1" fmla="*/ 991 h 1154"/>
                    <a:gd name="T2" fmla="*/ 42 w 1393"/>
                    <a:gd name="T3" fmla="*/ 742 h 1154"/>
                    <a:gd name="T4" fmla="*/ 142 w 1393"/>
                    <a:gd name="T5" fmla="*/ 124 h 1154"/>
                    <a:gd name="T6" fmla="*/ 164 w 1393"/>
                    <a:gd name="T7" fmla="*/ 0 h 1154"/>
                    <a:gd name="T8" fmla="*/ 715 w 1393"/>
                    <a:gd name="T9" fmla="*/ 82 h 1154"/>
                    <a:gd name="T10" fmla="*/ 1393 w 1393"/>
                    <a:gd name="T11" fmla="*/ 154 h 1154"/>
                    <a:gd name="T12" fmla="*/ 1347 w 1393"/>
                    <a:gd name="T13" fmla="*/ 654 h 1154"/>
                    <a:gd name="T14" fmla="*/ 1301 w 1393"/>
                    <a:gd name="T15" fmla="*/ 1154 h 1154"/>
                    <a:gd name="T16" fmla="*/ 371 w 1393"/>
                    <a:gd name="T17" fmla="*/ 1048 h 1154"/>
                    <a:gd name="T18" fmla="*/ 0 w 1393"/>
                    <a:gd name="T19" fmla="*/ 991 h 115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93"/>
                    <a:gd name="T31" fmla="*/ 0 h 1154"/>
                    <a:gd name="T32" fmla="*/ 1393 w 1393"/>
                    <a:gd name="T33" fmla="*/ 1154 h 115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93" h="1154">
                      <a:moveTo>
                        <a:pt x="0" y="991"/>
                      </a:moveTo>
                      <a:lnTo>
                        <a:pt x="42" y="742"/>
                      </a:lnTo>
                      <a:lnTo>
                        <a:pt x="142" y="124"/>
                      </a:lnTo>
                      <a:lnTo>
                        <a:pt x="164" y="0"/>
                      </a:lnTo>
                      <a:lnTo>
                        <a:pt x="715" y="82"/>
                      </a:lnTo>
                      <a:lnTo>
                        <a:pt x="1393" y="154"/>
                      </a:lnTo>
                      <a:lnTo>
                        <a:pt x="1347" y="654"/>
                      </a:lnTo>
                      <a:lnTo>
                        <a:pt x="1301" y="1154"/>
                      </a:lnTo>
                      <a:lnTo>
                        <a:pt x="371" y="1048"/>
                      </a:lnTo>
                      <a:lnTo>
                        <a:pt x="0" y="991"/>
                      </a:lnTo>
                      <a:close/>
                    </a:path>
                  </a:pathLst>
                </a:custGeom>
                <a:grpFill/>
                <a:ln w="9525">
                  <a:solidFill>
                    <a:schemeClr val="tx1"/>
                  </a:solidFill>
                  <a:round/>
                  <a:headEnd/>
                  <a:tailEnd/>
                </a:ln>
              </p:spPr>
              <p:txBody>
                <a:bodyPr/>
                <a:lstStyle/>
                <a:p>
                  <a:pPr>
                    <a:defRPr/>
                  </a:pPr>
                  <a:endParaRPr lang="en-US" sz="1100" dirty="0">
                    <a:latin typeface="+mj-lt"/>
                  </a:endParaRPr>
                </a:p>
              </p:txBody>
            </p:sp>
          </p:grpSp>
          <p:grpSp>
            <p:nvGrpSpPr>
              <p:cNvPr id="20" name="Group 206"/>
              <p:cNvGrpSpPr>
                <a:grpSpLocks/>
              </p:cNvGrpSpPr>
              <p:nvPr/>
            </p:nvGrpSpPr>
            <p:grpSpPr bwMode="auto">
              <a:xfrm>
                <a:off x="982246" y="1736230"/>
                <a:ext cx="4748794" cy="2538033"/>
                <a:chOff x="853240" y="1317667"/>
                <a:chExt cx="5116127" cy="2734392"/>
              </a:xfrm>
              <a:grpFill/>
            </p:grpSpPr>
            <p:sp>
              <p:nvSpPr>
                <p:cNvPr id="21" name="Rectangle 114"/>
                <p:cNvSpPr>
                  <a:spLocks/>
                </p:cNvSpPr>
                <p:nvPr/>
              </p:nvSpPr>
              <p:spPr bwMode="gray">
                <a:xfrm>
                  <a:off x="3487333" y="3558815"/>
                  <a:ext cx="214319" cy="126903"/>
                </a:xfrm>
                <a:prstGeom prst="rect">
                  <a:avLst/>
                </a:prstGeom>
                <a:no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LA</a:t>
                  </a:r>
                </a:p>
              </p:txBody>
            </p:sp>
            <p:sp>
              <p:nvSpPr>
                <p:cNvPr id="22" name="Rectangle 89"/>
                <p:cNvSpPr>
                  <a:spLocks/>
                </p:cNvSpPr>
                <p:nvPr/>
              </p:nvSpPr>
              <p:spPr bwMode="gray">
                <a:xfrm>
                  <a:off x="1152569" y="1317667"/>
                  <a:ext cx="267001" cy="128099"/>
                </a:xfrm>
                <a:prstGeom prst="rect">
                  <a:avLst/>
                </a:prstGeom>
                <a:grp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WA</a:t>
                  </a:r>
                </a:p>
              </p:txBody>
            </p:sp>
            <p:sp>
              <p:nvSpPr>
                <p:cNvPr id="23" name="Rectangle 90"/>
                <p:cNvSpPr>
                  <a:spLocks/>
                </p:cNvSpPr>
                <p:nvPr/>
              </p:nvSpPr>
              <p:spPr bwMode="gray">
                <a:xfrm>
                  <a:off x="1007693" y="1705558"/>
                  <a:ext cx="239463" cy="128099"/>
                </a:xfrm>
                <a:prstGeom prst="rect">
                  <a:avLst/>
                </a:prstGeom>
                <a:grp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OR</a:t>
                  </a:r>
                </a:p>
              </p:txBody>
            </p:sp>
            <p:sp>
              <p:nvSpPr>
                <p:cNvPr id="24" name="Rectangle 91"/>
                <p:cNvSpPr>
                  <a:spLocks/>
                </p:cNvSpPr>
                <p:nvPr/>
              </p:nvSpPr>
              <p:spPr bwMode="gray">
                <a:xfrm>
                  <a:off x="853240" y="2604650"/>
                  <a:ext cx="330459" cy="152044"/>
                </a:xfrm>
                <a:prstGeom prst="rect">
                  <a:avLst/>
                </a:prstGeom>
                <a:solidFill>
                  <a:schemeClr val="accent4">
                    <a:lumMod val="40000"/>
                    <a:lumOff val="60000"/>
                  </a:schemeClr>
                </a:solidFill>
                <a:ln w="12700">
                  <a:noFill/>
                  <a:miter lim="800000"/>
                  <a:headEnd/>
                  <a:tailEnd/>
                </a:ln>
              </p:spPr>
              <p:txBody>
                <a:bodyPr lIns="0" tIns="0" rIns="57787" bIns="0"/>
                <a:lstStyle/>
                <a:p>
                  <a:pPr marL="81639">
                    <a:defRPr/>
                  </a:pPr>
                  <a:r>
                    <a:rPr lang="en-US" sz="1100" b="1" dirty="0">
                      <a:latin typeface="+mj-lt"/>
                      <a:cs typeface="Times New Roman" charset="0"/>
                      <a:sym typeface="Times New Roman" charset="0"/>
                    </a:rPr>
                    <a:t>CA</a:t>
                  </a:r>
                </a:p>
              </p:txBody>
            </p:sp>
            <p:sp>
              <p:nvSpPr>
                <p:cNvPr id="25" name="Rectangle 92"/>
                <p:cNvSpPr>
                  <a:spLocks/>
                </p:cNvSpPr>
                <p:nvPr/>
              </p:nvSpPr>
              <p:spPr bwMode="gray">
                <a:xfrm>
                  <a:off x="1220815" y="2276619"/>
                  <a:ext cx="238266" cy="126903"/>
                </a:xfrm>
                <a:prstGeom prst="rect">
                  <a:avLst/>
                </a:prstGeom>
                <a:grp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NV</a:t>
                  </a:r>
                </a:p>
              </p:txBody>
            </p:sp>
            <p:sp>
              <p:nvSpPr>
                <p:cNvPr id="26" name="Rectangle 93"/>
                <p:cNvSpPr>
                  <a:spLocks/>
                </p:cNvSpPr>
                <p:nvPr/>
              </p:nvSpPr>
              <p:spPr bwMode="gray">
                <a:xfrm>
                  <a:off x="1572826" y="1891122"/>
                  <a:ext cx="201149" cy="128100"/>
                </a:xfrm>
                <a:prstGeom prst="rect">
                  <a:avLst/>
                </a:prstGeom>
                <a:grp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ID</a:t>
                  </a:r>
                </a:p>
              </p:txBody>
            </p:sp>
            <p:sp>
              <p:nvSpPr>
                <p:cNvPr id="27" name="Rectangle 94"/>
                <p:cNvSpPr>
                  <a:spLocks/>
                </p:cNvSpPr>
                <p:nvPr/>
              </p:nvSpPr>
              <p:spPr bwMode="gray">
                <a:xfrm>
                  <a:off x="2027806" y="1541542"/>
                  <a:ext cx="252634" cy="126903"/>
                </a:xfrm>
                <a:prstGeom prst="rect">
                  <a:avLst/>
                </a:prstGeom>
                <a:grp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MT</a:t>
                  </a:r>
                </a:p>
              </p:txBody>
            </p:sp>
            <p:sp>
              <p:nvSpPr>
                <p:cNvPr id="28" name="Rectangle 95"/>
                <p:cNvSpPr>
                  <a:spLocks/>
                </p:cNvSpPr>
                <p:nvPr/>
              </p:nvSpPr>
              <p:spPr bwMode="gray">
                <a:xfrm>
                  <a:off x="2124789" y="2040772"/>
                  <a:ext cx="247848" cy="127658"/>
                </a:xfrm>
                <a:prstGeom prst="rect">
                  <a:avLst/>
                </a:prstGeom>
                <a:grp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WY</a:t>
                  </a:r>
                </a:p>
              </p:txBody>
            </p:sp>
            <p:sp>
              <p:nvSpPr>
                <p:cNvPr id="29" name="Rectangle 96"/>
                <p:cNvSpPr>
                  <a:spLocks/>
                </p:cNvSpPr>
                <p:nvPr/>
              </p:nvSpPr>
              <p:spPr bwMode="gray">
                <a:xfrm>
                  <a:off x="1686571" y="2444226"/>
                  <a:ext cx="228687" cy="128100"/>
                </a:xfrm>
                <a:prstGeom prst="rect">
                  <a:avLst/>
                </a:prstGeom>
                <a:grp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UT</a:t>
                  </a:r>
                </a:p>
              </p:txBody>
            </p:sp>
            <p:sp>
              <p:nvSpPr>
                <p:cNvPr id="30" name="Rectangle 97"/>
                <p:cNvSpPr>
                  <a:spLocks/>
                </p:cNvSpPr>
                <p:nvPr/>
              </p:nvSpPr>
              <p:spPr bwMode="gray">
                <a:xfrm>
                  <a:off x="2251704" y="2537607"/>
                  <a:ext cx="235871" cy="126903"/>
                </a:xfrm>
                <a:prstGeom prst="rect">
                  <a:avLst/>
                </a:prstGeom>
                <a:grp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CO</a:t>
                  </a:r>
                </a:p>
              </p:txBody>
            </p:sp>
            <p:sp>
              <p:nvSpPr>
                <p:cNvPr id="31" name="Rectangle 98"/>
                <p:cNvSpPr>
                  <a:spLocks/>
                </p:cNvSpPr>
                <p:nvPr/>
              </p:nvSpPr>
              <p:spPr bwMode="gray">
                <a:xfrm>
                  <a:off x="1578813" y="3016485"/>
                  <a:ext cx="221503" cy="128100"/>
                </a:xfrm>
                <a:prstGeom prst="rect">
                  <a:avLst/>
                </a:prstGeom>
                <a:grp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AZ</a:t>
                  </a:r>
                </a:p>
              </p:txBody>
            </p:sp>
            <p:sp>
              <p:nvSpPr>
                <p:cNvPr id="32" name="Rectangle 99"/>
                <p:cNvSpPr>
                  <a:spLocks/>
                </p:cNvSpPr>
                <p:nvPr/>
              </p:nvSpPr>
              <p:spPr bwMode="gray">
                <a:xfrm>
                  <a:off x="2106828" y="3075148"/>
                  <a:ext cx="270593" cy="128099"/>
                </a:xfrm>
                <a:prstGeom prst="rect">
                  <a:avLst/>
                </a:prstGeom>
                <a:grp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NM</a:t>
                  </a:r>
                </a:p>
              </p:txBody>
            </p:sp>
            <p:sp>
              <p:nvSpPr>
                <p:cNvPr id="33" name="Rectangle 100"/>
                <p:cNvSpPr>
                  <a:spLocks/>
                </p:cNvSpPr>
                <p:nvPr/>
              </p:nvSpPr>
              <p:spPr bwMode="gray">
                <a:xfrm>
                  <a:off x="2792890" y="3527688"/>
                  <a:ext cx="209160" cy="127658"/>
                </a:xfrm>
                <a:prstGeom prst="rect">
                  <a:avLst/>
                </a:prstGeom>
                <a:grp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TX</a:t>
                  </a:r>
                </a:p>
              </p:txBody>
            </p:sp>
            <p:sp>
              <p:nvSpPr>
                <p:cNvPr id="34" name="Rectangle 101"/>
                <p:cNvSpPr>
                  <a:spLocks/>
                </p:cNvSpPr>
                <p:nvPr/>
              </p:nvSpPr>
              <p:spPr bwMode="gray">
                <a:xfrm>
                  <a:off x="2984461" y="3038035"/>
                  <a:ext cx="237068" cy="128100"/>
                </a:xfrm>
                <a:prstGeom prst="rect">
                  <a:avLst/>
                </a:prstGeom>
                <a:grp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OK</a:t>
                  </a:r>
                </a:p>
              </p:txBody>
            </p:sp>
            <p:sp>
              <p:nvSpPr>
                <p:cNvPr id="35" name="Rectangle 102"/>
                <p:cNvSpPr>
                  <a:spLocks/>
                </p:cNvSpPr>
                <p:nvPr/>
              </p:nvSpPr>
              <p:spPr bwMode="gray">
                <a:xfrm>
                  <a:off x="2727038" y="1566683"/>
                  <a:ext cx="243055" cy="128099"/>
                </a:xfrm>
                <a:prstGeom prst="rect">
                  <a:avLst/>
                </a:prstGeom>
                <a:grp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ND</a:t>
                  </a:r>
                </a:p>
              </p:txBody>
            </p:sp>
            <p:sp>
              <p:nvSpPr>
                <p:cNvPr id="36" name="Rectangle 103"/>
                <p:cNvSpPr>
                  <a:spLocks/>
                </p:cNvSpPr>
                <p:nvPr/>
              </p:nvSpPr>
              <p:spPr bwMode="gray">
                <a:xfrm>
                  <a:off x="2889873" y="2664510"/>
                  <a:ext cx="206742" cy="127658"/>
                </a:xfrm>
                <a:prstGeom prst="rect">
                  <a:avLst/>
                </a:prstGeom>
                <a:grp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KS</a:t>
                  </a:r>
                </a:p>
              </p:txBody>
            </p:sp>
            <p:sp>
              <p:nvSpPr>
                <p:cNvPr id="37" name="Rectangle 104"/>
                <p:cNvSpPr>
                  <a:spLocks/>
                </p:cNvSpPr>
                <p:nvPr/>
              </p:nvSpPr>
              <p:spPr bwMode="gray">
                <a:xfrm>
                  <a:off x="2756971" y="2292183"/>
                  <a:ext cx="228687" cy="126903"/>
                </a:xfrm>
                <a:prstGeom prst="rect">
                  <a:avLst/>
                </a:prstGeom>
                <a:grp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NE</a:t>
                  </a:r>
                </a:p>
              </p:txBody>
            </p:sp>
            <p:sp>
              <p:nvSpPr>
                <p:cNvPr id="38" name="Rectangle 105"/>
                <p:cNvSpPr>
                  <a:spLocks/>
                </p:cNvSpPr>
                <p:nvPr/>
              </p:nvSpPr>
              <p:spPr bwMode="gray">
                <a:xfrm>
                  <a:off x="2725841" y="1928236"/>
                  <a:ext cx="223898" cy="128099"/>
                </a:xfrm>
                <a:prstGeom prst="rect">
                  <a:avLst/>
                </a:prstGeom>
                <a:grp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SD</a:t>
                  </a:r>
                </a:p>
              </p:txBody>
            </p:sp>
            <p:sp>
              <p:nvSpPr>
                <p:cNvPr id="39" name="Rectangle 106"/>
                <p:cNvSpPr>
                  <a:spLocks/>
                </p:cNvSpPr>
                <p:nvPr/>
              </p:nvSpPr>
              <p:spPr bwMode="gray">
                <a:xfrm>
                  <a:off x="3468176" y="3100289"/>
                  <a:ext cx="221250" cy="127658"/>
                </a:xfrm>
                <a:prstGeom prst="rect">
                  <a:avLst/>
                </a:prstGeom>
                <a:grp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AR</a:t>
                  </a:r>
                </a:p>
              </p:txBody>
            </p:sp>
            <p:sp>
              <p:nvSpPr>
                <p:cNvPr id="40" name="Rectangle 107"/>
                <p:cNvSpPr>
                  <a:spLocks/>
                </p:cNvSpPr>
                <p:nvPr/>
              </p:nvSpPr>
              <p:spPr bwMode="gray">
                <a:xfrm>
                  <a:off x="3390350" y="2664510"/>
                  <a:ext cx="271791" cy="128100"/>
                </a:xfrm>
                <a:prstGeom prst="rect">
                  <a:avLst/>
                </a:prstGeom>
                <a:grp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MO</a:t>
                  </a:r>
                </a:p>
              </p:txBody>
            </p:sp>
            <p:sp>
              <p:nvSpPr>
                <p:cNvPr id="41" name="Rectangle 108"/>
                <p:cNvSpPr>
                  <a:spLocks/>
                </p:cNvSpPr>
                <p:nvPr/>
              </p:nvSpPr>
              <p:spPr bwMode="gray">
                <a:xfrm>
                  <a:off x="3342458" y="2234718"/>
                  <a:ext cx="197557" cy="126903"/>
                </a:xfrm>
                <a:prstGeom prst="rect">
                  <a:avLst/>
                </a:prstGeom>
                <a:grp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IA</a:t>
                  </a:r>
                </a:p>
              </p:txBody>
            </p:sp>
            <p:sp>
              <p:nvSpPr>
                <p:cNvPr id="42" name="Rectangle 109"/>
                <p:cNvSpPr>
                  <a:spLocks/>
                </p:cNvSpPr>
                <p:nvPr/>
              </p:nvSpPr>
              <p:spPr bwMode="gray">
                <a:xfrm>
                  <a:off x="3222726" y="1686403"/>
                  <a:ext cx="270593" cy="128099"/>
                </a:xfrm>
                <a:prstGeom prst="rect">
                  <a:avLst/>
                </a:prstGeom>
                <a:grp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MN</a:t>
                  </a:r>
                </a:p>
              </p:txBody>
            </p:sp>
            <p:sp>
              <p:nvSpPr>
                <p:cNvPr id="43" name="Rectangle 110"/>
                <p:cNvSpPr>
                  <a:spLocks/>
                </p:cNvSpPr>
                <p:nvPr/>
              </p:nvSpPr>
              <p:spPr bwMode="gray">
                <a:xfrm>
                  <a:off x="4355386" y="3293038"/>
                  <a:ext cx="238266" cy="126903"/>
                </a:xfrm>
                <a:prstGeom prst="rect">
                  <a:avLst/>
                </a:prstGeom>
                <a:grp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GA</a:t>
                  </a:r>
                </a:p>
              </p:txBody>
            </p:sp>
            <p:sp>
              <p:nvSpPr>
                <p:cNvPr id="44" name="Rectangle 111"/>
                <p:cNvSpPr>
                  <a:spLocks/>
                </p:cNvSpPr>
                <p:nvPr/>
              </p:nvSpPr>
              <p:spPr bwMode="gray">
                <a:xfrm>
                  <a:off x="3962667" y="2951837"/>
                  <a:ext cx="229885" cy="126903"/>
                </a:xfrm>
                <a:prstGeom prst="rect">
                  <a:avLst/>
                </a:prstGeom>
                <a:grp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TN</a:t>
                  </a:r>
                </a:p>
              </p:txBody>
            </p:sp>
            <p:sp>
              <p:nvSpPr>
                <p:cNvPr id="45" name="Rectangle 112"/>
                <p:cNvSpPr>
                  <a:spLocks/>
                </p:cNvSpPr>
                <p:nvPr/>
              </p:nvSpPr>
              <p:spPr bwMode="gray">
                <a:xfrm>
                  <a:off x="3735177" y="3320573"/>
                  <a:ext cx="250239" cy="128100"/>
                </a:xfrm>
                <a:prstGeom prst="rect">
                  <a:avLst/>
                </a:prstGeom>
                <a:grp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MS</a:t>
                  </a:r>
                </a:p>
              </p:txBody>
            </p:sp>
            <p:sp>
              <p:nvSpPr>
                <p:cNvPr id="46" name="Rectangle 113"/>
                <p:cNvSpPr>
                  <a:spLocks/>
                </p:cNvSpPr>
                <p:nvPr/>
              </p:nvSpPr>
              <p:spPr bwMode="gray">
                <a:xfrm>
                  <a:off x="4051268" y="3301418"/>
                  <a:ext cx="215517" cy="126903"/>
                </a:xfrm>
                <a:prstGeom prst="rect">
                  <a:avLst/>
                </a:prstGeom>
                <a:grp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AL</a:t>
                  </a:r>
                </a:p>
              </p:txBody>
            </p:sp>
            <p:sp>
              <p:nvSpPr>
                <p:cNvPr id="47" name="Rectangle 115"/>
                <p:cNvSpPr>
                  <a:spLocks/>
                </p:cNvSpPr>
                <p:nvPr/>
              </p:nvSpPr>
              <p:spPr bwMode="gray">
                <a:xfrm>
                  <a:off x="4111134" y="2080279"/>
                  <a:ext cx="227490" cy="128100"/>
                </a:xfrm>
                <a:prstGeom prst="rect">
                  <a:avLst/>
                </a:prstGeom>
                <a:no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MI</a:t>
                  </a:r>
                </a:p>
              </p:txBody>
            </p:sp>
            <p:sp>
              <p:nvSpPr>
                <p:cNvPr id="48" name="Rectangle 116"/>
                <p:cNvSpPr>
                  <a:spLocks/>
                </p:cNvSpPr>
                <p:nvPr/>
              </p:nvSpPr>
              <p:spPr bwMode="gray">
                <a:xfrm>
                  <a:off x="4299113" y="2379578"/>
                  <a:ext cx="246647" cy="126903"/>
                </a:xfrm>
                <a:prstGeom prst="rect">
                  <a:avLst/>
                </a:prstGeom>
                <a:grp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OH</a:t>
                  </a:r>
                </a:p>
              </p:txBody>
            </p:sp>
            <p:sp>
              <p:nvSpPr>
                <p:cNvPr id="49" name="Rectangle 117"/>
                <p:cNvSpPr>
                  <a:spLocks/>
                </p:cNvSpPr>
                <p:nvPr/>
              </p:nvSpPr>
              <p:spPr bwMode="gray">
                <a:xfrm>
                  <a:off x="4012954" y="2423874"/>
                  <a:ext cx="204741" cy="128099"/>
                </a:xfrm>
                <a:prstGeom prst="rect">
                  <a:avLst/>
                </a:prstGeom>
                <a:no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IN</a:t>
                  </a:r>
                </a:p>
              </p:txBody>
            </p:sp>
            <p:sp>
              <p:nvSpPr>
                <p:cNvPr id="50" name="Rectangle 118"/>
                <p:cNvSpPr>
                  <a:spLocks/>
                </p:cNvSpPr>
                <p:nvPr/>
              </p:nvSpPr>
              <p:spPr bwMode="gray">
                <a:xfrm>
                  <a:off x="3757926" y="2423874"/>
                  <a:ext cx="178400" cy="128099"/>
                </a:xfrm>
                <a:prstGeom prst="rect">
                  <a:avLst/>
                </a:prstGeom>
                <a:grp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IL</a:t>
                  </a:r>
                </a:p>
              </p:txBody>
            </p:sp>
            <p:sp>
              <p:nvSpPr>
                <p:cNvPr id="51" name="Rectangle 119"/>
                <p:cNvSpPr>
                  <a:spLocks/>
                </p:cNvSpPr>
                <p:nvPr/>
              </p:nvSpPr>
              <p:spPr bwMode="gray">
                <a:xfrm>
                  <a:off x="3620235" y="1897109"/>
                  <a:ext cx="231082" cy="128099"/>
                </a:xfrm>
                <a:prstGeom prst="rect">
                  <a:avLst/>
                </a:prstGeom>
                <a:grp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WI</a:t>
                  </a:r>
                </a:p>
              </p:txBody>
            </p:sp>
            <p:sp>
              <p:nvSpPr>
                <p:cNvPr id="52" name="Rectangle 120"/>
                <p:cNvSpPr>
                  <a:spLocks/>
                </p:cNvSpPr>
                <p:nvPr/>
              </p:nvSpPr>
              <p:spPr bwMode="gray">
                <a:xfrm>
                  <a:off x="4634361" y="3763535"/>
                  <a:ext cx="199951" cy="126903"/>
                </a:xfrm>
                <a:prstGeom prst="rect">
                  <a:avLst/>
                </a:prstGeom>
                <a:no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FL</a:t>
                  </a:r>
                </a:p>
              </p:txBody>
            </p:sp>
            <p:sp>
              <p:nvSpPr>
                <p:cNvPr id="53" name="Rectangle 121"/>
                <p:cNvSpPr>
                  <a:spLocks/>
                </p:cNvSpPr>
                <p:nvPr/>
              </p:nvSpPr>
              <p:spPr bwMode="gray">
                <a:xfrm>
                  <a:off x="4775644" y="2234718"/>
                  <a:ext cx="227490" cy="126903"/>
                </a:xfrm>
                <a:prstGeom prst="rect">
                  <a:avLst/>
                </a:prstGeom>
                <a:grp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PA</a:t>
                  </a:r>
                </a:p>
              </p:txBody>
            </p:sp>
            <p:sp>
              <p:nvSpPr>
                <p:cNvPr id="54" name="Rectangle 122"/>
                <p:cNvSpPr>
                  <a:spLocks/>
                </p:cNvSpPr>
                <p:nvPr/>
              </p:nvSpPr>
              <p:spPr bwMode="gray">
                <a:xfrm>
                  <a:off x="4774447" y="2634581"/>
                  <a:ext cx="223668" cy="127658"/>
                </a:xfrm>
                <a:prstGeom prst="rect">
                  <a:avLst/>
                </a:prstGeom>
                <a:grp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VA</a:t>
                  </a:r>
                </a:p>
              </p:txBody>
            </p:sp>
            <p:sp>
              <p:nvSpPr>
                <p:cNvPr id="55" name="Rectangle 123"/>
                <p:cNvSpPr>
                  <a:spLocks/>
                </p:cNvSpPr>
                <p:nvPr/>
              </p:nvSpPr>
              <p:spPr bwMode="gray">
                <a:xfrm>
                  <a:off x="5365920" y="1503231"/>
                  <a:ext cx="251436" cy="128100"/>
                </a:xfrm>
                <a:prstGeom prst="rect">
                  <a:avLst/>
                </a:prstGeom>
                <a:no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ME</a:t>
                  </a:r>
                </a:p>
              </p:txBody>
            </p:sp>
            <p:sp>
              <p:nvSpPr>
                <p:cNvPr id="56" name="Rectangle 124"/>
                <p:cNvSpPr>
                  <a:spLocks/>
                </p:cNvSpPr>
                <p:nvPr/>
              </p:nvSpPr>
              <p:spPr bwMode="gray">
                <a:xfrm>
                  <a:off x="4943268" y="1935419"/>
                  <a:ext cx="222459" cy="127658"/>
                </a:xfrm>
                <a:prstGeom prst="rect">
                  <a:avLst/>
                </a:prstGeom>
                <a:grp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NY</a:t>
                  </a:r>
                </a:p>
              </p:txBody>
            </p:sp>
            <p:sp>
              <p:nvSpPr>
                <p:cNvPr id="57" name="Rectangle 125"/>
                <p:cNvSpPr>
                  <a:spLocks/>
                </p:cNvSpPr>
                <p:nvPr/>
              </p:nvSpPr>
              <p:spPr bwMode="gray">
                <a:xfrm>
                  <a:off x="4512235" y="2543594"/>
                  <a:ext cx="265804" cy="126903"/>
                </a:xfrm>
                <a:prstGeom prst="rect">
                  <a:avLst/>
                </a:prstGeom>
                <a:grp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WV</a:t>
                  </a:r>
                </a:p>
              </p:txBody>
            </p:sp>
            <p:sp>
              <p:nvSpPr>
                <p:cNvPr id="58" name="Rectangle 126"/>
                <p:cNvSpPr>
                  <a:spLocks/>
                </p:cNvSpPr>
                <p:nvPr/>
              </p:nvSpPr>
              <p:spPr bwMode="gray">
                <a:xfrm>
                  <a:off x="4799591" y="2876414"/>
                  <a:ext cx="232279" cy="128099"/>
                </a:xfrm>
                <a:prstGeom prst="rect">
                  <a:avLst/>
                </a:prstGeom>
                <a:grp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NC</a:t>
                  </a:r>
                </a:p>
              </p:txBody>
            </p:sp>
            <p:sp>
              <p:nvSpPr>
                <p:cNvPr id="59" name="Rectangle 127"/>
                <p:cNvSpPr>
                  <a:spLocks/>
                </p:cNvSpPr>
                <p:nvPr/>
              </p:nvSpPr>
              <p:spPr bwMode="gray">
                <a:xfrm>
                  <a:off x="4203328" y="2710004"/>
                  <a:ext cx="209160" cy="127658"/>
                </a:xfrm>
                <a:prstGeom prst="rect">
                  <a:avLst/>
                </a:prstGeom>
                <a:grp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KY</a:t>
                  </a:r>
                </a:p>
              </p:txBody>
            </p:sp>
            <p:sp>
              <p:nvSpPr>
                <p:cNvPr id="60" name="Rectangle 128"/>
                <p:cNvSpPr>
                  <a:spLocks/>
                </p:cNvSpPr>
                <p:nvPr/>
              </p:nvSpPr>
              <p:spPr bwMode="gray">
                <a:xfrm>
                  <a:off x="4634361" y="3125430"/>
                  <a:ext cx="214319" cy="128099"/>
                </a:xfrm>
                <a:prstGeom prst="rect">
                  <a:avLst/>
                </a:prstGeom>
                <a:no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SC</a:t>
                  </a:r>
                </a:p>
              </p:txBody>
            </p:sp>
            <p:sp>
              <p:nvSpPr>
                <p:cNvPr id="61" name="Rectangle 129"/>
                <p:cNvSpPr>
                  <a:spLocks/>
                </p:cNvSpPr>
                <p:nvPr/>
              </p:nvSpPr>
              <p:spPr bwMode="gray">
                <a:xfrm>
                  <a:off x="1335758" y="3678534"/>
                  <a:ext cx="218832" cy="127658"/>
                </a:xfrm>
                <a:prstGeom prst="rect">
                  <a:avLst/>
                </a:prstGeom>
                <a:grpFill/>
                <a:ln w="12700">
                  <a:noFill/>
                  <a:miter lim="800000"/>
                  <a:headEnd/>
                  <a:tailEnd/>
                </a:ln>
              </p:spPr>
              <p:txBody>
                <a:bodyPr wrap="none" lIns="0" tIns="0" rIns="57787" bIns="0">
                  <a:spAutoFit/>
                </a:bodyPr>
                <a:lstStyle/>
                <a:p>
                  <a:pPr marL="81639">
                    <a:defRPr/>
                  </a:pPr>
                  <a:r>
                    <a:rPr lang="en-US" sz="1100" b="1" dirty="0">
                      <a:latin typeface="+mj-lt"/>
                      <a:cs typeface="Times New Roman" charset="0"/>
                      <a:sym typeface="Times New Roman" charset="0"/>
                    </a:rPr>
                    <a:t>AK</a:t>
                  </a:r>
                </a:p>
              </p:txBody>
            </p:sp>
            <p:sp>
              <p:nvSpPr>
                <p:cNvPr id="62" name="Rectangle 132"/>
                <p:cNvSpPr>
                  <a:spLocks/>
                </p:cNvSpPr>
                <p:nvPr/>
              </p:nvSpPr>
              <p:spPr bwMode="gray">
                <a:xfrm>
                  <a:off x="5247386" y="1857601"/>
                  <a:ext cx="287356" cy="93381"/>
                </a:xfrm>
                <a:prstGeom prst="rect">
                  <a:avLst/>
                </a:prstGeom>
                <a:noFill/>
                <a:ln w="12700">
                  <a:noFill/>
                  <a:miter lim="800000"/>
                  <a:headEnd/>
                  <a:tailEnd/>
                </a:ln>
              </p:spPr>
              <p:txBody>
                <a:bodyPr lIns="0" tIns="0" rIns="57787" bIns="0">
                  <a:spAutoFit/>
                </a:bodyPr>
                <a:lstStyle/>
                <a:p>
                  <a:pPr marL="81639">
                    <a:defRPr/>
                  </a:pPr>
                  <a:r>
                    <a:rPr lang="en-US" sz="800" b="1" dirty="0">
                      <a:latin typeface="+mj-lt"/>
                      <a:cs typeface="Times New Roman" charset="0"/>
                      <a:sym typeface="Times New Roman" charset="0"/>
                    </a:rPr>
                    <a:t>NH</a:t>
                  </a:r>
                  <a:endParaRPr lang="en-US" sz="1100" b="1" dirty="0">
                    <a:latin typeface="+mj-lt"/>
                    <a:cs typeface="Times New Roman" charset="0"/>
                    <a:sym typeface="Times New Roman" charset="0"/>
                  </a:endParaRPr>
                </a:p>
              </p:txBody>
            </p:sp>
            <p:sp>
              <p:nvSpPr>
                <p:cNvPr id="63" name="Rectangle 133"/>
                <p:cNvSpPr>
                  <a:spLocks/>
                </p:cNvSpPr>
                <p:nvPr/>
              </p:nvSpPr>
              <p:spPr bwMode="gray">
                <a:xfrm>
                  <a:off x="5134839" y="1723515"/>
                  <a:ext cx="335248" cy="95776"/>
                </a:xfrm>
                <a:prstGeom prst="rect">
                  <a:avLst/>
                </a:prstGeom>
                <a:noFill/>
                <a:ln w="12700">
                  <a:noFill/>
                  <a:miter lim="800000"/>
                  <a:headEnd/>
                  <a:tailEnd/>
                </a:ln>
              </p:spPr>
              <p:txBody>
                <a:bodyPr lIns="0" tIns="0" rIns="57787" bIns="0"/>
                <a:lstStyle/>
                <a:p>
                  <a:pPr marL="81639">
                    <a:defRPr/>
                  </a:pPr>
                  <a:r>
                    <a:rPr lang="en-US" sz="900" b="1" dirty="0">
                      <a:latin typeface="+mj-lt"/>
                      <a:cs typeface="Times New Roman" charset="0"/>
                      <a:sym typeface="Times New Roman" charset="0"/>
                    </a:rPr>
                    <a:t>VT</a:t>
                  </a:r>
                  <a:endParaRPr lang="en-US" sz="1100" b="1" dirty="0">
                    <a:latin typeface="+mj-lt"/>
                    <a:cs typeface="Times New Roman" charset="0"/>
                    <a:sym typeface="Times New Roman" charset="0"/>
                  </a:endParaRPr>
                </a:p>
              </p:txBody>
            </p:sp>
            <p:sp>
              <p:nvSpPr>
                <p:cNvPr id="64" name="Rectangle 138"/>
                <p:cNvSpPr>
                  <a:spLocks/>
                </p:cNvSpPr>
                <p:nvPr/>
              </p:nvSpPr>
              <p:spPr bwMode="gray">
                <a:xfrm>
                  <a:off x="5309769" y="2361059"/>
                  <a:ext cx="380746" cy="110498"/>
                </a:xfrm>
                <a:prstGeom prst="rect">
                  <a:avLst/>
                </a:prstGeom>
                <a:noFill/>
                <a:ln w="12700">
                  <a:noFill/>
                  <a:miter lim="800000"/>
                  <a:headEnd/>
                  <a:tailEnd/>
                </a:ln>
              </p:spPr>
              <p:txBody>
                <a:bodyPr lIns="0" tIns="0" rIns="57787" bIns="0"/>
                <a:lstStyle/>
                <a:p>
                  <a:pPr marL="81639">
                    <a:defRPr/>
                  </a:pPr>
                  <a:r>
                    <a:rPr lang="en-US" sz="1100" b="1" dirty="0">
                      <a:latin typeface="+mj-lt"/>
                      <a:cs typeface="Times New Roman" charset="0"/>
                      <a:sym typeface="Times New Roman" charset="0"/>
                    </a:rPr>
                    <a:t>NJ</a:t>
                  </a:r>
                  <a:endParaRPr lang="en-US" sz="1200" b="1" dirty="0">
                    <a:latin typeface="+mj-lt"/>
                    <a:cs typeface="Times New Roman" charset="0"/>
                    <a:sym typeface="Times New Roman" charset="0"/>
                  </a:endParaRPr>
                </a:p>
              </p:txBody>
            </p:sp>
            <p:sp>
              <p:nvSpPr>
                <p:cNvPr id="65" name="Rectangle 64"/>
                <p:cNvSpPr>
                  <a:spLocks/>
                </p:cNvSpPr>
                <p:nvPr/>
              </p:nvSpPr>
              <p:spPr bwMode="gray">
                <a:xfrm>
                  <a:off x="5372230" y="2479686"/>
                  <a:ext cx="336445" cy="95776"/>
                </a:xfrm>
                <a:prstGeom prst="rect">
                  <a:avLst/>
                </a:prstGeom>
                <a:noFill/>
                <a:ln w="12700">
                  <a:noFill/>
                  <a:miter lim="800000"/>
                  <a:headEnd/>
                  <a:tailEnd/>
                </a:ln>
              </p:spPr>
              <p:txBody>
                <a:bodyPr lIns="0" tIns="0" rIns="57787" bIns="0"/>
                <a:lstStyle/>
                <a:p>
                  <a:pPr marL="81639">
                    <a:defRPr/>
                  </a:pPr>
                  <a:r>
                    <a:rPr lang="en-US" sz="1100" b="1" dirty="0">
                      <a:latin typeface="+mj-lt"/>
                      <a:cs typeface="Times New Roman" charset="0"/>
                      <a:sym typeface="Times New Roman" charset="0"/>
                    </a:rPr>
                    <a:t>DE</a:t>
                  </a:r>
                </a:p>
              </p:txBody>
            </p:sp>
            <p:sp>
              <p:nvSpPr>
                <p:cNvPr id="66" name="Rectangle 65"/>
                <p:cNvSpPr>
                  <a:spLocks/>
                </p:cNvSpPr>
                <p:nvPr/>
              </p:nvSpPr>
              <p:spPr bwMode="gray">
                <a:xfrm>
                  <a:off x="5234216" y="2619017"/>
                  <a:ext cx="335248" cy="94579"/>
                </a:xfrm>
                <a:prstGeom prst="rect">
                  <a:avLst/>
                </a:prstGeom>
                <a:noFill/>
                <a:ln w="12700">
                  <a:noFill/>
                  <a:miter lim="800000"/>
                  <a:headEnd/>
                  <a:tailEnd/>
                </a:ln>
              </p:spPr>
              <p:txBody>
                <a:bodyPr lIns="0" tIns="0" rIns="57787" bIns="0"/>
                <a:lstStyle/>
                <a:p>
                  <a:pPr marL="81639">
                    <a:defRPr/>
                  </a:pPr>
                  <a:r>
                    <a:rPr lang="en-US" sz="1100" b="1" dirty="0">
                      <a:latin typeface="+mj-lt"/>
                      <a:cs typeface="Times New Roman" charset="0"/>
                      <a:sym typeface="Times New Roman" charset="0"/>
                    </a:rPr>
                    <a:t>MD</a:t>
                  </a:r>
                </a:p>
              </p:txBody>
            </p:sp>
            <p:sp>
              <p:nvSpPr>
                <p:cNvPr id="67" name="Rectangle 66"/>
                <p:cNvSpPr>
                  <a:spLocks/>
                </p:cNvSpPr>
                <p:nvPr/>
              </p:nvSpPr>
              <p:spPr bwMode="gray">
                <a:xfrm>
                  <a:off x="2383409" y="3956283"/>
                  <a:ext cx="335248" cy="95776"/>
                </a:xfrm>
                <a:prstGeom prst="rect">
                  <a:avLst/>
                </a:prstGeom>
                <a:noFill/>
                <a:ln w="12700">
                  <a:noFill/>
                  <a:miter lim="800000"/>
                  <a:headEnd/>
                  <a:tailEnd/>
                </a:ln>
              </p:spPr>
              <p:txBody>
                <a:bodyPr lIns="0" tIns="0" rIns="57787" bIns="0"/>
                <a:lstStyle/>
                <a:p>
                  <a:pPr marL="81639">
                    <a:defRPr/>
                  </a:pPr>
                  <a:r>
                    <a:rPr lang="en-US" sz="1100" b="1" dirty="0">
                      <a:latin typeface="+mj-lt"/>
                      <a:cs typeface="Times New Roman" charset="0"/>
                      <a:sym typeface="Times New Roman" charset="0"/>
                    </a:rPr>
                    <a:t>HI</a:t>
                  </a:r>
                </a:p>
              </p:txBody>
            </p:sp>
            <p:sp>
              <p:nvSpPr>
                <p:cNvPr id="68" name="Rectangle 138"/>
                <p:cNvSpPr>
                  <a:spLocks/>
                </p:cNvSpPr>
                <p:nvPr/>
              </p:nvSpPr>
              <p:spPr bwMode="gray">
                <a:xfrm>
                  <a:off x="5434168" y="2296972"/>
                  <a:ext cx="335248" cy="94578"/>
                </a:xfrm>
                <a:prstGeom prst="rect">
                  <a:avLst/>
                </a:prstGeom>
                <a:noFill/>
                <a:ln w="12700">
                  <a:noFill/>
                  <a:miter lim="800000"/>
                  <a:headEnd/>
                  <a:tailEnd/>
                </a:ln>
              </p:spPr>
              <p:txBody>
                <a:bodyPr lIns="0" tIns="0" rIns="57787" bIns="0"/>
                <a:lstStyle/>
                <a:p>
                  <a:pPr marL="81639">
                    <a:defRPr/>
                  </a:pPr>
                  <a:r>
                    <a:rPr lang="en-US" sz="1100" b="1" dirty="0">
                      <a:latin typeface="+mj-lt"/>
                      <a:cs typeface="Times New Roman" charset="0"/>
                      <a:sym typeface="Times New Roman" charset="0"/>
                    </a:rPr>
                    <a:t>CT</a:t>
                  </a:r>
                </a:p>
              </p:txBody>
            </p:sp>
            <p:sp>
              <p:nvSpPr>
                <p:cNvPr id="69" name="Rectangle 138"/>
                <p:cNvSpPr>
                  <a:spLocks/>
                </p:cNvSpPr>
                <p:nvPr/>
              </p:nvSpPr>
              <p:spPr bwMode="gray">
                <a:xfrm>
                  <a:off x="5632922" y="1973729"/>
                  <a:ext cx="336445" cy="95776"/>
                </a:xfrm>
                <a:prstGeom prst="rect">
                  <a:avLst/>
                </a:prstGeom>
                <a:noFill/>
                <a:ln w="12700">
                  <a:noFill/>
                  <a:miter lim="800000"/>
                  <a:headEnd/>
                  <a:tailEnd/>
                </a:ln>
              </p:spPr>
              <p:txBody>
                <a:bodyPr lIns="0" tIns="0" rIns="57787" bIns="0"/>
                <a:lstStyle/>
                <a:p>
                  <a:pPr marL="81639">
                    <a:defRPr/>
                  </a:pPr>
                  <a:r>
                    <a:rPr lang="en-US" sz="1100" b="1" dirty="0">
                      <a:latin typeface="+mj-lt"/>
                      <a:cs typeface="Times New Roman" charset="0"/>
                      <a:sym typeface="Times New Roman" charset="0"/>
                    </a:rPr>
                    <a:t>MA</a:t>
                  </a:r>
                </a:p>
              </p:txBody>
            </p:sp>
            <p:sp>
              <p:nvSpPr>
                <p:cNvPr id="70" name="Rectangle 138"/>
                <p:cNvSpPr>
                  <a:spLocks/>
                </p:cNvSpPr>
                <p:nvPr/>
              </p:nvSpPr>
              <p:spPr bwMode="gray">
                <a:xfrm>
                  <a:off x="5575230" y="2159941"/>
                  <a:ext cx="336446" cy="94579"/>
                </a:xfrm>
                <a:prstGeom prst="rect">
                  <a:avLst/>
                </a:prstGeom>
                <a:noFill/>
                <a:ln w="12700">
                  <a:noFill/>
                  <a:miter lim="800000"/>
                  <a:headEnd/>
                  <a:tailEnd/>
                </a:ln>
              </p:spPr>
              <p:txBody>
                <a:bodyPr lIns="0" tIns="0" rIns="57787" bIns="0"/>
                <a:lstStyle/>
                <a:p>
                  <a:pPr marL="81639">
                    <a:defRPr/>
                  </a:pPr>
                  <a:r>
                    <a:rPr lang="en-US" sz="1100" b="1" dirty="0">
                      <a:latin typeface="+mj-lt"/>
                      <a:cs typeface="Times New Roman" charset="0"/>
                      <a:sym typeface="Times New Roman" charset="0"/>
                    </a:rPr>
                    <a:t>RI</a:t>
                  </a:r>
                </a:p>
              </p:txBody>
            </p:sp>
            <p:cxnSp>
              <p:nvCxnSpPr>
                <p:cNvPr id="71" name="Straight Connector 64"/>
                <p:cNvCxnSpPr>
                  <a:cxnSpLocks noChangeShapeType="1"/>
                </p:cNvCxnSpPr>
                <p:nvPr/>
              </p:nvCxnSpPr>
              <p:spPr bwMode="gray">
                <a:xfrm>
                  <a:off x="5017666" y="2489648"/>
                  <a:ext cx="265099" cy="195944"/>
                </a:xfrm>
                <a:prstGeom prst="line">
                  <a:avLst/>
                </a:prstGeom>
                <a:grpFill/>
                <a:ln w="9525" algn="ctr">
                  <a:solidFill>
                    <a:schemeClr val="tx1"/>
                  </a:solidFill>
                  <a:round/>
                  <a:headEnd/>
                  <a:tailEnd/>
                </a:ln>
                <a:extLst/>
              </p:spPr>
            </p:cxnSp>
            <p:cxnSp>
              <p:nvCxnSpPr>
                <p:cNvPr id="72" name="Straight Connector 65"/>
                <p:cNvCxnSpPr>
                  <a:cxnSpLocks noChangeShapeType="1"/>
                </p:cNvCxnSpPr>
                <p:nvPr/>
              </p:nvCxnSpPr>
              <p:spPr bwMode="gray">
                <a:xfrm>
                  <a:off x="5144449" y="2505013"/>
                  <a:ext cx="261257" cy="26895"/>
                </a:xfrm>
                <a:prstGeom prst="line">
                  <a:avLst/>
                </a:prstGeom>
                <a:grpFill/>
                <a:ln w="9525" algn="ctr">
                  <a:solidFill>
                    <a:schemeClr val="tx1"/>
                  </a:solidFill>
                  <a:round/>
                  <a:headEnd/>
                  <a:tailEnd/>
                </a:ln>
                <a:extLst/>
              </p:spPr>
            </p:cxnSp>
            <p:cxnSp>
              <p:nvCxnSpPr>
                <p:cNvPr id="73" name="Straight Connector 66"/>
                <p:cNvCxnSpPr>
                  <a:cxnSpLocks noChangeShapeType="1"/>
                </p:cNvCxnSpPr>
                <p:nvPr/>
              </p:nvCxnSpPr>
              <p:spPr bwMode="gray">
                <a:xfrm rot="16200000" flipH="1">
                  <a:off x="5314144" y="2125297"/>
                  <a:ext cx="216441" cy="189538"/>
                </a:xfrm>
                <a:prstGeom prst="line">
                  <a:avLst/>
                </a:prstGeom>
                <a:grpFill/>
                <a:ln w="9525" algn="ctr">
                  <a:solidFill>
                    <a:schemeClr val="tx1"/>
                  </a:solidFill>
                  <a:round/>
                  <a:headEnd/>
                  <a:tailEnd/>
                </a:ln>
                <a:extLst/>
              </p:spPr>
            </p:cxnSp>
            <p:cxnSp>
              <p:nvCxnSpPr>
                <p:cNvPr id="74" name="Straight Connector 67"/>
                <p:cNvCxnSpPr>
                  <a:cxnSpLocks noChangeShapeType="1"/>
                </p:cNvCxnSpPr>
                <p:nvPr/>
              </p:nvCxnSpPr>
              <p:spPr bwMode="gray">
                <a:xfrm>
                  <a:off x="5418524" y="2083676"/>
                  <a:ext cx="206183" cy="113981"/>
                </a:xfrm>
                <a:prstGeom prst="line">
                  <a:avLst/>
                </a:prstGeom>
                <a:grpFill/>
                <a:ln w="9525" algn="ctr">
                  <a:solidFill>
                    <a:schemeClr val="tx1"/>
                  </a:solidFill>
                  <a:round/>
                  <a:headEnd/>
                  <a:tailEnd/>
                </a:ln>
                <a:extLst/>
              </p:spPr>
            </p:cxnSp>
            <p:cxnSp>
              <p:nvCxnSpPr>
                <p:cNvPr id="75" name="Straight Connector 68"/>
                <p:cNvCxnSpPr>
                  <a:cxnSpLocks noChangeShapeType="1"/>
                </p:cNvCxnSpPr>
                <p:nvPr/>
              </p:nvCxnSpPr>
              <p:spPr bwMode="gray">
                <a:xfrm>
                  <a:off x="5378827" y="2001690"/>
                  <a:ext cx="307357" cy="42264"/>
                </a:xfrm>
                <a:prstGeom prst="line">
                  <a:avLst/>
                </a:prstGeom>
                <a:grpFill/>
                <a:ln w="9525" algn="ctr">
                  <a:solidFill>
                    <a:schemeClr val="tx1"/>
                  </a:solidFill>
                  <a:round/>
                  <a:headEnd/>
                  <a:tailEnd/>
                </a:ln>
                <a:extLst/>
              </p:spPr>
            </p:cxnSp>
          </p:grpSp>
        </p:grpSp>
        <p:sp>
          <p:nvSpPr>
            <p:cNvPr id="451" name="Rectangle 450"/>
            <p:cNvSpPr>
              <a:spLocks/>
            </p:cNvSpPr>
            <p:nvPr/>
          </p:nvSpPr>
          <p:spPr bwMode="gray">
            <a:xfrm>
              <a:off x="7326652" y="3924824"/>
              <a:ext cx="416672" cy="190839"/>
            </a:xfrm>
            <a:prstGeom prst="rect">
              <a:avLst/>
            </a:prstGeom>
            <a:solidFill>
              <a:schemeClr val="accent4">
                <a:lumMod val="40000"/>
                <a:lumOff val="60000"/>
              </a:schemeClr>
            </a:solidFill>
            <a:ln w="12700">
              <a:noFill/>
              <a:miter lim="800000"/>
              <a:headEnd/>
              <a:tailEnd/>
            </a:ln>
          </p:spPr>
          <p:txBody>
            <a:bodyPr lIns="0" tIns="0" rIns="57787" bIns="0"/>
            <a:lstStyle/>
            <a:p>
              <a:pPr marL="81639">
                <a:defRPr/>
              </a:pPr>
              <a:r>
                <a:rPr lang="en-US" sz="1100" b="1" dirty="0">
                  <a:latin typeface="+mj-lt"/>
                  <a:cs typeface="Times New Roman" charset="0"/>
                  <a:sym typeface="Times New Roman" charset="0"/>
                </a:rPr>
                <a:t>DC</a:t>
              </a:r>
            </a:p>
          </p:txBody>
        </p:sp>
        <p:cxnSp>
          <p:nvCxnSpPr>
            <p:cNvPr id="452" name="Straight Connector 64"/>
            <p:cNvCxnSpPr>
              <a:cxnSpLocks noChangeShapeType="1"/>
            </p:cNvCxnSpPr>
            <p:nvPr/>
          </p:nvCxnSpPr>
          <p:spPr bwMode="gray">
            <a:xfrm>
              <a:off x="6951310" y="3578895"/>
              <a:ext cx="361551" cy="359285"/>
            </a:xfrm>
            <a:prstGeom prst="line">
              <a:avLst/>
            </a:prstGeom>
            <a:solidFill>
              <a:schemeClr val="bg1">
                <a:lumMod val="95000"/>
              </a:schemeClr>
            </a:solidFill>
            <a:ln w="9525" algn="ctr">
              <a:solidFill>
                <a:schemeClr val="tx1"/>
              </a:solidFill>
              <a:round/>
              <a:headEnd/>
              <a:tailEnd/>
            </a:ln>
            <a:extLst/>
          </p:spPr>
        </p:cxnSp>
        <p:cxnSp>
          <p:nvCxnSpPr>
            <p:cNvPr id="453" name="Straight Connector 64"/>
            <p:cNvCxnSpPr>
              <a:cxnSpLocks noChangeShapeType="1"/>
            </p:cNvCxnSpPr>
            <p:nvPr/>
          </p:nvCxnSpPr>
          <p:spPr bwMode="gray">
            <a:xfrm>
              <a:off x="7140933" y="3209219"/>
              <a:ext cx="133725" cy="93330"/>
            </a:xfrm>
            <a:prstGeom prst="line">
              <a:avLst/>
            </a:prstGeom>
            <a:solidFill>
              <a:schemeClr val="bg1">
                <a:lumMod val="95000"/>
              </a:schemeClr>
            </a:solidFill>
            <a:ln w="9525" algn="ctr">
              <a:solidFill>
                <a:schemeClr val="tx1"/>
              </a:solidFill>
              <a:round/>
              <a:headEnd/>
              <a:tailEnd/>
            </a:ln>
            <a:extLst/>
          </p:spPr>
        </p:cxnSp>
      </p:grpSp>
    </p:spTree>
    <p:extLst>
      <p:ext uri="{BB962C8B-B14F-4D97-AF65-F5344CB8AC3E}">
        <p14:creationId xmlns:p14="http://schemas.microsoft.com/office/powerpoint/2010/main" val="6317075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9" name="think-cell Slide" r:id="rId6" imgW="270" imgH="270" progId="TCLayout.ActiveDocument.1">
                  <p:embed/>
                </p:oleObj>
              </mc:Choice>
              <mc:Fallback>
                <p:oleObj name="think-cell Slide" r:id="rId6" imgW="270" imgH="270"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marR="0" lvl="0" indent="0" algn="ctr" defTabSz="457200" rtl="0" eaLnBrk="1" fontAlgn="auto" latinLnBrk="0" hangingPunct="1">
              <a:lnSpc>
                <a:spcPct val="100000"/>
              </a:lnSpc>
              <a:spcBef>
                <a:spcPct val="0"/>
              </a:spcBef>
              <a:spcAft>
                <a:spcPct val="0"/>
              </a:spcAft>
              <a:buClrTx/>
              <a:buSzTx/>
              <a:buFontTx/>
              <a:buNone/>
              <a:tabLst/>
              <a:defRPr/>
            </a:pPr>
            <a:endParaRPr kumimoji="0" lang="en-US" sz="3200" b="1" i="0" u="none" strike="noStrike" kern="1200" cap="none" spc="0" normalizeH="0" baseline="0" noProof="0" dirty="0">
              <a:ln>
                <a:noFill/>
              </a:ln>
              <a:solidFill>
                <a:prstClr val="white"/>
              </a:solidFill>
              <a:effectLst/>
              <a:uLnTx/>
              <a:uFillTx/>
              <a:latin typeface="Calibri"/>
              <a:ea typeface="+mn-ea"/>
              <a:cs typeface="+mn-cs"/>
              <a:sym typeface="Calibri"/>
            </a:endParaRPr>
          </a:p>
        </p:txBody>
      </p:sp>
      <p:sp>
        <p:nvSpPr>
          <p:cNvPr id="14" name="Title 1"/>
          <p:cNvSpPr>
            <a:spLocks noGrp="1"/>
          </p:cNvSpPr>
          <p:nvPr>
            <p:ph type="title"/>
          </p:nvPr>
        </p:nvSpPr>
        <p:spPr/>
        <p:txBody>
          <a:bodyPr>
            <a:normAutofit/>
          </a:bodyPr>
          <a:lstStyle/>
          <a:p>
            <a:r>
              <a:rPr lang="en-US" sz="3200" dirty="0">
                <a:latin typeface="Helvetica Neue" panose="02000503000000020004" pitchFamily="50"/>
              </a:rPr>
              <a:t>Thank You</a:t>
            </a:r>
          </a:p>
        </p:txBody>
      </p:sp>
      <p:sp>
        <p:nvSpPr>
          <p:cNvPr id="3" name="Content Placeholder 2"/>
          <p:cNvSpPr>
            <a:spLocks noGrp="1"/>
          </p:cNvSpPr>
          <p:nvPr>
            <p:ph idx="1"/>
          </p:nvPr>
        </p:nvSpPr>
        <p:spPr>
          <a:xfrm>
            <a:off x="457200" y="2154118"/>
            <a:ext cx="8229600" cy="2880869"/>
          </a:xfrm>
        </p:spPr>
        <p:txBody>
          <a:bodyPr/>
          <a:lstStyle/>
          <a:p>
            <a:endParaRPr lang="en-US" dirty="0"/>
          </a:p>
        </p:txBody>
      </p:sp>
      <p:sp>
        <p:nvSpPr>
          <p:cNvPr id="7" name="Slide Number Placeholder 5"/>
          <p:cNvSpPr>
            <a:spLocks noGrp="1"/>
          </p:cNvSpPr>
          <p:nvPr>
            <p:ph type="sldNum" sz="quarter"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a:ea typeface="+mn-ea"/>
              </a:rPr>
              <a:t>State Health and Value Strategies </a:t>
            </a:r>
            <a:r>
              <a:rPr kumimoji="0" lang="en-US" sz="1400" b="1" i="0" u="none" strike="noStrike" kern="1200" cap="none" spc="0" normalizeH="0" baseline="0" noProof="0" dirty="0">
                <a:ln>
                  <a:noFill/>
                </a:ln>
                <a:solidFill>
                  <a:prstClr val="white"/>
                </a:solidFill>
                <a:effectLst/>
                <a:uLnTx/>
                <a:uFillTx/>
                <a:latin typeface="Calibri"/>
                <a:ea typeface="+mn-ea"/>
              </a:rPr>
              <a:t>| </a:t>
            </a:r>
            <a:fld id="{8050AD95-DD6B-419E-8FDA-F33B98191E60}" type="slidenum">
              <a:rPr kumimoji="0" lang="en-US" sz="1400" b="0" i="0" u="none" strike="noStrike" kern="1200" cap="none" spc="0" normalizeH="0" baseline="0" noProof="0" smtClean="0">
                <a:ln>
                  <a:noFill/>
                </a:ln>
                <a:solidFill>
                  <a:prstClr val="white"/>
                </a:solidFill>
                <a:effectLst/>
                <a:uLnTx/>
                <a:uFillTx/>
                <a:latin typeface="Calibri"/>
                <a:ea typeface="+mn-ea"/>
              </a:rPr>
              <a:pPr marL="0" marR="0" lvl="0" indent="0" algn="l" defTabSz="457200" rtl="0" eaLnBrk="1" fontAlgn="auto" latinLnBrk="0" hangingPunct="1">
                <a:lnSpc>
                  <a:spcPct val="100000"/>
                </a:lnSpc>
                <a:spcBef>
                  <a:spcPts val="0"/>
                </a:spcBef>
                <a:spcAft>
                  <a:spcPts val="0"/>
                </a:spcAft>
                <a:buClrTx/>
                <a:buSzTx/>
                <a:buFontTx/>
                <a:buNone/>
                <a:tabLst/>
                <a:defRPr/>
              </a:pPr>
              <a:t>15</a:t>
            </a:fld>
            <a:endParaRPr kumimoji="0" lang="en-US" sz="1400" b="0" i="0" u="none" strike="noStrike" kern="1200" cap="none" spc="0" normalizeH="0" baseline="0" noProof="0" dirty="0">
              <a:ln>
                <a:noFill/>
              </a:ln>
              <a:solidFill>
                <a:prstClr val="white"/>
              </a:solidFill>
              <a:effectLst/>
              <a:uLnTx/>
              <a:uFillTx/>
              <a:latin typeface="Calibri"/>
              <a:ea typeface="+mn-ea"/>
            </a:endParaRPr>
          </a:p>
        </p:txBody>
      </p:sp>
      <p:sp>
        <p:nvSpPr>
          <p:cNvPr id="9" name="Rectangle 8"/>
          <p:cNvSpPr/>
          <p:nvPr/>
        </p:nvSpPr>
        <p:spPr>
          <a:xfrm>
            <a:off x="126851" y="1875760"/>
            <a:ext cx="8906256" cy="37036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mn-ea"/>
                <a:cs typeface="+mn-cs"/>
              </a:rPr>
              <a:t>Heather Howard</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Director</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State Health and Value Strategie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heatherh@Princeton.edu</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609-258-9709</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hlinkClick r:id="rId8"/>
              </a:rPr>
              <a:t>www.shvs.org</a:t>
            </a:r>
            <a:r>
              <a:rPr kumimoji="0" lang="en-US" sz="1800" b="0" i="0" u="none" strike="noStrike" kern="1200" cap="none" spc="0" normalizeH="0" baseline="0" noProof="0" dirty="0">
                <a:ln>
                  <a:noFill/>
                </a:ln>
                <a:solidFill>
                  <a:prstClr val="black"/>
                </a:solidFill>
                <a:effectLst/>
                <a:uLnTx/>
                <a:uFillTx/>
                <a:latin typeface="Calibri"/>
                <a:ea typeface="+mn-ea"/>
                <a:cs typeface="+mn-cs"/>
              </a:rPr>
              <a:t> </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cxnSp>
        <p:nvCxnSpPr>
          <p:cNvPr id="16" name="Straight Connector 15"/>
          <p:cNvCxnSpPr/>
          <p:nvPr/>
        </p:nvCxnSpPr>
        <p:spPr>
          <a:xfrm>
            <a:off x="126851" y="1875760"/>
            <a:ext cx="8906256" cy="0"/>
          </a:xfrm>
          <a:prstGeom prst="line">
            <a:avLst/>
          </a:prstGeom>
          <a:ln w="38100">
            <a:solidFill>
              <a:srgbClr val="E9674F"/>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26851" y="5579437"/>
            <a:ext cx="8906256" cy="0"/>
          </a:xfrm>
          <a:prstGeom prst="line">
            <a:avLst/>
          </a:prstGeom>
          <a:ln w="38100">
            <a:solidFill>
              <a:srgbClr val="E9674F"/>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3086100" y="2573436"/>
            <a:ext cx="2971800" cy="646331"/>
          </a:xfrm>
          <a:prstGeom prst="rect">
            <a:avLst/>
          </a:prstGeom>
          <a:noFill/>
        </p:spPr>
        <p:txBody>
          <a:bodyPr wrap="square" rtlCol="0">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Arial" pitchFamily="34" charset="0"/>
            </a:endParaRPr>
          </a:p>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Arial" pitchFamily="34" charset="0"/>
            </a:endParaRPr>
          </a:p>
        </p:txBody>
      </p:sp>
    </p:spTree>
    <p:extLst>
      <p:ext uri="{BB962C8B-B14F-4D97-AF65-F5344CB8AC3E}">
        <p14:creationId xmlns:p14="http://schemas.microsoft.com/office/powerpoint/2010/main" val="35384388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Slide Number Placeholder 1"/>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Open Sans"/>
                <a:ea typeface="Open Sans"/>
                <a:cs typeface="Open Sans"/>
              </a:defRPr>
            </a:lvl1pPr>
            <a:lvl2pPr marL="742950" indent="-285750">
              <a:spcBef>
                <a:spcPct val="20000"/>
              </a:spcBef>
              <a:buFont typeface="Arial" panose="020B0604020202020204" pitchFamily="34" charset="0"/>
              <a:buChar char="–"/>
              <a:defRPr sz="2800">
                <a:solidFill>
                  <a:schemeClr val="tx1"/>
                </a:solidFill>
                <a:latin typeface="Open Sans Semibold"/>
                <a:ea typeface="Open Sans Semibold"/>
                <a:cs typeface="Open Sans Semibold"/>
              </a:defRPr>
            </a:lvl2pPr>
            <a:lvl3pPr marL="1143000" indent="-228600">
              <a:spcBef>
                <a:spcPct val="20000"/>
              </a:spcBef>
              <a:buFont typeface="Arial" panose="020B0604020202020204" pitchFamily="34" charset="0"/>
              <a:buChar char="•"/>
              <a:defRPr sz="2400">
                <a:solidFill>
                  <a:schemeClr val="tx1"/>
                </a:solidFill>
                <a:latin typeface="Open Sans Light"/>
                <a:ea typeface="Open Sans Light"/>
                <a:cs typeface="Open Sans Light"/>
              </a:defRPr>
            </a:lvl3pPr>
            <a:lvl4pPr marL="1600200" indent="-228600">
              <a:spcBef>
                <a:spcPct val="20000"/>
              </a:spcBef>
              <a:buFont typeface="Arial" panose="020B0604020202020204" pitchFamily="34" charset="0"/>
              <a:buChar char="–"/>
              <a:defRPr sz="2000">
                <a:solidFill>
                  <a:schemeClr val="tx1"/>
                </a:solidFill>
                <a:latin typeface="Open Sans Light"/>
                <a:ea typeface="Open Sans Light"/>
                <a:cs typeface="Open Sans Light"/>
              </a:defRPr>
            </a:lvl4pPr>
            <a:lvl5pPr marL="2057400" indent="-228600">
              <a:spcBef>
                <a:spcPct val="20000"/>
              </a:spcBef>
              <a:buFont typeface="Arial" panose="020B0604020202020204" pitchFamily="34" charset="0"/>
              <a:buChar char="»"/>
              <a:defRPr sz="2000">
                <a:solidFill>
                  <a:schemeClr val="tx1"/>
                </a:solidFill>
                <a:latin typeface="Open Sans Light"/>
                <a:ea typeface="Open Sans Light"/>
                <a:cs typeface="Open Sans Light"/>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Open Sans Light"/>
                <a:ea typeface="Open Sans Light"/>
                <a:cs typeface="Open Sans Light"/>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Open Sans Light"/>
                <a:ea typeface="Open Sans Light"/>
                <a:cs typeface="Open Sans Light"/>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Open Sans Light"/>
                <a:ea typeface="Open Sans Light"/>
                <a:cs typeface="Open Sans Light"/>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Open Sans Light"/>
                <a:ea typeface="Open Sans Light"/>
                <a:cs typeface="Open Sans Light"/>
              </a:defRPr>
            </a:lvl9pPr>
          </a:lstStyle>
          <a:p>
            <a:pPr marL="0" marR="0" lvl="0" indent="0" algn="r" defTabSz="457200" rtl="0" eaLnBrk="1" fontAlgn="auto" latinLnBrk="0" hangingPunct="1">
              <a:lnSpc>
                <a:spcPct val="100000"/>
              </a:lnSpc>
              <a:spcBef>
                <a:spcPct val="0"/>
              </a:spcBef>
              <a:spcAft>
                <a:spcPts val="0"/>
              </a:spcAft>
              <a:buClrTx/>
              <a:buSzTx/>
              <a:buFontTx/>
              <a:buNone/>
              <a:tabLst/>
              <a:defRPr/>
            </a:pPr>
            <a:fld id="{9DCB0D0F-2E6C-493B-AE5A-5C2AD6DDFC65}" type="slidenum">
              <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rPr>
              <a:pPr marL="0" marR="0" lvl="0" indent="0" algn="r" defTabSz="457200" rtl="0" eaLnBrk="1" fontAlgn="auto" latinLnBrk="0" hangingPunct="1">
                <a:lnSpc>
                  <a:spcPct val="100000"/>
                </a:lnSpc>
                <a:spcBef>
                  <a:spcPct val="0"/>
                </a:spcBef>
                <a:spcAft>
                  <a:spcPts val="0"/>
                </a:spcAft>
                <a:buClrTx/>
                <a:buSzTx/>
                <a:buFontTx/>
                <a:buNone/>
                <a:tabLst/>
                <a:defRPr/>
              </a:pPr>
              <a:t>2</a:t>
            </a:fld>
            <a:endParaRPr kumimoji="0" lang="en-US" altLang="en-US" sz="1200" b="0" i="0" u="none" strike="noStrike" kern="1200" cap="none" spc="0" normalizeH="0" baseline="0" noProof="0" dirty="0">
              <a:ln>
                <a:noFill/>
              </a:ln>
              <a:solidFill>
                <a:srgbClr val="898989"/>
              </a:solidFill>
              <a:effectLst/>
              <a:uLnTx/>
              <a:uFillTx/>
              <a:latin typeface="Calibri" panose="020F0502020204030204" pitchFamily="34" charset="0"/>
            </a:endParaRPr>
          </a:p>
        </p:txBody>
      </p:sp>
      <p:sp>
        <p:nvSpPr>
          <p:cNvPr id="5" name="Rectangle 4"/>
          <p:cNvSpPr/>
          <p:nvPr/>
        </p:nvSpPr>
        <p:spPr bwMode="auto">
          <a:xfrm>
            <a:off x="177933" y="1937627"/>
            <a:ext cx="8792255" cy="4440013"/>
          </a:xfrm>
          <a:prstGeom prst="rect">
            <a:avLst/>
          </a:prstGeom>
          <a:solidFill>
            <a:schemeClr val="bg1">
              <a:lumMod val="85000"/>
            </a:schemeClr>
          </a:solidFill>
          <a:ln w="9525" cap="flat" cmpd="sng" algn="ctr">
            <a:noFill/>
            <a:prstDash val="solid"/>
            <a:round/>
            <a:headEnd type="none" w="med" len="med"/>
            <a:tailEnd type="none" w="med" len="med"/>
          </a:ln>
          <a:effectLst/>
        </p:spPr>
        <p:txBody>
          <a:bodyPr lIns="101858" tIns="50929" rIns="101858" bIns="50929" anchor="ctr"/>
          <a:lstStyle/>
          <a:p>
            <a:pPr marL="0" marR="0" lvl="0" indent="0" algn="ctr" defTabSz="1019175"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000000"/>
              </a:solidFill>
              <a:effectLst/>
              <a:uLnTx/>
              <a:uFillTx/>
              <a:latin typeface="Calibri" charset="0"/>
              <a:ea typeface="ＭＳ Ｐゴシック" pitchFamily="1" charset="-128"/>
              <a:cs typeface="+mn-cs"/>
            </a:endParaRPr>
          </a:p>
        </p:txBody>
      </p:sp>
      <p:sp>
        <p:nvSpPr>
          <p:cNvPr id="6" name="TextBox 5"/>
          <p:cNvSpPr txBox="1">
            <a:spLocks noChangeArrowheads="1"/>
          </p:cNvSpPr>
          <p:nvPr/>
        </p:nvSpPr>
        <p:spPr bwMode="auto">
          <a:xfrm>
            <a:off x="557149" y="1844910"/>
            <a:ext cx="8435264" cy="4001095"/>
          </a:xfrm>
          <a:prstGeom prst="rect">
            <a:avLst/>
          </a:prstGeom>
          <a:noFill/>
          <a:ln w="9525">
            <a:noFill/>
            <a:miter lim="800000"/>
            <a:headEnd/>
            <a:tailEnd/>
          </a:ln>
        </p:spPr>
        <p:txBody>
          <a:bodyPr wrap="square">
            <a:spAutoFit/>
          </a:bodyPr>
          <a:lstStyle/>
          <a:p>
            <a:pPr marL="0" marR="0" lvl="0" indent="0" algn="l" defTabSz="457200" rtl="0" eaLnBrk="1" fontAlgn="auto" latinLnBrk="0" hangingPunct="1">
              <a:lnSpc>
                <a:spcPct val="150000"/>
              </a:lnSpc>
              <a:spcBef>
                <a:spcPts val="0"/>
              </a:spcBef>
              <a:spcAft>
                <a:spcPts val="1200"/>
              </a:spcAft>
              <a:buClrTx/>
              <a:buSzTx/>
              <a:buFont typeface="Arial" charset="0"/>
              <a:buNone/>
              <a:tabLst/>
              <a:defRPr/>
            </a:pPr>
            <a:r>
              <a:rPr kumimoji="0" lang="en-US" sz="2400" b="1" i="0" u="none" strike="noStrike" kern="1200" cap="none" spc="0" normalizeH="0" baseline="0" noProof="0" dirty="0">
                <a:ln>
                  <a:noFill/>
                </a:ln>
                <a:solidFill>
                  <a:prstClr val="black"/>
                </a:solidFill>
                <a:effectLst/>
                <a:uLnTx/>
                <a:uFillTx/>
                <a:latin typeface="Calibri"/>
                <a:ea typeface="ＭＳ Ｐゴシック"/>
                <a:cs typeface="+mn-cs"/>
              </a:rPr>
              <a:t>Key</a:t>
            </a:r>
            <a:r>
              <a:rPr kumimoji="0" lang="en-US" sz="2400" b="1" i="0" u="none" strike="noStrike" kern="1200" cap="none" spc="0" normalizeH="0" noProof="0" dirty="0">
                <a:ln>
                  <a:noFill/>
                </a:ln>
                <a:solidFill>
                  <a:prstClr val="black"/>
                </a:solidFill>
                <a:effectLst/>
                <a:uLnTx/>
                <a:uFillTx/>
                <a:latin typeface="Calibri"/>
                <a:ea typeface="ＭＳ Ｐゴシック"/>
                <a:cs typeface="+mn-cs"/>
              </a:rPr>
              <a:t> Themes </a:t>
            </a:r>
            <a:endParaRPr kumimoji="0" lang="en-US" sz="2400" b="1" i="0" u="none" strike="noStrike" kern="1200" cap="none" spc="0" normalizeH="0" baseline="0" noProof="0" dirty="0">
              <a:ln>
                <a:noFill/>
              </a:ln>
              <a:solidFill>
                <a:prstClr val="black"/>
              </a:solidFill>
              <a:effectLst/>
              <a:uLnTx/>
              <a:uFillTx/>
              <a:latin typeface="Calibri"/>
              <a:ea typeface="ＭＳ Ｐゴシック"/>
              <a:cs typeface="+mn-cs"/>
            </a:endParaRPr>
          </a:p>
          <a:p>
            <a:pPr marL="0" marR="0" lvl="0" indent="0" algn="l" defTabSz="457200" rtl="0" eaLnBrk="1" fontAlgn="auto" latinLnBrk="0" hangingPunct="1">
              <a:lnSpc>
                <a:spcPct val="150000"/>
              </a:lnSpc>
              <a:spcBef>
                <a:spcPts val="0"/>
              </a:spcBef>
              <a:spcAft>
                <a:spcPts val="1200"/>
              </a:spcAft>
              <a:buClrTx/>
              <a:buSzTx/>
              <a:buFont typeface="Arial" charset="0"/>
              <a:buNone/>
              <a:tabLst/>
              <a:defRPr/>
            </a:pPr>
            <a:r>
              <a:rPr lang="en-US" sz="2400" b="1" noProof="0" dirty="0">
                <a:solidFill>
                  <a:prstClr val="black"/>
                </a:solidFill>
                <a:latin typeface="Calibri"/>
                <a:ea typeface="ＭＳ Ｐゴシック"/>
              </a:rPr>
              <a:t>States Leaning In/Leaning Out </a:t>
            </a:r>
          </a:p>
          <a:p>
            <a:pPr marL="0" marR="0" lvl="0" indent="0" algn="l" defTabSz="457200" rtl="0" eaLnBrk="1" fontAlgn="auto" latinLnBrk="0" hangingPunct="1">
              <a:lnSpc>
                <a:spcPct val="150000"/>
              </a:lnSpc>
              <a:spcBef>
                <a:spcPts val="0"/>
              </a:spcBef>
              <a:spcAft>
                <a:spcPts val="1200"/>
              </a:spcAft>
              <a:buClrTx/>
              <a:buSzTx/>
              <a:buFont typeface="Arial" charset="0"/>
              <a:buNone/>
              <a:tabLst/>
              <a:defRPr/>
            </a:pPr>
            <a:r>
              <a:rPr kumimoji="0" lang="en-US" sz="2400" b="1" i="0" u="none" strike="noStrike" kern="1200" cap="none" spc="0" normalizeH="0" baseline="0" dirty="0">
                <a:ln>
                  <a:noFill/>
                </a:ln>
                <a:solidFill>
                  <a:prstClr val="black"/>
                </a:solidFill>
                <a:effectLst/>
                <a:uLnTx/>
                <a:uFillTx/>
                <a:latin typeface="Calibri"/>
                <a:ea typeface="ＭＳ Ｐゴシック"/>
                <a:cs typeface="+mn-cs"/>
              </a:rPr>
              <a:t>	S</a:t>
            </a:r>
            <a:r>
              <a:rPr lang="en-US" sz="2400" b="1" dirty="0">
                <a:solidFill>
                  <a:prstClr val="black"/>
                </a:solidFill>
                <a:latin typeface="Calibri"/>
                <a:ea typeface="ＭＳ Ｐゴシック"/>
              </a:rPr>
              <a:t>ection</a:t>
            </a:r>
            <a:r>
              <a:rPr kumimoji="0" lang="en-US" sz="2400" b="1" i="0" u="none" strike="noStrike" kern="1200" cap="none" spc="0" normalizeH="0" baseline="0" noProof="0" dirty="0">
                <a:ln>
                  <a:noFill/>
                </a:ln>
                <a:solidFill>
                  <a:prstClr val="black"/>
                </a:solidFill>
                <a:effectLst/>
                <a:uLnTx/>
                <a:uFillTx/>
                <a:latin typeface="Calibri"/>
                <a:ea typeface="ＭＳ Ｐゴシック"/>
                <a:cs typeface="+mn-cs"/>
              </a:rPr>
              <a:t> 1332</a:t>
            </a:r>
            <a:r>
              <a:rPr kumimoji="0" lang="en-US" sz="2400" b="1" i="0" u="none" strike="noStrike" kern="1200" cap="none" spc="0" normalizeH="0" noProof="0" dirty="0">
                <a:ln>
                  <a:noFill/>
                </a:ln>
                <a:solidFill>
                  <a:prstClr val="black"/>
                </a:solidFill>
                <a:effectLst/>
                <a:uLnTx/>
                <a:uFillTx/>
                <a:latin typeface="Calibri"/>
                <a:ea typeface="ＭＳ Ｐゴシック"/>
                <a:cs typeface="+mn-cs"/>
              </a:rPr>
              <a:t> Waivers</a:t>
            </a:r>
            <a:endParaRPr lang="en-US" sz="2400" b="1" dirty="0">
              <a:solidFill>
                <a:prstClr val="black"/>
              </a:solidFill>
              <a:latin typeface="Calibri"/>
              <a:ea typeface="ＭＳ Ｐゴシック"/>
            </a:endParaRPr>
          </a:p>
          <a:p>
            <a:pPr marL="0" marR="0" lvl="0" indent="0" algn="l" defTabSz="457200" rtl="0" eaLnBrk="1" fontAlgn="auto" latinLnBrk="0" hangingPunct="1">
              <a:lnSpc>
                <a:spcPct val="150000"/>
              </a:lnSpc>
              <a:spcBef>
                <a:spcPts val="0"/>
              </a:spcBef>
              <a:spcAft>
                <a:spcPts val="1200"/>
              </a:spcAft>
              <a:buClrTx/>
              <a:buSzTx/>
              <a:buFont typeface="Arial" charset="0"/>
              <a:buNone/>
              <a:tabLst/>
              <a:defRPr/>
            </a:pPr>
            <a:r>
              <a:rPr lang="en-US" sz="2400" b="1" dirty="0">
                <a:solidFill>
                  <a:prstClr val="black"/>
                </a:solidFill>
                <a:latin typeface="Calibri"/>
                <a:ea typeface="ＭＳ Ｐゴシック"/>
              </a:rPr>
              <a:t>	Public Option/Buy-in Models</a:t>
            </a:r>
          </a:p>
          <a:p>
            <a:pPr marL="0" marR="0" lvl="0" indent="0" algn="l" defTabSz="457200" rtl="0" eaLnBrk="1" fontAlgn="auto" latinLnBrk="0" hangingPunct="1">
              <a:lnSpc>
                <a:spcPct val="150000"/>
              </a:lnSpc>
              <a:spcBef>
                <a:spcPts val="0"/>
              </a:spcBef>
              <a:spcAft>
                <a:spcPts val="1200"/>
              </a:spcAft>
              <a:buClrTx/>
              <a:buSzTx/>
              <a:buFont typeface="Arial" charset="0"/>
              <a:buNone/>
              <a:tabLst/>
              <a:defRPr/>
            </a:pPr>
            <a:r>
              <a:rPr lang="en-US" sz="2400" b="1" dirty="0">
                <a:solidFill>
                  <a:prstClr val="black"/>
                </a:solidFill>
                <a:latin typeface="Calibri"/>
                <a:ea typeface="ＭＳ Ｐゴシック"/>
              </a:rPr>
              <a:t>	Marketplace Transitions </a:t>
            </a:r>
          </a:p>
          <a:p>
            <a:pPr marL="0" marR="0" lvl="0" indent="0" algn="l" defTabSz="457200" rtl="0" eaLnBrk="1" fontAlgn="auto" latinLnBrk="0" hangingPunct="1">
              <a:spcBef>
                <a:spcPts val="0"/>
              </a:spcBef>
              <a:spcAft>
                <a:spcPts val="1200"/>
              </a:spcAft>
              <a:buClrTx/>
              <a:buSzTx/>
              <a:buFont typeface="Arial" charset="0"/>
              <a:buNone/>
              <a:tabLst/>
              <a:defRPr/>
            </a:pPr>
            <a:r>
              <a:rPr lang="en-US" sz="2400" b="1" dirty="0">
                <a:solidFill>
                  <a:prstClr val="black"/>
                </a:solidFill>
                <a:latin typeface="Calibri"/>
                <a:ea typeface="ＭＳ Ｐゴシック"/>
              </a:rPr>
              <a:t>	Other Affordability Proposals</a:t>
            </a:r>
            <a:endParaRPr kumimoji="0" lang="en-US" sz="2400" b="1" i="0" u="none" strike="noStrike" kern="1200" cap="none" spc="0" normalizeH="0" baseline="0" noProof="0" dirty="0">
              <a:ln>
                <a:noFill/>
              </a:ln>
              <a:solidFill>
                <a:prstClr val="black"/>
              </a:solidFill>
              <a:effectLst/>
              <a:uLnTx/>
              <a:uFillTx/>
              <a:latin typeface="Calibri"/>
              <a:ea typeface="ＭＳ Ｐゴシック"/>
              <a:cs typeface="+mn-cs"/>
            </a:endParaRPr>
          </a:p>
        </p:txBody>
      </p:sp>
      <p:sp>
        <p:nvSpPr>
          <p:cNvPr id="57350" name="Rectangle 25"/>
          <p:cNvSpPr>
            <a:spLocks noChangeArrowheads="1"/>
          </p:cNvSpPr>
          <p:nvPr/>
        </p:nvSpPr>
        <p:spPr bwMode="auto">
          <a:xfrm>
            <a:off x="95250" y="1779671"/>
            <a:ext cx="8966067" cy="63500"/>
          </a:xfrm>
          <a:prstGeom prst="rect">
            <a:avLst/>
          </a:prstGeom>
          <a:solidFill>
            <a:srgbClr val="E9674F">
              <a:alpha val="89804"/>
            </a:srgbClr>
          </a:solidFill>
          <a:ln w="9525" algn="ctr">
            <a:solidFill>
              <a:srgbClr val="000000"/>
            </a:solidFill>
            <a:round/>
            <a:headEnd/>
            <a:tailEnd/>
          </a:ln>
          <a:extLst/>
        </p:spPr>
        <p:txBody>
          <a:bodyPr lIns="101858" tIns="50929" rIns="101858" bIns="50929" anchor="ctr"/>
          <a:lstStyle>
            <a:lvl1pPr defTabSz="1019175">
              <a:spcBef>
                <a:spcPct val="20000"/>
              </a:spcBef>
              <a:buFont typeface="Arial" panose="020B0604020202020204" pitchFamily="34" charset="0"/>
              <a:buChar char="•"/>
              <a:defRPr sz="3200">
                <a:solidFill>
                  <a:schemeClr val="tx1"/>
                </a:solidFill>
                <a:latin typeface="Open Sans"/>
                <a:ea typeface="Open Sans"/>
                <a:cs typeface="Open Sans"/>
              </a:defRPr>
            </a:lvl1pPr>
            <a:lvl2pPr marL="742950" indent="-285750" defTabSz="1019175">
              <a:spcBef>
                <a:spcPct val="20000"/>
              </a:spcBef>
              <a:buFont typeface="Arial" panose="020B0604020202020204" pitchFamily="34" charset="0"/>
              <a:buChar char="–"/>
              <a:defRPr sz="2800">
                <a:solidFill>
                  <a:schemeClr val="tx1"/>
                </a:solidFill>
                <a:latin typeface="Open Sans Semibold"/>
                <a:ea typeface="Open Sans Semibold"/>
                <a:cs typeface="Open Sans Semibold"/>
              </a:defRPr>
            </a:lvl2pPr>
            <a:lvl3pPr marL="1143000" indent="-228600" defTabSz="1019175">
              <a:spcBef>
                <a:spcPct val="20000"/>
              </a:spcBef>
              <a:buFont typeface="Arial" panose="020B0604020202020204" pitchFamily="34" charset="0"/>
              <a:buChar char="•"/>
              <a:defRPr sz="2400">
                <a:solidFill>
                  <a:schemeClr val="tx1"/>
                </a:solidFill>
                <a:latin typeface="Open Sans Light"/>
                <a:ea typeface="Open Sans Light"/>
                <a:cs typeface="Open Sans Light"/>
              </a:defRPr>
            </a:lvl3pPr>
            <a:lvl4pPr marL="1600200" indent="-228600" defTabSz="1019175">
              <a:spcBef>
                <a:spcPct val="20000"/>
              </a:spcBef>
              <a:buFont typeface="Arial" panose="020B0604020202020204" pitchFamily="34" charset="0"/>
              <a:buChar char="–"/>
              <a:defRPr sz="2000">
                <a:solidFill>
                  <a:schemeClr val="tx1"/>
                </a:solidFill>
                <a:latin typeface="Open Sans Light"/>
                <a:ea typeface="Open Sans Light"/>
                <a:cs typeface="Open Sans Light"/>
              </a:defRPr>
            </a:lvl4pPr>
            <a:lvl5pPr marL="2057400" indent="-228600" defTabSz="1019175">
              <a:spcBef>
                <a:spcPct val="20000"/>
              </a:spcBef>
              <a:buFont typeface="Arial" panose="020B0604020202020204" pitchFamily="34" charset="0"/>
              <a:buChar char="»"/>
              <a:defRPr sz="2000">
                <a:solidFill>
                  <a:schemeClr val="tx1"/>
                </a:solidFill>
                <a:latin typeface="Open Sans Light"/>
                <a:ea typeface="Open Sans Light"/>
                <a:cs typeface="Open Sans Light"/>
              </a:defRPr>
            </a:lvl5pPr>
            <a:lvl6pPr marL="2514600" indent="-228600" defTabSz="1019175" eaLnBrk="0" fontAlgn="base" hangingPunct="0">
              <a:spcBef>
                <a:spcPct val="20000"/>
              </a:spcBef>
              <a:spcAft>
                <a:spcPct val="0"/>
              </a:spcAft>
              <a:buFont typeface="Arial" panose="020B0604020202020204" pitchFamily="34" charset="0"/>
              <a:buChar char="»"/>
              <a:defRPr sz="2000">
                <a:solidFill>
                  <a:schemeClr val="tx1"/>
                </a:solidFill>
                <a:latin typeface="Open Sans Light"/>
                <a:ea typeface="Open Sans Light"/>
                <a:cs typeface="Open Sans Light"/>
              </a:defRPr>
            </a:lvl6pPr>
            <a:lvl7pPr marL="2971800" indent="-228600" defTabSz="1019175" eaLnBrk="0" fontAlgn="base" hangingPunct="0">
              <a:spcBef>
                <a:spcPct val="20000"/>
              </a:spcBef>
              <a:spcAft>
                <a:spcPct val="0"/>
              </a:spcAft>
              <a:buFont typeface="Arial" panose="020B0604020202020204" pitchFamily="34" charset="0"/>
              <a:buChar char="»"/>
              <a:defRPr sz="2000">
                <a:solidFill>
                  <a:schemeClr val="tx1"/>
                </a:solidFill>
                <a:latin typeface="Open Sans Light"/>
                <a:ea typeface="Open Sans Light"/>
                <a:cs typeface="Open Sans Light"/>
              </a:defRPr>
            </a:lvl7pPr>
            <a:lvl8pPr marL="3429000" indent="-228600" defTabSz="1019175" eaLnBrk="0" fontAlgn="base" hangingPunct="0">
              <a:spcBef>
                <a:spcPct val="20000"/>
              </a:spcBef>
              <a:spcAft>
                <a:spcPct val="0"/>
              </a:spcAft>
              <a:buFont typeface="Arial" panose="020B0604020202020204" pitchFamily="34" charset="0"/>
              <a:buChar char="»"/>
              <a:defRPr sz="2000">
                <a:solidFill>
                  <a:schemeClr val="tx1"/>
                </a:solidFill>
                <a:latin typeface="Open Sans Light"/>
                <a:ea typeface="Open Sans Light"/>
                <a:cs typeface="Open Sans Light"/>
              </a:defRPr>
            </a:lvl8pPr>
            <a:lvl9pPr marL="3886200" indent="-228600" defTabSz="1019175" eaLnBrk="0" fontAlgn="base" hangingPunct="0">
              <a:spcBef>
                <a:spcPct val="20000"/>
              </a:spcBef>
              <a:spcAft>
                <a:spcPct val="0"/>
              </a:spcAft>
              <a:buFont typeface="Arial" panose="020B0604020202020204" pitchFamily="34" charset="0"/>
              <a:buChar char="»"/>
              <a:defRPr sz="2000">
                <a:solidFill>
                  <a:schemeClr val="tx1"/>
                </a:solidFill>
                <a:latin typeface="Open Sans Light"/>
                <a:ea typeface="Open Sans Light"/>
                <a:cs typeface="Open Sans Light"/>
              </a:defRPr>
            </a:lvl9pPr>
          </a:lstStyle>
          <a:p>
            <a:pPr marL="0" marR="0" lvl="0" indent="0" algn="ctr" defTabSz="1019175" rtl="0" eaLnBrk="1" fontAlgn="auto" latinLnBrk="0" hangingPunct="1">
              <a:lnSpc>
                <a:spcPct val="100000"/>
              </a:lnSpc>
              <a:spcBef>
                <a:spcPct val="0"/>
              </a:spcBef>
              <a:spcAft>
                <a:spcPts val="0"/>
              </a:spcAft>
              <a:buClrTx/>
              <a:buSzTx/>
              <a:buFontTx/>
              <a:buNone/>
              <a:tabLst/>
              <a:defRPr/>
            </a:pPr>
            <a:endParaRPr kumimoji="0" lang="en-US" altLang="en-US" sz="1100"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Arial" panose="020B0604020202020204" pitchFamily="34" charset="0"/>
            </a:endParaRPr>
          </a:p>
        </p:txBody>
      </p:sp>
      <p:sp>
        <p:nvSpPr>
          <p:cNvPr id="57351" name="Rectangle 24"/>
          <p:cNvSpPr>
            <a:spLocks noChangeArrowheads="1"/>
          </p:cNvSpPr>
          <p:nvPr/>
        </p:nvSpPr>
        <p:spPr bwMode="auto">
          <a:xfrm>
            <a:off x="177932" y="6415091"/>
            <a:ext cx="8966067" cy="65088"/>
          </a:xfrm>
          <a:prstGeom prst="rect">
            <a:avLst/>
          </a:prstGeom>
          <a:solidFill>
            <a:srgbClr val="E9674F">
              <a:alpha val="90195"/>
            </a:srgbClr>
          </a:solidFill>
          <a:ln>
            <a:noFill/>
          </a:ln>
          <a:extLst/>
        </p:spPr>
        <p:txBody>
          <a:bodyPr lIns="101858" tIns="50929" rIns="101858" bIns="50929" anchor="ctr"/>
          <a:lstStyle>
            <a:lvl1pPr defTabSz="1019175">
              <a:spcBef>
                <a:spcPct val="20000"/>
              </a:spcBef>
              <a:buFont typeface="Arial" panose="020B0604020202020204" pitchFamily="34" charset="0"/>
              <a:buChar char="•"/>
              <a:defRPr sz="3200">
                <a:solidFill>
                  <a:schemeClr val="tx1"/>
                </a:solidFill>
                <a:latin typeface="Open Sans"/>
                <a:ea typeface="Open Sans"/>
                <a:cs typeface="Open Sans"/>
              </a:defRPr>
            </a:lvl1pPr>
            <a:lvl2pPr marL="742950" indent="-285750" defTabSz="1019175">
              <a:spcBef>
                <a:spcPct val="20000"/>
              </a:spcBef>
              <a:buFont typeface="Arial" panose="020B0604020202020204" pitchFamily="34" charset="0"/>
              <a:buChar char="–"/>
              <a:defRPr sz="2800">
                <a:solidFill>
                  <a:schemeClr val="tx1"/>
                </a:solidFill>
                <a:latin typeface="Open Sans Semibold"/>
                <a:ea typeface="Open Sans Semibold"/>
                <a:cs typeface="Open Sans Semibold"/>
              </a:defRPr>
            </a:lvl2pPr>
            <a:lvl3pPr marL="1143000" indent="-228600" defTabSz="1019175">
              <a:spcBef>
                <a:spcPct val="20000"/>
              </a:spcBef>
              <a:buFont typeface="Arial" panose="020B0604020202020204" pitchFamily="34" charset="0"/>
              <a:buChar char="•"/>
              <a:defRPr sz="2400">
                <a:solidFill>
                  <a:schemeClr val="tx1"/>
                </a:solidFill>
                <a:latin typeface="Open Sans Light"/>
                <a:ea typeface="Open Sans Light"/>
                <a:cs typeface="Open Sans Light"/>
              </a:defRPr>
            </a:lvl3pPr>
            <a:lvl4pPr marL="1600200" indent="-228600" defTabSz="1019175">
              <a:spcBef>
                <a:spcPct val="20000"/>
              </a:spcBef>
              <a:buFont typeface="Arial" panose="020B0604020202020204" pitchFamily="34" charset="0"/>
              <a:buChar char="–"/>
              <a:defRPr sz="2000">
                <a:solidFill>
                  <a:schemeClr val="tx1"/>
                </a:solidFill>
                <a:latin typeface="Open Sans Light"/>
                <a:ea typeface="Open Sans Light"/>
                <a:cs typeface="Open Sans Light"/>
              </a:defRPr>
            </a:lvl4pPr>
            <a:lvl5pPr marL="2057400" indent="-228600" defTabSz="1019175">
              <a:spcBef>
                <a:spcPct val="20000"/>
              </a:spcBef>
              <a:buFont typeface="Arial" panose="020B0604020202020204" pitchFamily="34" charset="0"/>
              <a:buChar char="»"/>
              <a:defRPr sz="2000">
                <a:solidFill>
                  <a:schemeClr val="tx1"/>
                </a:solidFill>
                <a:latin typeface="Open Sans Light"/>
                <a:ea typeface="Open Sans Light"/>
                <a:cs typeface="Open Sans Light"/>
              </a:defRPr>
            </a:lvl5pPr>
            <a:lvl6pPr marL="2514600" indent="-228600" defTabSz="1019175" eaLnBrk="0" fontAlgn="base" hangingPunct="0">
              <a:spcBef>
                <a:spcPct val="20000"/>
              </a:spcBef>
              <a:spcAft>
                <a:spcPct val="0"/>
              </a:spcAft>
              <a:buFont typeface="Arial" panose="020B0604020202020204" pitchFamily="34" charset="0"/>
              <a:buChar char="»"/>
              <a:defRPr sz="2000">
                <a:solidFill>
                  <a:schemeClr val="tx1"/>
                </a:solidFill>
                <a:latin typeface="Open Sans Light"/>
                <a:ea typeface="Open Sans Light"/>
                <a:cs typeface="Open Sans Light"/>
              </a:defRPr>
            </a:lvl6pPr>
            <a:lvl7pPr marL="2971800" indent="-228600" defTabSz="1019175" eaLnBrk="0" fontAlgn="base" hangingPunct="0">
              <a:spcBef>
                <a:spcPct val="20000"/>
              </a:spcBef>
              <a:spcAft>
                <a:spcPct val="0"/>
              </a:spcAft>
              <a:buFont typeface="Arial" panose="020B0604020202020204" pitchFamily="34" charset="0"/>
              <a:buChar char="»"/>
              <a:defRPr sz="2000">
                <a:solidFill>
                  <a:schemeClr val="tx1"/>
                </a:solidFill>
                <a:latin typeface="Open Sans Light"/>
                <a:ea typeface="Open Sans Light"/>
                <a:cs typeface="Open Sans Light"/>
              </a:defRPr>
            </a:lvl7pPr>
            <a:lvl8pPr marL="3429000" indent="-228600" defTabSz="1019175" eaLnBrk="0" fontAlgn="base" hangingPunct="0">
              <a:spcBef>
                <a:spcPct val="20000"/>
              </a:spcBef>
              <a:spcAft>
                <a:spcPct val="0"/>
              </a:spcAft>
              <a:buFont typeface="Arial" panose="020B0604020202020204" pitchFamily="34" charset="0"/>
              <a:buChar char="»"/>
              <a:defRPr sz="2000">
                <a:solidFill>
                  <a:schemeClr val="tx1"/>
                </a:solidFill>
                <a:latin typeface="Open Sans Light"/>
                <a:ea typeface="Open Sans Light"/>
                <a:cs typeface="Open Sans Light"/>
              </a:defRPr>
            </a:lvl8pPr>
            <a:lvl9pPr marL="3886200" indent="-228600" defTabSz="1019175" eaLnBrk="0" fontAlgn="base" hangingPunct="0">
              <a:spcBef>
                <a:spcPct val="20000"/>
              </a:spcBef>
              <a:spcAft>
                <a:spcPct val="0"/>
              </a:spcAft>
              <a:buFont typeface="Arial" panose="020B0604020202020204" pitchFamily="34" charset="0"/>
              <a:buChar char="»"/>
              <a:defRPr sz="2000">
                <a:solidFill>
                  <a:schemeClr val="tx1"/>
                </a:solidFill>
                <a:latin typeface="Open Sans Light"/>
                <a:ea typeface="Open Sans Light"/>
                <a:cs typeface="Open Sans Light"/>
              </a:defRPr>
            </a:lvl9pPr>
          </a:lstStyle>
          <a:p>
            <a:pPr marL="0" marR="0" lvl="0" indent="0" algn="ctr" defTabSz="1019175" rtl="0" eaLnBrk="1" fontAlgn="auto" latinLnBrk="0" hangingPunct="1">
              <a:lnSpc>
                <a:spcPct val="100000"/>
              </a:lnSpc>
              <a:spcBef>
                <a:spcPct val="0"/>
              </a:spcBef>
              <a:spcAft>
                <a:spcPts val="0"/>
              </a:spcAft>
              <a:buClrTx/>
              <a:buSzTx/>
              <a:buFontTx/>
              <a:buNone/>
              <a:tabLst/>
              <a:defRPr/>
            </a:pPr>
            <a:endParaRPr kumimoji="0" lang="en-US" altLang="en-US" sz="1100"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Arial" panose="020B0604020202020204" pitchFamily="34" charset="0"/>
            </a:endParaRPr>
          </a:p>
        </p:txBody>
      </p:sp>
      <p:sp>
        <p:nvSpPr>
          <p:cNvPr id="57352" name="Oval 13"/>
          <p:cNvSpPr>
            <a:spLocks noChangeArrowheads="1"/>
          </p:cNvSpPr>
          <p:nvPr/>
        </p:nvSpPr>
        <p:spPr bwMode="auto">
          <a:xfrm>
            <a:off x="311465" y="2126465"/>
            <a:ext cx="179009" cy="182563"/>
          </a:xfrm>
          <a:prstGeom prst="ellipse">
            <a:avLst/>
          </a:prstGeom>
          <a:solidFill>
            <a:srgbClr val="E9674F"/>
          </a:solidFill>
          <a:ln w="25400" algn="ctr">
            <a:solidFill>
              <a:srgbClr val="E9674F"/>
            </a:solidFill>
            <a:round/>
            <a:headEnd/>
            <a:tailEnd/>
          </a:ln>
        </p:spPr>
        <p:txBody>
          <a:bodyPr lIns="101858" tIns="50929" rIns="101858" bIns="50929" anchor="ctr"/>
          <a:lstStyle>
            <a:lvl1pPr defTabSz="1019175">
              <a:spcBef>
                <a:spcPct val="20000"/>
              </a:spcBef>
              <a:buFont typeface="Arial" panose="020B0604020202020204" pitchFamily="34" charset="0"/>
              <a:buChar char="•"/>
              <a:defRPr sz="3200">
                <a:solidFill>
                  <a:schemeClr val="tx1"/>
                </a:solidFill>
                <a:latin typeface="Open Sans"/>
                <a:ea typeface="Open Sans"/>
                <a:cs typeface="Open Sans"/>
              </a:defRPr>
            </a:lvl1pPr>
            <a:lvl2pPr marL="742950" indent="-285750" defTabSz="1019175">
              <a:spcBef>
                <a:spcPct val="20000"/>
              </a:spcBef>
              <a:buFont typeface="Arial" panose="020B0604020202020204" pitchFamily="34" charset="0"/>
              <a:buChar char="–"/>
              <a:defRPr sz="2800">
                <a:solidFill>
                  <a:schemeClr val="tx1"/>
                </a:solidFill>
                <a:latin typeface="Open Sans Semibold"/>
                <a:ea typeface="Open Sans Semibold"/>
                <a:cs typeface="Open Sans Semibold"/>
              </a:defRPr>
            </a:lvl2pPr>
            <a:lvl3pPr marL="1143000" indent="-228600" defTabSz="1019175">
              <a:spcBef>
                <a:spcPct val="20000"/>
              </a:spcBef>
              <a:buFont typeface="Arial" panose="020B0604020202020204" pitchFamily="34" charset="0"/>
              <a:buChar char="•"/>
              <a:defRPr sz="2400">
                <a:solidFill>
                  <a:schemeClr val="tx1"/>
                </a:solidFill>
                <a:latin typeface="Open Sans Light"/>
                <a:ea typeface="Open Sans Light"/>
                <a:cs typeface="Open Sans Light"/>
              </a:defRPr>
            </a:lvl3pPr>
            <a:lvl4pPr marL="1600200" indent="-228600" defTabSz="1019175">
              <a:spcBef>
                <a:spcPct val="20000"/>
              </a:spcBef>
              <a:buFont typeface="Arial" panose="020B0604020202020204" pitchFamily="34" charset="0"/>
              <a:buChar char="–"/>
              <a:defRPr sz="2000">
                <a:solidFill>
                  <a:schemeClr val="tx1"/>
                </a:solidFill>
                <a:latin typeface="Open Sans Light"/>
                <a:ea typeface="Open Sans Light"/>
                <a:cs typeface="Open Sans Light"/>
              </a:defRPr>
            </a:lvl4pPr>
            <a:lvl5pPr marL="2057400" indent="-228600" defTabSz="1019175">
              <a:spcBef>
                <a:spcPct val="20000"/>
              </a:spcBef>
              <a:buFont typeface="Arial" panose="020B0604020202020204" pitchFamily="34" charset="0"/>
              <a:buChar char="»"/>
              <a:defRPr sz="2000">
                <a:solidFill>
                  <a:schemeClr val="tx1"/>
                </a:solidFill>
                <a:latin typeface="Open Sans Light"/>
                <a:ea typeface="Open Sans Light"/>
                <a:cs typeface="Open Sans Light"/>
              </a:defRPr>
            </a:lvl5pPr>
            <a:lvl6pPr marL="2514600" indent="-228600" defTabSz="1019175" eaLnBrk="0" fontAlgn="base" hangingPunct="0">
              <a:spcBef>
                <a:spcPct val="20000"/>
              </a:spcBef>
              <a:spcAft>
                <a:spcPct val="0"/>
              </a:spcAft>
              <a:buFont typeface="Arial" panose="020B0604020202020204" pitchFamily="34" charset="0"/>
              <a:buChar char="»"/>
              <a:defRPr sz="2000">
                <a:solidFill>
                  <a:schemeClr val="tx1"/>
                </a:solidFill>
                <a:latin typeface="Open Sans Light"/>
                <a:ea typeface="Open Sans Light"/>
                <a:cs typeface="Open Sans Light"/>
              </a:defRPr>
            </a:lvl6pPr>
            <a:lvl7pPr marL="2971800" indent="-228600" defTabSz="1019175" eaLnBrk="0" fontAlgn="base" hangingPunct="0">
              <a:spcBef>
                <a:spcPct val="20000"/>
              </a:spcBef>
              <a:spcAft>
                <a:spcPct val="0"/>
              </a:spcAft>
              <a:buFont typeface="Arial" panose="020B0604020202020204" pitchFamily="34" charset="0"/>
              <a:buChar char="»"/>
              <a:defRPr sz="2000">
                <a:solidFill>
                  <a:schemeClr val="tx1"/>
                </a:solidFill>
                <a:latin typeface="Open Sans Light"/>
                <a:ea typeface="Open Sans Light"/>
                <a:cs typeface="Open Sans Light"/>
              </a:defRPr>
            </a:lvl7pPr>
            <a:lvl8pPr marL="3429000" indent="-228600" defTabSz="1019175" eaLnBrk="0" fontAlgn="base" hangingPunct="0">
              <a:spcBef>
                <a:spcPct val="20000"/>
              </a:spcBef>
              <a:spcAft>
                <a:spcPct val="0"/>
              </a:spcAft>
              <a:buFont typeface="Arial" panose="020B0604020202020204" pitchFamily="34" charset="0"/>
              <a:buChar char="»"/>
              <a:defRPr sz="2000">
                <a:solidFill>
                  <a:schemeClr val="tx1"/>
                </a:solidFill>
                <a:latin typeface="Open Sans Light"/>
                <a:ea typeface="Open Sans Light"/>
                <a:cs typeface="Open Sans Light"/>
              </a:defRPr>
            </a:lvl8pPr>
            <a:lvl9pPr marL="3886200" indent="-228600" defTabSz="1019175" eaLnBrk="0" fontAlgn="base" hangingPunct="0">
              <a:spcBef>
                <a:spcPct val="20000"/>
              </a:spcBef>
              <a:spcAft>
                <a:spcPct val="0"/>
              </a:spcAft>
              <a:buFont typeface="Arial" panose="020B0604020202020204" pitchFamily="34" charset="0"/>
              <a:buChar char="»"/>
              <a:defRPr sz="2000">
                <a:solidFill>
                  <a:schemeClr val="tx1"/>
                </a:solidFill>
                <a:latin typeface="Open Sans Light"/>
                <a:ea typeface="Open Sans Light"/>
                <a:cs typeface="Open Sans Light"/>
              </a:defRPr>
            </a:lvl9pPr>
          </a:lstStyle>
          <a:p>
            <a:pPr marL="0" marR="0" lvl="0" indent="0" algn="ctr" defTabSz="1019175" rtl="0" eaLnBrk="1" fontAlgn="auto" latinLnBrk="0" hangingPunct="1">
              <a:lnSpc>
                <a:spcPct val="100000"/>
              </a:lnSpc>
              <a:spcBef>
                <a:spcPct val="0"/>
              </a:spcBef>
              <a:spcAft>
                <a:spcPts val="0"/>
              </a:spcAft>
              <a:buClrTx/>
              <a:buSzTx/>
              <a:buFontTx/>
              <a:buNone/>
              <a:tabLst/>
              <a:defRPr/>
            </a:pPr>
            <a:endParaRPr kumimoji="0" lang="en-US" altLang="en-US" sz="1100"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Arial" panose="020B0604020202020204" pitchFamily="34" charset="0"/>
            </a:endParaRPr>
          </a:p>
        </p:txBody>
      </p:sp>
      <p:sp>
        <p:nvSpPr>
          <p:cNvPr id="57353" name="Oval 13"/>
          <p:cNvSpPr>
            <a:spLocks noChangeArrowheads="1"/>
          </p:cNvSpPr>
          <p:nvPr/>
        </p:nvSpPr>
        <p:spPr bwMode="auto">
          <a:xfrm>
            <a:off x="311465" y="2828140"/>
            <a:ext cx="179009" cy="182563"/>
          </a:xfrm>
          <a:prstGeom prst="ellipse">
            <a:avLst/>
          </a:prstGeom>
          <a:solidFill>
            <a:srgbClr val="E9674F"/>
          </a:solidFill>
          <a:ln w="25400" algn="ctr">
            <a:solidFill>
              <a:srgbClr val="E9674F"/>
            </a:solidFill>
            <a:round/>
            <a:headEnd/>
            <a:tailEnd/>
          </a:ln>
        </p:spPr>
        <p:txBody>
          <a:bodyPr lIns="101858" tIns="50929" rIns="101858" bIns="50929" anchor="ctr"/>
          <a:lstStyle>
            <a:lvl1pPr defTabSz="1019175">
              <a:spcBef>
                <a:spcPct val="20000"/>
              </a:spcBef>
              <a:buFont typeface="Arial" panose="020B0604020202020204" pitchFamily="34" charset="0"/>
              <a:buChar char="•"/>
              <a:defRPr sz="3200">
                <a:solidFill>
                  <a:schemeClr val="tx1"/>
                </a:solidFill>
                <a:latin typeface="Open Sans"/>
                <a:ea typeface="Open Sans"/>
                <a:cs typeface="Open Sans"/>
              </a:defRPr>
            </a:lvl1pPr>
            <a:lvl2pPr marL="742950" indent="-285750" defTabSz="1019175">
              <a:spcBef>
                <a:spcPct val="20000"/>
              </a:spcBef>
              <a:buFont typeface="Arial" panose="020B0604020202020204" pitchFamily="34" charset="0"/>
              <a:buChar char="–"/>
              <a:defRPr sz="2800">
                <a:solidFill>
                  <a:schemeClr val="tx1"/>
                </a:solidFill>
                <a:latin typeface="Open Sans Semibold"/>
                <a:ea typeface="Open Sans Semibold"/>
                <a:cs typeface="Open Sans Semibold"/>
              </a:defRPr>
            </a:lvl2pPr>
            <a:lvl3pPr marL="1143000" indent="-228600" defTabSz="1019175">
              <a:spcBef>
                <a:spcPct val="20000"/>
              </a:spcBef>
              <a:buFont typeface="Arial" panose="020B0604020202020204" pitchFamily="34" charset="0"/>
              <a:buChar char="•"/>
              <a:defRPr sz="2400">
                <a:solidFill>
                  <a:schemeClr val="tx1"/>
                </a:solidFill>
                <a:latin typeface="Open Sans Light"/>
                <a:ea typeface="Open Sans Light"/>
                <a:cs typeface="Open Sans Light"/>
              </a:defRPr>
            </a:lvl3pPr>
            <a:lvl4pPr marL="1600200" indent="-228600" defTabSz="1019175">
              <a:spcBef>
                <a:spcPct val="20000"/>
              </a:spcBef>
              <a:buFont typeface="Arial" panose="020B0604020202020204" pitchFamily="34" charset="0"/>
              <a:buChar char="–"/>
              <a:defRPr sz="2000">
                <a:solidFill>
                  <a:schemeClr val="tx1"/>
                </a:solidFill>
                <a:latin typeface="Open Sans Light"/>
                <a:ea typeface="Open Sans Light"/>
                <a:cs typeface="Open Sans Light"/>
              </a:defRPr>
            </a:lvl4pPr>
            <a:lvl5pPr marL="2057400" indent="-228600" defTabSz="1019175">
              <a:spcBef>
                <a:spcPct val="20000"/>
              </a:spcBef>
              <a:buFont typeface="Arial" panose="020B0604020202020204" pitchFamily="34" charset="0"/>
              <a:buChar char="»"/>
              <a:defRPr sz="2000">
                <a:solidFill>
                  <a:schemeClr val="tx1"/>
                </a:solidFill>
                <a:latin typeface="Open Sans Light"/>
                <a:ea typeface="Open Sans Light"/>
                <a:cs typeface="Open Sans Light"/>
              </a:defRPr>
            </a:lvl5pPr>
            <a:lvl6pPr marL="2514600" indent="-228600" defTabSz="1019175" eaLnBrk="0" fontAlgn="base" hangingPunct="0">
              <a:spcBef>
                <a:spcPct val="20000"/>
              </a:spcBef>
              <a:spcAft>
                <a:spcPct val="0"/>
              </a:spcAft>
              <a:buFont typeface="Arial" panose="020B0604020202020204" pitchFamily="34" charset="0"/>
              <a:buChar char="»"/>
              <a:defRPr sz="2000">
                <a:solidFill>
                  <a:schemeClr val="tx1"/>
                </a:solidFill>
                <a:latin typeface="Open Sans Light"/>
                <a:ea typeface="Open Sans Light"/>
                <a:cs typeface="Open Sans Light"/>
              </a:defRPr>
            </a:lvl6pPr>
            <a:lvl7pPr marL="2971800" indent="-228600" defTabSz="1019175" eaLnBrk="0" fontAlgn="base" hangingPunct="0">
              <a:spcBef>
                <a:spcPct val="20000"/>
              </a:spcBef>
              <a:spcAft>
                <a:spcPct val="0"/>
              </a:spcAft>
              <a:buFont typeface="Arial" panose="020B0604020202020204" pitchFamily="34" charset="0"/>
              <a:buChar char="»"/>
              <a:defRPr sz="2000">
                <a:solidFill>
                  <a:schemeClr val="tx1"/>
                </a:solidFill>
                <a:latin typeface="Open Sans Light"/>
                <a:ea typeface="Open Sans Light"/>
                <a:cs typeface="Open Sans Light"/>
              </a:defRPr>
            </a:lvl7pPr>
            <a:lvl8pPr marL="3429000" indent="-228600" defTabSz="1019175" eaLnBrk="0" fontAlgn="base" hangingPunct="0">
              <a:spcBef>
                <a:spcPct val="20000"/>
              </a:spcBef>
              <a:spcAft>
                <a:spcPct val="0"/>
              </a:spcAft>
              <a:buFont typeface="Arial" panose="020B0604020202020204" pitchFamily="34" charset="0"/>
              <a:buChar char="»"/>
              <a:defRPr sz="2000">
                <a:solidFill>
                  <a:schemeClr val="tx1"/>
                </a:solidFill>
                <a:latin typeface="Open Sans Light"/>
                <a:ea typeface="Open Sans Light"/>
                <a:cs typeface="Open Sans Light"/>
              </a:defRPr>
            </a:lvl8pPr>
            <a:lvl9pPr marL="3886200" indent="-228600" defTabSz="1019175" eaLnBrk="0" fontAlgn="base" hangingPunct="0">
              <a:spcBef>
                <a:spcPct val="20000"/>
              </a:spcBef>
              <a:spcAft>
                <a:spcPct val="0"/>
              </a:spcAft>
              <a:buFont typeface="Arial" panose="020B0604020202020204" pitchFamily="34" charset="0"/>
              <a:buChar char="»"/>
              <a:defRPr sz="2000">
                <a:solidFill>
                  <a:schemeClr val="tx1"/>
                </a:solidFill>
                <a:latin typeface="Open Sans Light"/>
                <a:ea typeface="Open Sans Light"/>
                <a:cs typeface="Open Sans Light"/>
              </a:defRPr>
            </a:lvl9pPr>
          </a:lstStyle>
          <a:p>
            <a:pPr marL="0" marR="0" lvl="0" indent="0" algn="ctr" defTabSz="1019175" rtl="0" eaLnBrk="1" fontAlgn="auto" latinLnBrk="0" hangingPunct="1">
              <a:lnSpc>
                <a:spcPct val="100000"/>
              </a:lnSpc>
              <a:spcBef>
                <a:spcPct val="0"/>
              </a:spcBef>
              <a:spcAft>
                <a:spcPts val="0"/>
              </a:spcAft>
              <a:buClrTx/>
              <a:buSzTx/>
              <a:buFontTx/>
              <a:buNone/>
              <a:tabLst/>
              <a:defRPr/>
            </a:pPr>
            <a:endParaRPr kumimoji="0" lang="en-US" altLang="en-US" sz="1100"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Arial" panose="020B0604020202020204" pitchFamily="34" charset="0"/>
            </a:endParaRPr>
          </a:p>
        </p:txBody>
      </p:sp>
      <p:sp>
        <p:nvSpPr>
          <p:cNvPr id="57356" name="Oval 16"/>
          <p:cNvSpPr>
            <a:spLocks noChangeArrowheads="1"/>
          </p:cNvSpPr>
          <p:nvPr/>
        </p:nvSpPr>
        <p:spPr bwMode="auto">
          <a:xfrm>
            <a:off x="744382" y="3524356"/>
            <a:ext cx="179009" cy="182562"/>
          </a:xfrm>
          <a:prstGeom prst="ellipse">
            <a:avLst/>
          </a:prstGeom>
          <a:solidFill>
            <a:srgbClr val="8064A2"/>
          </a:solidFill>
          <a:ln w="25400" algn="ctr">
            <a:solidFill>
              <a:srgbClr val="8064A2"/>
            </a:solidFill>
            <a:round/>
            <a:headEnd/>
            <a:tailEnd/>
          </a:ln>
        </p:spPr>
        <p:txBody>
          <a:bodyPr lIns="101858" tIns="50929" rIns="101858" bIns="50929" anchor="ctr"/>
          <a:lstStyle>
            <a:lvl1pPr defTabSz="1019175">
              <a:spcBef>
                <a:spcPct val="20000"/>
              </a:spcBef>
              <a:buFont typeface="Arial" panose="020B0604020202020204" pitchFamily="34" charset="0"/>
              <a:buChar char="•"/>
              <a:defRPr sz="3200">
                <a:solidFill>
                  <a:schemeClr val="tx1"/>
                </a:solidFill>
                <a:latin typeface="Open Sans"/>
                <a:ea typeface="Open Sans"/>
                <a:cs typeface="Open Sans"/>
              </a:defRPr>
            </a:lvl1pPr>
            <a:lvl2pPr marL="742950" indent="-285750" defTabSz="1019175">
              <a:spcBef>
                <a:spcPct val="20000"/>
              </a:spcBef>
              <a:buFont typeface="Arial" panose="020B0604020202020204" pitchFamily="34" charset="0"/>
              <a:buChar char="–"/>
              <a:defRPr sz="2800">
                <a:solidFill>
                  <a:schemeClr val="tx1"/>
                </a:solidFill>
                <a:latin typeface="Open Sans Semibold"/>
                <a:ea typeface="Open Sans Semibold"/>
                <a:cs typeface="Open Sans Semibold"/>
              </a:defRPr>
            </a:lvl2pPr>
            <a:lvl3pPr marL="1143000" indent="-228600" defTabSz="1019175">
              <a:spcBef>
                <a:spcPct val="20000"/>
              </a:spcBef>
              <a:buFont typeface="Arial" panose="020B0604020202020204" pitchFamily="34" charset="0"/>
              <a:buChar char="•"/>
              <a:defRPr sz="2400">
                <a:solidFill>
                  <a:schemeClr val="tx1"/>
                </a:solidFill>
                <a:latin typeface="Open Sans Light"/>
                <a:ea typeface="Open Sans Light"/>
                <a:cs typeface="Open Sans Light"/>
              </a:defRPr>
            </a:lvl3pPr>
            <a:lvl4pPr marL="1600200" indent="-228600" defTabSz="1019175">
              <a:spcBef>
                <a:spcPct val="20000"/>
              </a:spcBef>
              <a:buFont typeface="Arial" panose="020B0604020202020204" pitchFamily="34" charset="0"/>
              <a:buChar char="–"/>
              <a:defRPr sz="2000">
                <a:solidFill>
                  <a:schemeClr val="tx1"/>
                </a:solidFill>
                <a:latin typeface="Open Sans Light"/>
                <a:ea typeface="Open Sans Light"/>
                <a:cs typeface="Open Sans Light"/>
              </a:defRPr>
            </a:lvl4pPr>
            <a:lvl5pPr marL="2057400" indent="-228600" defTabSz="1019175">
              <a:spcBef>
                <a:spcPct val="20000"/>
              </a:spcBef>
              <a:buFont typeface="Arial" panose="020B0604020202020204" pitchFamily="34" charset="0"/>
              <a:buChar char="»"/>
              <a:defRPr sz="2000">
                <a:solidFill>
                  <a:schemeClr val="tx1"/>
                </a:solidFill>
                <a:latin typeface="Open Sans Light"/>
                <a:ea typeface="Open Sans Light"/>
                <a:cs typeface="Open Sans Light"/>
              </a:defRPr>
            </a:lvl5pPr>
            <a:lvl6pPr marL="2514600" indent="-228600" defTabSz="1019175" eaLnBrk="0" fontAlgn="base" hangingPunct="0">
              <a:spcBef>
                <a:spcPct val="20000"/>
              </a:spcBef>
              <a:spcAft>
                <a:spcPct val="0"/>
              </a:spcAft>
              <a:buFont typeface="Arial" panose="020B0604020202020204" pitchFamily="34" charset="0"/>
              <a:buChar char="»"/>
              <a:defRPr sz="2000">
                <a:solidFill>
                  <a:schemeClr val="tx1"/>
                </a:solidFill>
                <a:latin typeface="Open Sans Light"/>
                <a:ea typeface="Open Sans Light"/>
                <a:cs typeface="Open Sans Light"/>
              </a:defRPr>
            </a:lvl6pPr>
            <a:lvl7pPr marL="2971800" indent="-228600" defTabSz="1019175" eaLnBrk="0" fontAlgn="base" hangingPunct="0">
              <a:spcBef>
                <a:spcPct val="20000"/>
              </a:spcBef>
              <a:spcAft>
                <a:spcPct val="0"/>
              </a:spcAft>
              <a:buFont typeface="Arial" panose="020B0604020202020204" pitchFamily="34" charset="0"/>
              <a:buChar char="»"/>
              <a:defRPr sz="2000">
                <a:solidFill>
                  <a:schemeClr val="tx1"/>
                </a:solidFill>
                <a:latin typeface="Open Sans Light"/>
                <a:ea typeface="Open Sans Light"/>
                <a:cs typeface="Open Sans Light"/>
              </a:defRPr>
            </a:lvl7pPr>
            <a:lvl8pPr marL="3429000" indent="-228600" defTabSz="1019175" eaLnBrk="0" fontAlgn="base" hangingPunct="0">
              <a:spcBef>
                <a:spcPct val="20000"/>
              </a:spcBef>
              <a:spcAft>
                <a:spcPct val="0"/>
              </a:spcAft>
              <a:buFont typeface="Arial" panose="020B0604020202020204" pitchFamily="34" charset="0"/>
              <a:buChar char="»"/>
              <a:defRPr sz="2000">
                <a:solidFill>
                  <a:schemeClr val="tx1"/>
                </a:solidFill>
                <a:latin typeface="Open Sans Light"/>
                <a:ea typeface="Open Sans Light"/>
                <a:cs typeface="Open Sans Light"/>
              </a:defRPr>
            </a:lvl8pPr>
            <a:lvl9pPr marL="3886200" indent="-228600" defTabSz="1019175" eaLnBrk="0" fontAlgn="base" hangingPunct="0">
              <a:spcBef>
                <a:spcPct val="20000"/>
              </a:spcBef>
              <a:spcAft>
                <a:spcPct val="0"/>
              </a:spcAft>
              <a:buFont typeface="Arial" panose="020B0604020202020204" pitchFamily="34" charset="0"/>
              <a:buChar char="»"/>
              <a:defRPr sz="2000">
                <a:solidFill>
                  <a:schemeClr val="tx1"/>
                </a:solidFill>
                <a:latin typeface="Open Sans Light"/>
                <a:ea typeface="Open Sans Light"/>
                <a:cs typeface="Open Sans Light"/>
              </a:defRPr>
            </a:lvl9pPr>
          </a:lstStyle>
          <a:p>
            <a:pPr marL="0" marR="0" lvl="0" indent="0" algn="ctr" defTabSz="1019175" rtl="0" eaLnBrk="1" fontAlgn="auto" latinLnBrk="0" hangingPunct="1">
              <a:lnSpc>
                <a:spcPct val="100000"/>
              </a:lnSpc>
              <a:spcBef>
                <a:spcPct val="0"/>
              </a:spcBef>
              <a:spcAft>
                <a:spcPts val="0"/>
              </a:spcAft>
              <a:buClrTx/>
              <a:buSzTx/>
              <a:buFontTx/>
              <a:buNone/>
              <a:tabLst/>
              <a:defRPr/>
            </a:pPr>
            <a:endParaRPr kumimoji="0" lang="en-US" altLang="en-US" sz="1100"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Arial" panose="020B0604020202020204" pitchFamily="34" charset="0"/>
            </a:endParaRPr>
          </a:p>
        </p:txBody>
      </p:sp>
      <p:sp>
        <p:nvSpPr>
          <p:cNvPr id="57357" name="Oval 16"/>
          <p:cNvSpPr>
            <a:spLocks noChangeArrowheads="1"/>
          </p:cNvSpPr>
          <p:nvPr/>
        </p:nvSpPr>
        <p:spPr bwMode="auto">
          <a:xfrm>
            <a:off x="744382" y="4198771"/>
            <a:ext cx="179009" cy="182562"/>
          </a:xfrm>
          <a:prstGeom prst="ellipse">
            <a:avLst/>
          </a:prstGeom>
          <a:solidFill>
            <a:srgbClr val="8064A2"/>
          </a:solidFill>
          <a:ln w="25400" algn="ctr">
            <a:solidFill>
              <a:srgbClr val="8064A2"/>
            </a:solidFill>
            <a:round/>
            <a:headEnd/>
            <a:tailEnd/>
          </a:ln>
        </p:spPr>
        <p:txBody>
          <a:bodyPr lIns="101858" tIns="50929" rIns="101858" bIns="50929" anchor="ctr"/>
          <a:lstStyle>
            <a:lvl1pPr defTabSz="1019175">
              <a:spcBef>
                <a:spcPct val="20000"/>
              </a:spcBef>
              <a:buFont typeface="Arial" panose="020B0604020202020204" pitchFamily="34" charset="0"/>
              <a:buChar char="•"/>
              <a:defRPr sz="3200">
                <a:solidFill>
                  <a:schemeClr val="tx1"/>
                </a:solidFill>
                <a:latin typeface="Open Sans"/>
                <a:ea typeface="Open Sans"/>
                <a:cs typeface="Open Sans"/>
              </a:defRPr>
            </a:lvl1pPr>
            <a:lvl2pPr marL="742950" indent="-285750" defTabSz="1019175">
              <a:spcBef>
                <a:spcPct val="20000"/>
              </a:spcBef>
              <a:buFont typeface="Arial" panose="020B0604020202020204" pitchFamily="34" charset="0"/>
              <a:buChar char="–"/>
              <a:defRPr sz="2800">
                <a:solidFill>
                  <a:schemeClr val="tx1"/>
                </a:solidFill>
                <a:latin typeface="Open Sans Semibold"/>
                <a:ea typeface="Open Sans Semibold"/>
                <a:cs typeface="Open Sans Semibold"/>
              </a:defRPr>
            </a:lvl2pPr>
            <a:lvl3pPr marL="1143000" indent="-228600" defTabSz="1019175">
              <a:spcBef>
                <a:spcPct val="20000"/>
              </a:spcBef>
              <a:buFont typeface="Arial" panose="020B0604020202020204" pitchFamily="34" charset="0"/>
              <a:buChar char="•"/>
              <a:defRPr sz="2400">
                <a:solidFill>
                  <a:schemeClr val="tx1"/>
                </a:solidFill>
                <a:latin typeface="Open Sans Light"/>
                <a:ea typeface="Open Sans Light"/>
                <a:cs typeface="Open Sans Light"/>
              </a:defRPr>
            </a:lvl3pPr>
            <a:lvl4pPr marL="1600200" indent="-228600" defTabSz="1019175">
              <a:spcBef>
                <a:spcPct val="20000"/>
              </a:spcBef>
              <a:buFont typeface="Arial" panose="020B0604020202020204" pitchFamily="34" charset="0"/>
              <a:buChar char="–"/>
              <a:defRPr sz="2000">
                <a:solidFill>
                  <a:schemeClr val="tx1"/>
                </a:solidFill>
                <a:latin typeface="Open Sans Light"/>
                <a:ea typeface="Open Sans Light"/>
                <a:cs typeface="Open Sans Light"/>
              </a:defRPr>
            </a:lvl4pPr>
            <a:lvl5pPr marL="2057400" indent="-228600" defTabSz="1019175">
              <a:spcBef>
                <a:spcPct val="20000"/>
              </a:spcBef>
              <a:buFont typeface="Arial" panose="020B0604020202020204" pitchFamily="34" charset="0"/>
              <a:buChar char="»"/>
              <a:defRPr sz="2000">
                <a:solidFill>
                  <a:schemeClr val="tx1"/>
                </a:solidFill>
                <a:latin typeface="Open Sans Light"/>
                <a:ea typeface="Open Sans Light"/>
                <a:cs typeface="Open Sans Light"/>
              </a:defRPr>
            </a:lvl5pPr>
            <a:lvl6pPr marL="2514600" indent="-228600" defTabSz="1019175" eaLnBrk="0" fontAlgn="base" hangingPunct="0">
              <a:spcBef>
                <a:spcPct val="20000"/>
              </a:spcBef>
              <a:spcAft>
                <a:spcPct val="0"/>
              </a:spcAft>
              <a:buFont typeface="Arial" panose="020B0604020202020204" pitchFamily="34" charset="0"/>
              <a:buChar char="»"/>
              <a:defRPr sz="2000">
                <a:solidFill>
                  <a:schemeClr val="tx1"/>
                </a:solidFill>
                <a:latin typeface="Open Sans Light"/>
                <a:ea typeface="Open Sans Light"/>
                <a:cs typeface="Open Sans Light"/>
              </a:defRPr>
            </a:lvl6pPr>
            <a:lvl7pPr marL="2971800" indent="-228600" defTabSz="1019175" eaLnBrk="0" fontAlgn="base" hangingPunct="0">
              <a:spcBef>
                <a:spcPct val="20000"/>
              </a:spcBef>
              <a:spcAft>
                <a:spcPct val="0"/>
              </a:spcAft>
              <a:buFont typeface="Arial" panose="020B0604020202020204" pitchFamily="34" charset="0"/>
              <a:buChar char="»"/>
              <a:defRPr sz="2000">
                <a:solidFill>
                  <a:schemeClr val="tx1"/>
                </a:solidFill>
                <a:latin typeface="Open Sans Light"/>
                <a:ea typeface="Open Sans Light"/>
                <a:cs typeface="Open Sans Light"/>
              </a:defRPr>
            </a:lvl7pPr>
            <a:lvl8pPr marL="3429000" indent="-228600" defTabSz="1019175" eaLnBrk="0" fontAlgn="base" hangingPunct="0">
              <a:spcBef>
                <a:spcPct val="20000"/>
              </a:spcBef>
              <a:spcAft>
                <a:spcPct val="0"/>
              </a:spcAft>
              <a:buFont typeface="Arial" panose="020B0604020202020204" pitchFamily="34" charset="0"/>
              <a:buChar char="»"/>
              <a:defRPr sz="2000">
                <a:solidFill>
                  <a:schemeClr val="tx1"/>
                </a:solidFill>
                <a:latin typeface="Open Sans Light"/>
                <a:ea typeface="Open Sans Light"/>
                <a:cs typeface="Open Sans Light"/>
              </a:defRPr>
            </a:lvl8pPr>
            <a:lvl9pPr marL="3886200" indent="-228600" defTabSz="1019175" eaLnBrk="0" fontAlgn="base" hangingPunct="0">
              <a:spcBef>
                <a:spcPct val="20000"/>
              </a:spcBef>
              <a:spcAft>
                <a:spcPct val="0"/>
              </a:spcAft>
              <a:buFont typeface="Arial" panose="020B0604020202020204" pitchFamily="34" charset="0"/>
              <a:buChar char="»"/>
              <a:defRPr sz="2000">
                <a:solidFill>
                  <a:schemeClr val="tx1"/>
                </a:solidFill>
                <a:latin typeface="Open Sans Light"/>
                <a:ea typeface="Open Sans Light"/>
                <a:cs typeface="Open Sans Light"/>
              </a:defRPr>
            </a:lvl9pPr>
          </a:lstStyle>
          <a:p>
            <a:pPr marL="0" marR="0" lvl="0" indent="0" algn="ctr" defTabSz="1019175" rtl="0" eaLnBrk="1" fontAlgn="auto" latinLnBrk="0" hangingPunct="1">
              <a:lnSpc>
                <a:spcPct val="100000"/>
              </a:lnSpc>
              <a:spcBef>
                <a:spcPct val="0"/>
              </a:spcBef>
              <a:spcAft>
                <a:spcPts val="0"/>
              </a:spcAft>
              <a:buClrTx/>
              <a:buSzTx/>
              <a:buFontTx/>
              <a:buNone/>
              <a:tabLst/>
              <a:defRPr/>
            </a:pPr>
            <a:endParaRPr kumimoji="0" lang="en-US" altLang="en-US" sz="1100"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Arial" panose="020B0604020202020204" pitchFamily="34" charset="0"/>
            </a:endParaRPr>
          </a:p>
        </p:txBody>
      </p:sp>
      <p:sp>
        <p:nvSpPr>
          <p:cNvPr id="19" name="Title 1"/>
          <p:cNvSpPr txBox="1">
            <a:spLocks/>
          </p:cNvSpPr>
          <p:nvPr/>
        </p:nvSpPr>
        <p:spPr>
          <a:xfrm>
            <a:off x="-469210" y="414964"/>
            <a:ext cx="2683021" cy="1143000"/>
          </a:xfrm>
          <a:prstGeom prst="rect">
            <a:avLst/>
          </a:prstGeom>
        </p:spPr>
        <p:txBody>
          <a:bodyPr anchor="ctr"/>
          <a:lstStyle>
            <a:lvl1pPr algn="ctr" rtl="0" eaLnBrk="0" fontAlgn="base" hangingPunct="0">
              <a:spcBef>
                <a:spcPct val="0"/>
              </a:spcBef>
              <a:spcAft>
                <a:spcPct val="0"/>
              </a:spcAft>
              <a:defRPr sz="4400" kern="1200">
                <a:solidFill>
                  <a:schemeClr val="tx1"/>
                </a:solidFill>
                <a:latin typeface="Open Sans Semibold" pitchFamily="34" charset="0"/>
                <a:ea typeface="Open Sans Semibold" pitchFamily="34" charset="0"/>
                <a:cs typeface="Open Sans Semibold" pitchFamily="34" charset="0"/>
              </a:defRPr>
            </a:lvl1pPr>
            <a:lvl2pPr algn="ctr" rtl="0" eaLnBrk="0" fontAlgn="base" hangingPunct="0">
              <a:spcBef>
                <a:spcPct val="0"/>
              </a:spcBef>
              <a:spcAft>
                <a:spcPct val="0"/>
              </a:spcAft>
              <a:defRPr sz="4400">
                <a:solidFill>
                  <a:schemeClr val="tx1"/>
                </a:solidFill>
                <a:latin typeface="Open Sans Semibold"/>
                <a:ea typeface="Open Sans Semibold"/>
                <a:cs typeface="Open Sans Semibold"/>
              </a:defRPr>
            </a:lvl2pPr>
            <a:lvl3pPr algn="ctr" rtl="0" eaLnBrk="0" fontAlgn="base" hangingPunct="0">
              <a:spcBef>
                <a:spcPct val="0"/>
              </a:spcBef>
              <a:spcAft>
                <a:spcPct val="0"/>
              </a:spcAft>
              <a:defRPr sz="4400">
                <a:solidFill>
                  <a:schemeClr val="tx1"/>
                </a:solidFill>
                <a:latin typeface="Open Sans Semibold"/>
                <a:ea typeface="Open Sans Semibold"/>
                <a:cs typeface="Open Sans Semibold"/>
              </a:defRPr>
            </a:lvl3pPr>
            <a:lvl4pPr algn="ctr" rtl="0" eaLnBrk="0" fontAlgn="base" hangingPunct="0">
              <a:spcBef>
                <a:spcPct val="0"/>
              </a:spcBef>
              <a:spcAft>
                <a:spcPct val="0"/>
              </a:spcAft>
              <a:defRPr sz="4400">
                <a:solidFill>
                  <a:schemeClr val="tx1"/>
                </a:solidFill>
                <a:latin typeface="Open Sans Semibold"/>
                <a:ea typeface="Open Sans Semibold"/>
                <a:cs typeface="Open Sans Semibold"/>
              </a:defRPr>
            </a:lvl4pPr>
            <a:lvl5pPr algn="ctr" rtl="0" eaLnBrk="0" fontAlgn="base" hangingPunct="0">
              <a:spcBef>
                <a:spcPct val="0"/>
              </a:spcBef>
              <a:spcAft>
                <a:spcPct val="0"/>
              </a:spcAft>
              <a:defRPr sz="4400">
                <a:solidFill>
                  <a:schemeClr val="tx1"/>
                </a:solidFill>
                <a:latin typeface="Open Sans Semibold"/>
                <a:ea typeface="Open Sans Semibold"/>
                <a:cs typeface="Open Sans Semibold"/>
              </a:defRPr>
            </a:lvl5pPr>
            <a:lvl6pPr marL="457200" algn="ctr" rtl="0" fontAlgn="base">
              <a:spcBef>
                <a:spcPct val="0"/>
              </a:spcBef>
              <a:spcAft>
                <a:spcPct val="0"/>
              </a:spcAft>
              <a:defRPr sz="4400">
                <a:solidFill>
                  <a:schemeClr val="tx1"/>
                </a:solidFill>
                <a:latin typeface="Open Sans Semibold"/>
                <a:ea typeface="Open Sans Semibold"/>
                <a:cs typeface="Open Sans Semibold"/>
              </a:defRPr>
            </a:lvl6pPr>
            <a:lvl7pPr marL="914400" algn="ctr" rtl="0" fontAlgn="base">
              <a:spcBef>
                <a:spcPct val="0"/>
              </a:spcBef>
              <a:spcAft>
                <a:spcPct val="0"/>
              </a:spcAft>
              <a:defRPr sz="4400">
                <a:solidFill>
                  <a:schemeClr val="tx1"/>
                </a:solidFill>
                <a:latin typeface="Open Sans Semibold"/>
                <a:ea typeface="Open Sans Semibold"/>
                <a:cs typeface="Open Sans Semibold"/>
              </a:defRPr>
            </a:lvl7pPr>
            <a:lvl8pPr marL="1371600" algn="ctr" rtl="0" fontAlgn="base">
              <a:spcBef>
                <a:spcPct val="0"/>
              </a:spcBef>
              <a:spcAft>
                <a:spcPct val="0"/>
              </a:spcAft>
              <a:defRPr sz="4400">
                <a:solidFill>
                  <a:schemeClr val="tx1"/>
                </a:solidFill>
                <a:latin typeface="Open Sans Semibold"/>
                <a:ea typeface="Open Sans Semibold"/>
                <a:cs typeface="Open Sans Semibold"/>
              </a:defRPr>
            </a:lvl8pPr>
            <a:lvl9pPr marL="1828800" algn="ctr" rtl="0" fontAlgn="base">
              <a:spcBef>
                <a:spcPct val="0"/>
              </a:spcBef>
              <a:spcAft>
                <a:spcPct val="0"/>
              </a:spcAft>
              <a:defRPr sz="4400">
                <a:solidFill>
                  <a:schemeClr val="tx1"/>
                </a:solidFill>
                <a:latin typeface="Open Sans Semibold"/>
                <a:ea typeface="Open Sans Semibold"/>
                <a:cs typeface="Open Sans Semibold"/>
              </a:defRPr>
            </a:lvl9p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a:rPr>
              <a:t>Agenda</a:t>
            </a:r>
          </a:p>
        </p:txBody>
      </p:sp>
      <p:sp>
        <p:nvSpPr>
          <p:cNvPr id="14" name="Oval 16"/>
          <p:cNvSpPr>
            <a:spLocks noChangeArrowheads="1"/>
          </p:cNvSpPr>
          <p:nvPr/>
        </p:nvSpPr>
        <p:spPr bwMode="auto">
          <a:xfrm>
            <a:off x="744381" y="4905722"/>
            <a:ext cx="179009" cy="182562"/>
          </a:xfrm>
          <a:prstGeom prst="ellipse">
            <a:avLst/>
          </a:prstGeom>
          <a:solidFill>
            <a:srgbClr val="8064A2"/>
          </a:solidFill>
          <a:ln w="25400" algn="ctr">
            <a:solidFill>
              <a:srgbClr val="8064A2"/>
            </a:solidFill>
            <a:round/>
            <a:headEnd/>
            <a:tailEnd/>
          </a:ln>
        </p:spPr>
        <p:txBody>
          <a:bodyPr lIns="101858" tIns="50929" rIns="101858" bIns="50929" anchor="ctr"/>
          <a:lstStyle>
            <a:lvl1pPr defTabSz="1019175">
              <a:spcBef>
                <a:spcPct val="20000"/>
              </a:spcBef>
              <a:buFont typeface="Arial" panose="020B0604020202020204" pitchFamily="34" charset="0"/>
              <a:buChar char="•"/>
              <a:defRPr sz="3200">
                <a:solidFill>
                  <a:schemeClr val="tx1"/>
                </a:solidFill>
                <a:latin typeface="Open Sans"/>
                <a:ea typeface="Open Sans"/>
                <a:cs typeface="Open Sans"/>
              </a:defRPr>
            </a:lvl1pPr>
            <a:lvl2pPr marL="742950" indent="-285750" defTabSz="1019175">
              <a:spcBef>
                <a:spcPct val="20000"/>
              </a:spcBef>
              <a:buFont typeface="Arial" panose="020B0604020202020204" pitchFamily="34" charset="0"/>
              <a:buChar char="–"/>
              <a:defRPr sz="2800">
                <a:solidFill>
                  <a:schemeClr val="tx1"/>
                </a:solidFill>
                <a:latin typeface="Open Sans Semibold"/>
                <a:ea typeface="Open Sans Semibold"/>
                <a:cs typeface="Open Sans Semibold"/>
              </a:defRPr>
            </a:lvl2pPr>
            <a:lvl3pPr marL="1143000" indent="-228600" defTabSz="1019175">
              <a:spcBef>
                <a:spcPct val="20000"/>
              </a:spcBef>
              <a:buFont typeface="Arial" panose="020B0604020202020204" pitchFamily="34" charset="0"/>
              <a:buChar char="•"/>
              <a:defRPr sz="2400">
                <a:solidFill>
                  <a:schemeClr val="tx1"/>
                </a:solidFill>
                <a:latin typeface="Open Sans Light"/>
                <a:ea typeface="Open Sans Light"/>
                <a:cs typeface="Open Sans Light"/>
              </a:defRPr>
            </a:lvl3pPr>
            <a:lvl4pPr marL="1600200" indent="-228600" defTabSz="1019175">
              <a:spcBef>
                <a:spcPct val="20000"/>
              </a:spcBef>
              <a:buFont typeface="Arial" panose="020B0604020202020204" pitchFamily="34" charset="0"/>
              <a:buChar char="–"/>
              <a:defRPr sz="2000">
                <a:solidFill>
                  <a:schemeClr val="tx1"/>
                </a:solidFill>
                <a:latin typeface="Open Sans Light"/>
                <a:ea typeface="Open Sans Light"/>
                <a:cs typeface="Open Sans Light"/>
              </a:defRPr>
            </a:lvl4pPr>
            <a:lvl5pPr marL="2057400" indent="-228600" defTabSz="1019175">
              <a:spcBef>
                <a:spcPct val="20000"/>
              </a:spcBef>
              <a:buFont typeface="Arial" panose="020B0604020202020204" pitchFamily="34" charset="0"/>
              <a:buChar char="»"/>
              <a:defRPr sz="2000">
                <a:solidFill>
                  <a:schemeClr val="tx1"/>
                </a:solidFill>
                <a:latin typeface="Open Sans Light"/>
                <a:ea typeface="Open Sans Light"/>
                <a:cs typeface="Open Sans Light"/>
              </a:defRPr>
            </a:lvl5pPr>
            <a:lvl6pPr marL="2514600" indent="-228600" defTabSz="1019175" eaLnBrk="0" fontAlgn="base" hangingPunct="0">
              <a:spcBef>
                <a:spcPct val="20000"/>
              </a:spcBef>
              <a:spcAft>
                <a:spcPct val="0"/>
              </a:spcAft>
              <a:buFont typeface="Arial" panose="020B0604020202020204" pitchFamily="34" charset="0"/>
              <a:buChar char="»"/>
              <a:defRPr sz="2000">
                <a:solidFill>
                  <a:schemeClr val="tx1"/>
                </a:solidFill>
                <a:latin typeface="Open Sans Light"/>
                <a:ea typeface="Open Sans Light"/>
                <a:cs typeface="Open Sans Light"/>
              </a:defRPr>
            </a:lvl6pPr>
            <a:lvl7pPr marL="2971800" indent="-228600" defTabSz="1019175" eaLnBrk="0" fontAlgn="base" hangingPunct="0">
              <a:spcBef>
                <a:spcPct val="20000"/>
              </a:spcBef>
              <a:spcAft>
                <a:spcPct val="0"/>
              </a:spcAft>
              <a:buFont typeface="Arial" panose="020B0604020202020204" pitchFamily="34" charset="0"/>
              <a:buChar char="»"/>
              <a:defRPr sz="2000">
                <a:solidFill>
                  <a:schemeClr val="tx1"/>
                </a:solidFill>
                <a:latin typeface="Open Sans Light"/>
                <a:ea typeface="Open Sans Light"/>
                <a:cs typeface="Open Sans Light"/>
              </a:defRPr>
            </a:lvl7pPr>
            <a:lvl8pPr marL="3429000" indent="-228600" defTabSz="1019175" eaLnBrk="0" fontAlgn="base" hangingPunct="0">
              <a:spcBef>
                <a:spcPct val="20000"/>
              </a:spcBef>
              <a:spcAft>
                <a:spcPct val="0"/>
              </a:spcAft>
              <a:buFont typeface="Arial" panose="020B0604020202020204" pitchFamily="34" charset="0"/>
              <a:buChar char="»"/>
              <a:defRPr sz="2000">
                <a:solidFill>
                  <a:schemeClr val="tx1"/>
                </a:solidFill>
                <a:latin typeface="Open Sans Light"/>
                <a:ea typeface="Open Sans Light"/>
                <a:cs typeface="Open Sans Light"/>
              </a:defRPr>
            </a:lvl8pPr>
            <a:lvl9pPr marL="3886200" indent="-228600" defTabSz="1019175" eaLnBrk="0" fontAlgn="base" hangingPunct="0">
              <a:spcBef>
                <a:spcPct val="20000"/>
              </a:spcBef>
              <a:spcAft>
                <a:spcPct val="0"/>
              </a:spcAft>
              <a:buFont typeface="Arial" panose="020B0604020202020204" pitchFamily="34" charset="0"/>
              <a:buChar char="»"/>
              <a:defRPr sz="2000">
                <a:solidFill>
                  <a:schemeClr val="tx1"/>
                </a:solidFill>
                <a:latin typeface="Open Sans Light"/>
                <a:ea typeface="Open Sans Light"/>
                <a:cs typeface="Open Sans Light"/>
              </a:defRPr>
            </a:lvl9pPr>
          </a:lstStyle>
          <a:p>
            <a:pPr marL="0" marR="0" lvl="0" indent="0" algn="ctr" defTabSz="1019175" rtl="0" eaLnBrk="1" fontAlgn="auto" latinLnBrk="0" hangingPunct="1">
              <a:lnSpc>
                <a:spcPct val="100000"/>
              </a:lnSpc>
              <a:spcBef>
                <a:spcPct val="0"/>
              </a:spcBef>
              <a:spcAft>
                <a:spcPts val="0"/>
              </a:spcAft>
              <a:buClrTx/>
              <a:buSzTx/>
              <a:buFontTx/>
              <a:buNone/>
              <a:tabLst/>
              <a:defRPr/>
            </a:pPr>
            <a:endParaRPr kumimoji="0" lang="en-US" altLang="en-US" sz="1100"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Arial" panose="020B0604020202020204" pitchFamily="34" charset="0"/>
            </a:endParaRPr>
          </a:p>
        </p:txBody>
      </p:sp>
      <p:sp>
        <p:nvSpPr>
          <p:cNvPr id="15" name="Oval 16"/>
          <p:cNvSpPr>
            <a:spLocks noChangeArrowheads="1"/>
          </p:cNvSpPr>
          <p:nvPr/>
        </p:nvSpPr>
        <p:spPr bwMode="auto">
          <a:xfrm>
            <a:off x="744381" y="5516151"/>
            <a:ext cx="179009" cy="182562"/>
          </a:xfrm>
          <a:prstGeom prst="ellipse">
            <a:avLst/>
          </a:prstGeom>
          <a:solidFill>
            <a:srgbClr val="8064A2"/>
          </a:solidFill>
          <a:ln w="25400" algn="ctr">
            <a:solidFill>
              <a:srgbClr val="8064A2"/>
            </a:solidFill>
            <a:round/>
            <a:headEnd/>
            <a:tailEnd/>
          </a:ln>
        </p:spPr>
        <p:txBody>
          <a:bodyPr lIns="101858" tIns="50929" rIns="101858" bIns="50929" anchor="ctr"/>
          <a:lstStyle>
            <a:lvl1pPr defTabSz="1019175">
              <a:spcBef>
                <a:spcPct val="20000"/>
              </a:spcBef>
              <a:buFont typeface="Arial" panose="020B0604020202020204" pitchFamily="34" charset="0"/>
              <a:buChar char="•"/>
              <a:defRPr sz="3200">
                <a:solidFill>
                  <a:schemeClr val="tx1"/>
                </a:solidFill>
                <a:latin typeface="Open Sans"/>
                <a:ea typeface="Open Sans"/>
                <a:cs typeface="Open Sans"/>
              </a:defRPr>
            </a:lvl1pPr>
            <a:lvl2pPr marL="742950" indent="-285750" defTabSz="1019175">
              <a:spcBef>
                <a:spcPct val="20000"/>
              </a:spcBef>
              <a:buFont typeface="Arial" panose="020B0604020202020204" pitchFamily="34" charset="0"/>
              <a:buChar char="–"/>
              <a:defRPr sz="2800">
                <a:solidFill>
                  <a:schemeClr val="tx1"/>
                </a:solidFill>
                <a:latin typeface="Open Sans Semibold"/>
                <a:ea typeface="Open Sans Semibold"/>
                <a:cs typeface="Open Sans Semibold"/>
              </a:defRPr>
            </a:lvl2pPr>
            <a:lvl3pPr marL="1143000" indent="-228600" defTabSz="1019175">
              <a:spcBef>
                <a:spcPct val="20000"/>
              </a:spcBef>
              <a:buFont typeface="Arial" panose="020B0604020202020204" pitchFamily="34" charset="0"/>
              <a:buChar char="•"/>
              <a:defRPr sz="2400">
                <a:solidFill>
                  <a:schemeClr val="tx1"/>
                </a:solidFill>
                <a:latin typeface="Open Sans Light"/>
                <a:ea typeface="Open Sans Light"/>
                <a:cs typeface="Open Sans Light"/>
              </a:defRPr>
            </a:lvl3pPr>
            <a:lvl4pPr marL="1600200" indent="-228600" defTabSz="1019175">
              <a:spcBef>
                <a:spcPct val="20000"/>
              </a:spcBef>
              <a:buFont typeface="Arial" panose="020B0604020202020204" pitchFamily="34" charset="0"/>
              <a:buChar char="–"/>
              <a:defRPr sz="2000">
                <a:solidFill>
                  <a:schemeClr val="tx1"/>
                </a:solidFill>
                <a:latin typeface="Open Sans Light"/>
                <a:ea typeface="Open Sans Light"/>
                <a:cs typeface="Open Sans Light"/>
              </a:defRPr>
            </a:lvl4pPr>
            <a:lvl5pPr marL="2057400" indent="-228600" defTabSz="1019175">
              <a:spcBef>
                <a:spcPct val="20000"/>
              </a:spcBef>
              <a:buFont typeface="Arial" panose="020B0604020202020204" pitchFamily="34" charset="0"/>
              <a:buChar char="»"/>
              <a:defRPr sz="2000">
                <a:solidFill>
                  <a:schemeClr val="tx1"/>
                </a:solidFill>
                <a:latin typeface="Open Sans Light"/>
                <a:ea typeface="Open Sans Light"/>
                <a:cs typeface="Open Sans Light"/>
              </a:defRPr>
            </a:lvl5pPr>
            <a:lvl6pPr marL="2514600" indent="-228600" defTabSz="1019175" eaLnBrk="0" fontAlgn="base" hangingPunct="0">
              <a:spcBef>
                <a:spcPct val="20000"/>
              </a:spcBef>
              <a:spcAft>
                <a:spcPct val="0"/>
              </a:spcAft>
              <a:buFont typeface="Arial" panose="020B0604020202020204" pitchFamily="34" charset="0"/>
              <a:buChar char="»"/>
              <a:defRPr sz="2000">
                <a:solidFill>
                  <a:schemeClr val="tx1"/>
                </a:solidFill>
                <a:latin typeface="Open Sans Light"/>
                <a:ea typeface="Open Sans Light"/>
                <a:cs typeface="Open Sans Light"/>
              </a:defRPr>
            </a:lvl6pPr>
            <a:lvl7pPr marL="2971800" indent="-228600" defTabSz="1019175" eaLnBrk="0" fontAlgn="base" hangingPunct="0">
              <a:spcBef>
                <a:spcPct val="20000"/>
              </a:spcBef>
              <a:spcAft>
                <a:spcPct val="0"/>
              </a:spcAft>
              <a:buFont typeface="Arial" panose="020B0604020202020204" pitchFamily="34" charset="0"/>
              <a:buChar char="»"/>
              <a:defRPr sz="2000">
                <a:solidFill>
                  <a:schemeClr val="tx1"/>
                </a:solidFill>
                <a:latin typeface="Open Sans Light"/>
                <a:ea typeface="Open Sans Light"/>
                <a:cs typeface="Open Sans Light"/>
              </a:defRPr>
            </a:lvl7pPr>
            <a:lvl8pPr marL="3429000" indent="-228600" defTabSz="1019175" eaLnBrk="0" fontAlgn="base" hangingPunct="0">
              <a:spcBef>
                <a:spcPct val="20000"/>
              </a:spcBef>
              <a:spcAft>
                <a:spcPct val="0"/>
              </a:spcAft>
              <a:buFont typeface="Arial" panose="020B0604020202020204" pitchFamily="34" charset="0"/>
              <a:buChar char="»"/>
              <a:defRPr sz="2000">
                <a:solidFill>
                  <a:schemeClr val="tx1"/>
                </a:solidFill>
                <a:latin typeface="Open Sans Light"/>
                <a:ea typeface="Open Sans Light"/>
                <a:cs typeface="Open Sans Light"/>
              </a:defRPr>
            </a:lvl8pPr>
            <a:lvl9pPr marL="3886200" indent="-228600" defTabSz="1019175" eaLnBrk="0" fontAlgn="base" hangingPunct="0">
              <a:spcBef>
                <a:spcPct val="20000"/>
              </a:spcBef>
              <a:spcAft>
                <a:spcPct val="0"/>
              </a:spcAft>
              <a:buFont typeface="Arial" panose="020B0604020202020204" pitchFamily="34" charset="0"/>
              <a:buChar char="»"/>
              <a:defRPr sz="2000">
                <a:solidFill>
                  <a:schemeClr val="tx1"/>
                </a:solidFill>
                <a:latin typeface="Open Sans Light"/>
                <a:ea typeface="Open Sans Light"/>
                <a:cs typeface="Open Sans Light"/>
              </a:defRPr>
            </a:lvl9pPr>
          </a:lstStyle>
          <a:p>
            <a:pPr marL="0" marR="0" lvl="0" indent="0" algn="ctr" defTabSz="1019175" rtl="0" eaLnBrk="1" fontAlgn="auto" latinLnBrk="0" hangingPunct="1">
              <a:lnSpc>
                <a:spcPct val="100000"/>
              </a:lnSpc>
              <a:spcBef>
                <a:spcPct val="0"/>
              </a:spcBef>
              <a:spcAft>
                <a:spcPts val="0"/>
              </a:spcAft>
              <a:buClrTx/>
              <a:buSzTx/>
              <a:buFontTx/>
              <a:buNone/>
              <a:tabLst/>
              <a:defRPr/>
            </a:pPr>
            <a:endParaRPr kumimoji="0" lang="en-US" altLang="en-US" sz="1100"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Arial" panose="020B0604020202020204" pitchFamily="34" charset="0"/>
            </a:endParaRPr>
          </a:p>
        </p:txBody>
      </p:sp>
    </p:spTree>
    <p:extLst>
      <p:ext uri="{BB962C8B-B14F-4D97-AF65-F5344CB8AC3E}">
        <p14:creationId xmlns:p14="http://schemas.microsoft.com/office/powerpoint/2010/main" val="5506481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Dynamic Federal Policy Environment</a:t>
            </a:r>
            <a:endParaRPr lang="en-US" dirty="0"/>
          </a:p>
        </p:txBody>
      </p:sp>
      <p:sp>
        <p:nvSpPr>
          <p:cNvPr id="3" name="Content Placeholder 2"/>
          <p:cNvSpPr>
            <a:spLocks noGrp="1"/>
          </p:cNvSpPr>
          <p:nvPr>
            <p:ph idx="1"/>
          </p:nvPr>
        </p:nvSpPr>
        <p:spPr>
          <a:xfrm>
            <a:off x="2133601" y="2234800"/>
            <a:ext cx="5934635" cy="3853329"/>
          </a:xfrm>
        </p:spPr>
        <p:txBody>
          <a:bodyPr>
            <a:normAutofit/>
          </a:bodyPr>
          <a:lstStyle/>
          <a:p>
            <a:pPr marL="0" indent="0">
              <a:spcBef>
                <a:spcPts val="0"/>
              </a:spcBef>
              <a:buNone/>
            </a:pPr>
            <a:endParaRPr lang="en-US" sz="2000" dirty="0"/>
          </a:p>
          <a:p>
            <a:pPr marL="0" indent="0">
              <a:spcBef>
                <a:spcPts val="0"/>
              </a:spcBef>
              <a:buNone/>
            </a:pPr>
            <a:r>
              <a:rPr lang="en-US" sz="2000" dirty="0"/>
              <a:t>ACA litigation creates uncertainty</a:t>
            </a:r>
          </a:p>
          <a:p>
            <a:pPr marL="0" indent="0">
              <a:spcBef>
                <a:spcPts val="0"/>
              </a:spcBef>
              <a:buNone/>
            </a:pPr>
            <a:endParaRPr lang="en-US" sz="2000" dirty="0"/>
          </a:p>
          <a:p>
            <a:pPr marL="0" indent="0">
              <a:spcBef>
                <a:spcPts val="0"/>
              </a:spcBef>
              <a:buNone/>
            </a:pPr>
            <a:endParaRPr lang="en-US" sz="2000" dirty="0"/>
          </a:p>
          <a:p>
            <a:pPr marL="0" indent="0">
              <a:spcBef>
                <a:spcPts val="0"/>
              </a:spcBef>
              <a:buNone/>
            </a:pPr>
            <a:endParaRPr lang="en-US" sz="2000" dirty="0"/>
          </a:p>
          <a:p>
            <a:pPr marL="0" indent="0">
              <a:spcBef>
                <a:spcPts val="0"/>
              </a:spcBef>
              <a:buNone/>
            </a:pPr>
            <a:r>
              <a:rPr lang="en-US" sz="2000" dirty="0"/>
              <a:t>Public charge rule has chilling effect on enrollment in health programs</a:t>
            </a:r>
          </a:p>
          <a:p>
            <a:pPr marL="0" indent="0">
              <a:spcBef>
                <a:spcPts val="0"/>
              </a:spcBef>
              <a:buNone/>
            </a:pPr>
            <a:endParaRPr lang="en-US" sz="2000" dirty="0"/>
          </a:p>
          <a:p>
            <a:pPr marL="0" indent="0">
              <a:buNone/>
            </a:pPr>
            <a:endParaRPr lang="en-US" sz="2000" dirty="0"/>
          </a:p>
          <a:p>
            <a:pPr marL="0" indent="0">
              <a:buNone/>
            </a:pPr>
            <a:r>
              <a:rPr lang="en-US" sz="2000" dirty="0"/>
              <a:t>Is Federal government a reliable partner?</a:t>
            </a:r>
          </a:p>
          <a:p>
            <a:pPr marL="0" indent="0">
              <a:buNone/>
            </a:pPr>
            <a:endParaRPr lang="en-US" dirty="0"/>
          </a:p>
        </p:txBody>
      </p:sp>
      <p:pic>
        <p:nvPicPr>
          <p:cNvPr id="4" name="Picture 3"/>
          <p:cNvPicPr>
            <a:picLocks noChangeAspect="1"/>
          </p:cNvPicPr>
          <p:nvPr/>
        </p:nvPicPr>
        <p:blipFill>
          <a:blip r:embed="rId2" cstate="email">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858968" y="2204253"/>
            <a:ext cx="898155" cy="898155"/>
          </a:xfrm>
          <a:prstGeom prst="rect">
            <a:avLst/>
          </a:prstGeom>
        </p:spPr>
      </p:pic>
      <p:pic>
        <p:nvPicPr>
          <p:cNvPr id="5" name="Picture 4"/>
          <p:cNvPicPr>
            <a:picLocks noChangeAspect="1"/>
          </p:cNvPicPr>
          <p:nvPr/>
        </p:nvPicPr>
        <p:blipFill rotWithShape="1">
          <a:blip r:embed="rId3"/>
          <a:srcRect l="-1" t="-1" r="-469" b="9977"/>
          <a:stretch/>
        </p:blipFill>
        <p:spPr>
          <a:xfrm>
            <a:off x="858968" y="3510332"/>
            <a:ext cx="776393" cy="750415"/>
          </a:xfrm>
          <a:prstGeom prst="rect">
            <a:avLst/>
          </a:prstGeom>
        </p:spPr>
      </p:pic>
      <p:pic>
        <p:nvPicPr>
          <p:cNvPr id="6" name="Picture 5"/>
          <p:cNvPicPr>
            <a:picLocks noChangeAspect="1"/>
          </p:cNvPicPr>
          <p:nvPr/>
        </p:nvPicPr>
        <p:blipFill>
          <a:blip r:embed="rId4" cstate="email">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913765" y="4938812"/>
            <a:ext cx="666798" cy="665495"/>
          </a:xfrm>
          <a:prstGeom prst="rect">
            <a:avLst/>
          </a:prstGeom>
        </p:spPr>
      </p:pic>
    </p:spTree>
    <p:extLst>
      <p:ext uri="{BB962C8B-B14F-4D97-AF65-F5344CB8AC3E}">
        <p14:creationId xmlns:p14="http://schemas.microsoft.com/office/powerpoint/2010/main" val="2328225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395428" y="722750"/>
            <a:ext cx="7421216" cy="636688"/>
          </a:xfrm>
          <a:prstGeom prst="rect">
            <a:avLst/>
          </a:prstGeom>
        </p:spPr>
        <p:txBody>
          <a:bodyPr wrap="none" lIns="81892" tIns="40945" rIns="81892" bIns="40945">
            <a:spAutoFit/>
          </a:bodyPr>
          <a:lstStyle/>
          <a:p>
            <a:pPr marL="0" marR="0" lvl="0" indent="0" algn="l" defTabSz="912264" rtl="0" eaLnBrk="1" fontAlgn="auto" latinLnBrk="0" hangingPunct="1">
              <a:lnSpc>
                <a:spcPct val="100000"/>
              </a:lnSpc>
              <a:spcBef>
                <a:spcPts val="0"/>
              </a:spcBef>
              <a:spcAft>
                <a:spcPts val="2400"/>
              </a:spcAft>
              <a:buClrTx/>
              <a:buSzTx/>
              <a:buFontTx/>
              <a:buNone/>
              <a:tabLst/>
              <a:defRPr/>
            </a:pPr>
            <a:r>
              <a:rPr kumimoji="0" lang="en-US" sz="3600" b="1" i="0" u="none" strike="noStrike" kern="1200" cap="none" spc="0" normalizeH="0" baseline="0" noProof="0" dirty="0">
                <a:ln>
                  <a:noFill/>
                </a:ln>
                <a:solidFill>
                  <a:srgbClr val="E9674F"/>
                </a:solidFill>
                <a:effectLst/>
                <a:uLnTx/>
                <a:uFillTx/>
                <a:latin typeface="Calibri"/>
                <a:ea typeface="+mn-ea"/>
                <a:cs typeface="Helvetica Neue Medium"/>
              </a:rPr>
              <a:t>Plan Affordability Remains a Problem </a:t>
            </a:r>
          </a:p>
        </p:txBody>
      </p:sp>
      <p:sp>
        <p:nvSpPr>
          <p:cNvPr id="13" name="Rectangle 12"/>
          <p:cNvSpPr/>
          <p:nvPr/>
        </p:nvSpPr>
        <p:spPr bwMode="auto">
          <a:xfrm>
            <a:off x="128323" y="1332048"/>
            <a:ext cx="8897113" cy="5222114"/>
          </a:xfrm>
          <a:prstGeom prst="rect">
            <a:avLst/>
          </a:prstGeom>
          <a:solidFill>
            <a:srgbClr val="E9674F">
              <a:alpha val="74902"/>
            </a:srgbClr>
          </a:solidFill>
          <a:ln w="9525" cap="flat" cmpd="sng" algn="ctr">
            <a:noFill/>
            <a:prstDash val="solid"/>
            <a:round/>
            <a:headEnd type="none" w="med" len="med"/>
            <a:tailEnd type="none" w="med" len="med"/>
          </a:ln>
          <a:effectLst/>
        </p:spPr>
        <p:txBody>
          <a:bodyPr vert="horz" wrap="square" lIns="91354" tIns="45678" rIns="91354" bIns="45678" numCol="1" rtlCol="0" anchor="ctr" anchorCtr="0" compatLnSpc="1">
            <a:prstTxWarp prst="textNoShape">
              <a:avLst/>
            </a:prstTxWarp>
          </a:bodyPr>
          <a:lstStyle/>
          <a:p>
            <a:pPr marL="0" marR="0" lvl="0" indent="0" algn="ctr" defTabSz="914073"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latin typeface="Calibri" charset="0"/>
              <a:ea typeface="+mn-ea"/>
              <a:cs typeface="+mn-cs"/>
            </a:endParaRPr>
          </a:p>
        </p:txBody>
      </p:sp>
      <p:sp>
        <p:nvSpPr>
          <p:cNvPr id="9" name="Slide Number Placeholder 1"/>
          <p:cNvSpPr txBox="1">
            <a:spLocks/>
          </p:cNvSpPr>
          <p:nvPr/>
        </p:nvSpPr>
        <p:spPr>
          <a:xfrm>
            <a:off x="7772400" y="6245225"/>
            <a:ext cx="914400" cy="476250"/>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16ADAB6D-5D2F-473C-A2F7-8895C8D5FC33}" type="slidenum">
              <a:rPr kumimoji="0" lang="en-US" sz="1400" b="1" i="0" u="none" strike="noStrike" kern="1200" cap="none" spc="0" normalizeH="0" baseline="0" noProof="0" smtClean="0">
                <a:ln>
                  <a:noFill/>
                </a:ln>
                <a:solidFill>
                  <a:srgbClr val="7498BF"/>
                </a:solidFill>
                <a:effectLst/>
                <a:uLnTx/>
                <a:uFillTx/>
                <a:latin typeface="Calibri" pitchFamily="34" charset="0"/>
                <a:ea typeface="+mn-ea"/>
                <a:cs typeface="Calibr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400" b="1" i="0" u="none" strike="noStrike" kern="1200" cap="none" spc="0" normalizeH="0" baseline="0" noProof="0" dirty="0">
              <a:ln>
                <a:noFill/>
              </a:ln>
              <a:solidFill>
                <a:srgbClr val="7498BF"/>
              </a:solidFill>
              <a:effectLst/>
              <a:uLnTx/>
              <a:uFillTx/>
              <a:latin typeface="Calibri" pitchFamily="34" charset="0"/>
              <a:ea typeface="+mn-ea"/>
              <a:cs typeface="Calibri" pitchFamily="34" charset="0"/>
            </a:endParaRPr>
          </a:p>
        </p:txBody>
      </p:sp>
      <p:pic>
        <p:nvPicPr>
          <p:cNvPr id="17" name="Picture 16"/>
          <p:cNvPicPr>
            <a:picLocks noChangeAspect="1"/>
          </p:cNvPicPr>
          <p:nvPr/>
        </p:nvPicPr>
        <p:blipFill>
          <a:blip r:embed="rId3"/>
          <a:stretch>
            <a:fillRect/>
          </a:stretch>
        </p:blipFill>
        <p:spPr>
          <a:xfrm>
            <a:off x="255270" y="1421836"/>
            <a:ext cx="6381750" cy="1333500"/>
          </a:xfrm>
          <a:prstGeom prst="rect">
            <a:avLst/>
          </a:prstGeom>
        </p:spPr>
      </p:pic>
      <p:pic>
        <p:nvPicPr>
          <p:cNvPr id="18" name="Picture 17"/>
          <p:cNvPicPr>
            <a:picLocks noChangeAspect="1"/>
          </p:cNvPicPr>
          <p:nvPr/>
        </p:nvPicPr>
        <p:blipFill>
          <a:blip r:embed="rId4"/>
          <a:stretch>
            <a:fillRect/>
          </a:stretch>
        </p:blipFill>
        <p:spPr>
          <a:xfrm>
            <a:off x="155401" y="4785844"/>
            <a:ext cx="5034883" cy="1768318"/>
          </a:xfrm>
          <a:prstGeom prst="rect">
            <a:avLst/>
          </a:prstGeom>
        </p:spPr>
      </p:pic>
      <p:pic>
        <p:nvPicPr>
          <p:cNvPr id="19" name="Picture 18"/>
          <p:cNvPicPr>
            <a:picLocks noChangeAspect="1"/>
          </p:cNvPicPr>
          <p:nvPr/>
        </p:nvPicPr>
        <p:blipFill>
          <a:blip r:embed="rId5"/>
          <a:stretch>
            <a:fillRect/>
          </a:stretch>
        </p:blipFill>
        <p:spPr>
          <a:xfrm>
            <a:off x="255270" y="2802342"/>
            <a:ext cx="3345957" cy="772144"/>
          </a:xfrm>
          <a:prstGeom prst="rect">
            <a:avLst/>
          </a:prstGeom>
        </p:spPr>
      </p:pic>
      <p:pic>
        <p:nvPicPr>
          <p:cNvPr id="20" name="Picture 19"/>
          <p:cNvPicPr>
            <a:picLocks noChangeAspect="1"/>
          </p:cNvPicPr>
          <p:nvPr/>
        </p:nvPicPr>
        <p:blipFill>
          <a:blip r:embed="rId6"/>
          <a:stretch>
            <a:fillRect/>
          </a:stretch>
        </p:blipFill>
        <p:spPr>
          <a:xfrm>
            <a:off x="592142" y="3603447"/>
            <a:ext cx="4103961" cy="1155007"/>
          </a:xfrm>
          <a:prstGeom prst="rect">
            <a:avLst/>
          </a:prstGeom>
        </p:spPr>
      </p:pic>
      <p:pic>
        <p:nvPicPr>
          <p:cNvPr id="16" name="Picture 15"/>
          <p:cNvPicPr>
            <a:picLocks noChangeAspect="1"/>
          </p:cNvPicPr>
          <p:nvPr/>
        </p:nvPicPr>
        <p:blipFill>
          <a:blip r:embed="rId7"/>
          <a:stretch>
            <a:fillRect/>
          </a:stretch>
        </p:blipFill>
        <p:spPr>
          <a:xfrm>
            <a:off x="4852531" y="2755336"/>
            <a:ext cx="4199983" cy="2394854"/>
          </a:xfrm>
          <a:prstGeom prst="rect">
            <a:avLst/>
          </a:prstGeom>
        </p:spPr>
      </p:pic>
      <p:pic>
        <p:nvPicPr>
          <p:cNvPr id="14" name="Picture 13"/>
          <p:cNvPicPr>
            <a:picLocks noChangeAspect="1"/>
          </p:cNvPicPr>
          <p:nvPr/>
        </p:nvPicPr>
        <p:blipFill>
          <a:blip r:embed="rId8"/>
          <a:stretch>
            <a:fillRect/>
          </a:stretch>
        </p:blipFill>
        <p:spPr>
          <a:xfrm>
            <a:off x="5508579" y="5278005"/>
            <a:ext cx="2457450" cy="1133475"/>
          </a:xfrm>
          <a:prstGeom prst="rect">
            <a:avLst/>
          </a:prstGeom>
        </p:spPr>
      </p:pic>
    </p:spTree>
    <p:extLst>
      <p:ext uri="{BB962C8B-B14F-4D97-AF65-F5344CB8AC3E}">
        <p14:creationId xmlns:p14="http://schemas.microsoft.com/office/powerpoint/2010/main" val="771791240"/>
      </p:ext>
    </p:extLst>
  </p:cSld>
  <p:clrMapOvr>
    <a:masterClrMapping/>
  </p:clrMapOvr>
  <p:transition spd="slow">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Key Themes for States</a:t>
            </a:r>
          </a:p>
        </p:txBody>
      </p:sp>
      <p:sp>
        <p:nvSpPr>
          <p:cNvPr id="4" name="Content Placeholder 2"/>
          <p:cNvSpPr>
            <a:spLocks noGrp="1"/>
          </p:cNvSpPr>
          <p:nvPr>
            <p:ph idx="1"/>
          </p:nvPr>
        </p:nvSpPr>
        <p:spPr>
          <a:xfrm>
            <a:off x="1909482" y="1857072"/>
            <a:ext cx="6777318" cy="3853329"/>
          </a:xfrm>
        </p:spPr>
        <p:txBody>
          <a:bodyPr>
            <a:noAutofit/>
          </a:bodyPr>
          <a:lstStyle/>
          <a:p>
            <a:pPr marL="237412" lvl="2" indent="0">
              <a:buNone/>
            </a:pPr>
            <a:endParaRPr lang="en-US" sz="1800" dirty="0"/>
          </a:p>
          <a:p>
            <a:pPr marL="237412" lvl="2" indent="0">
              <a:buNone/>
            </a:pPr>
            <a:r>
              <a:rPr lang="en-US" dirty="0"/>
              <a:t>Expanding health insurance coverage to residents </a:t>
            </a:r>
          </a:p>
          <a:p>
            <a:pPr marL="408862" lvl="2" indent="-171450"/>
            <a:endParaRPr lang="en-US" dirty="0"/>
          </a:p>
          <a:p>
            <a:pPr marL="237412" lvl="2" indent="0">
              <a:buNone/>
            </a:pPr>
            <a:endParaRPr lang="en-US" dirty="0"/>
          </a:p>
          <a:p>
            <a:pPr marL="237412" lvl="2" indent="0">
              <a:buNone/>
            </a:pPr>
            <a:r>
              <a:rPr lang="en-US" dirty="0"/>
              <a:t>Addressing health care affordability</a:t>
            </a:r>
          </a:p>
          <a:p>
            <a:pPr marL="237412" lvl="2" indent="0">
              <a:buNone/>
            </a:pPr>
            <a:endParaRPr lang="en-US" dirty="0"/>
          </a:p>
          <a:p>
            <a:pPr marL="237412" lvl="2" indent="0">
              <a:buNone/>
            </a:pPr>
            <a:endParaRPr lang="en-US" dirty="0"/>
          </a:p>
          <a:p>
            <a:pPr marL="237412" lvl="2" indent="0">
              <a:buNone/>
            </a:pPr>
            <a:r>
              <a:rPr lang="en-US" dirty="0"/>
              <a:t>Preserving the Affordable Care Act</a:t>
            </a:r>
          </a:p>
        </p:txBody>
      </p:sp>
      <p:pic>
        <p:nvPicPr>
          <p:cNvPr id="7" name="Picture 6"/>
          <p:cNvPicPr>
            <a:picLocks noChangeAspect="1"/>
          </p:cNvPicPr>
          <p:nvPr/>
        </p:nvPicPr>
        <p:blipFill>
          <a:blip r:embed="rId2"/>
          <a:stretch>
            <a:fillRect/>
          </a:stretch>
        </p:blipFill>
        <p:spPr>
          <a:xfrm>
            <a:off x="907304" y="2114440"/>
            <a:ext cx="973987" cy="973987"/>
          </a:xfrm>
          <a:prstGeom prst="rect">
            <a:avLst/>
          </a:prstGeom>
        </p:spPr>
      </p:pic>
      <p:grpSp>
        <p:nvGrpSpPr>
          <p:cNvPr id="8" name="Group 7"/>
          <p:cNvGrpSpPr/>
          <p:nvPr/>
        </p:nvGrpSpPr>
        <p:grpSpPr>
          <a:xfrm>
            <a:off x="689117" y="3345794"/>
            <a:ext cx="1442009" cy="877003"/>
            <a:chOff x="606767" y="2787018"/>
            <a:chExt cx="1808144" cy="1038009"/>
          </a:xfrm>
        </p:grpSpPr>
        <p:pic>
          <p:nvPicPr>
            <p:cNvPr id="9" name="Picture 2" descr="image001"/>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606767" y="2787018"/>
              <a:ext cx="1808144" cy="1038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Oval 9"/>
            <p:cNvSpPr>
              <a:spLocks noChangeAspect="1"/>
            </p:cNvSpPr>
            <p:nvPr/>
          </p:nvSpPr>
          <p:spPr>
            <a:xfrm>
              <a:off x="993257" y="2817498"/>
              <a:ext cx="995482" cy="975728"/>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2051" name="Picture 3" descr="C:\Users\pboozang\AppData\Local\Microsoft\Windows\Temporary Internet Files\Content.IE5\PG4NH7X2\ACA[1].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10761" y="4475760"/>
            <a:ext cx="1049095" cy="10490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340290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States Lean In</a:t>
            </a:r>
          </a:p>
        </p:txBody>
      </p:sp>
      <p:sp>
        <p:nvSpPr>
          <p:cNvPr id="3" name="Slide Number Placeholder 2"/>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C0DA377-74CE-449D-9575-37C744521F5A}" type="slidenum">
              <a:rPr kumimoji="0" lang="en-US" sz="1200" b="0" i="0" u="none" strike="noStrike" kern="1200" cap="none" spc="0" normalizeH="0" baseline="0" noProof="0" smtClean="0">
                <a:ln>
                  <a:noFill/>
                </a:ln>
                <a:solidFill>
                  <a:srgbClr val="E9674F"/>
                </a:solidFill>
                <a:effectLst/>
                <a:uLnTx/>
                <a:uFillTx/>
                <a:latin typeface="Helvetica Neue Medium"/>
                <a:ea typeface="+mn-ea"/>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srgbClr val="E9674F"/>
              </a:solidFill>
              <a:effectLst/>
              <a:uLnTx/>
              <a:uFillTx/>
              <a:latin typeface="Helvetica Neue Medium"/>
              <a:ea typeface="+mn-ea"/>
            </a:endParaRPr>
          </a:p>
        </p:txBody>
      </p:sp>
      <p:sp>
        <p:nvSpPr>
          <p:cNvPr id="4" name="Content Placeholder 3"/>
          <p:cNvSpPr>
            <a:spLocks noGrp="1"/>
          </p:cNvSpPr>
          <p:nvPr>
            <p:ph sz="quarter" idx="1"/>
          </p:nvPr>
        </p:nvSpPr>
        <p:spPr>
          <a:xfrm>
            <a:off x="386080" y="1646283"/>
            <a:ext cx="7772400" cy="4419600"/>
          </a:xfrm>
        </p:spPr>
        <p:txBody>
          <a:bodyPr>
            <a:normAutofit fontScale="92500" lnSpcReduction="10000"/>
          </a:bodyPr>
          <a:lstStyle/>
          <a:p>
            <a:pPr marL="0" indent="0">
              <a:buNone/>
            </a:pPr>
            <a:endParaRPr lang="en-US" dirty="0"/>
          </a:p>
          <a:p>
            <a:r>
              <a:rPr lang="en-US" dirty="0"/>
              <a:t>Create state reinsurance programs via Section 1332 waivers </a:t>
            </a:r>
          </a:p>
          <a:p>
            <a:endParaRPr lang="en-US" dirty="0"/>
          </a:p>
          <a:p>
            <a:r>
              <a:rPr lang="en-US" dirty="0"/>
              <a:t>Develop/explore public option/buy-in programs </a:t>
            </a:r>
          </a:p>
          <a:p>
            <a:endParaRPr lang="en-US" dirty="0"/>
          </a:p>
          <a:p>
            <a:r>
              <a:rPr lang="en-US" dirty="0"/>
              <a:t>Transition marketplace functions from federal platform to a state-based platform </a:t>
            </a:r>
          </a:p>
          <a:p>
            <a:endParaRPr lang="en-US" dirty="0"/>
          </a:p>
          <a:p>
            <a:endParaRPr lang="en-US" dirty="0"/>
          </a:p>
          <a:p>
            <a:endParaRPr lang="en-US" dirty="0"/>
          </a:p>
          <a:p>
            <a:endParaRPr lang="en-US" u="sng" dirty="0"/>
          </a:p>
          <a:p>
            <a:pPr lvl="1"/>
            <a:endParaRPr lang="en-US" dirty="0"/>
          </a:p>
          <a:p>
            <a:pPr lvl="1"/>
            <a:endParaRPr lang="en-US" dirty="0"/>
          </a:p>
          <a:p>
            <a:pPr lvl="1"/>
            <a:endParaRPr lang="en-US" dirty="0"/>
          </a:p>
          <a:p>
            <a:pPr lvl="1"/>
            <a:endParaRPr lang="en-US" dirty="0"/>
          </a:p>
          <a:p>
            <a:pPr marL="320040" lvl="1" indent="0">
              <a:buNone/>
            </a:pPr>
            <a:endParaRPr lang="en-US" dirty="0"/>
          </a:p>
        </p:txBody>
      </p:sp>
    </p:spTree>
    <p:extLst>
      <p:ext uri="{BB962C8B-B14F-4D97-AF65-F5344CB8AC3E}">
        <p14:creationId xmlns:p14="http://schemas.microsoft.com/office/powerpoint/2010/main" val="6245664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87621" y="1362984"/>
            <a:ext cx="5909539" cy="4508106"/>
          </a:xfrm>
          <a:prstGeom prst="rect">
            <a:avLst/>
          </a:prstGeom>
        </p:spPr>
      </p:pic>
      <p:sp>
        <p:nvSpPr>
          <p:cNvPr id="2" name="Title 1"/>
          <p:cNvSpPr>
            <a:spLocks noGrp="1"/>
          </p:cNvSpPr>
          <p:nvPr>
            <p:ph type="title"/>
          </p:nvPr>
        </p:nvSpPr>
        <p:spPr>
          <a:xfrm>
            <a:off x="127591" y="420786"/>
            <a:ext cx="8229600" cy="1143000"/>
          </a:xfrm>
        </p:spPr>
        <p:txBody>
          <a:bodyPr/>
          <a:lstStyle/>
          <a:p>
            <a:r>
              <a:rPr lang="en-US" dirty="0"/>
              <a:t>Status of 1332 Activity </a:t>
            </a:r>
          </a:p>
        </p:txBody>
      </p:sp>
      <p:grpSp>
        <p:nvGrpSpPr>
          <p:cNvPr id="144" name="Group 143"/>
          <p:cNvGrpSpPr/>
          <p:nvPr/>
        </p:nvGrpSpPr>
        <p:grpSpPr>
          <a:xfrm>
            <a:off x="382558" y="5580343"/>
            <a:ext cx="6465297" cy="1031422"/>
            <a:chOff x="2846040" y="5331035"/>
            <a:chExt cx="5983770" cy="1046687"/>
          </a:xfrm>
        </p:grpSpPr>
        <p:sp>
          <p:nvSpPr>
            <p:cNvPr id="145" name="Rectangle 144"/>
            <p:cNvSpPr/>
            <p:nvPr/>
          </p:nvSpPr>
          <p:spPr>
            <a:xfrm>
              <a:off x="5753164" y="5822462"/>
              <a:ext cx="133350" cy="136525"/>
            </a:xfrm>
            <a:prstGeom prst="rect">
              <a:avLst/>
            </a:prstGeom>
            <a:solidFill>
              <a:srgbClr val="70AD47">
                <a:lumMod val="40000"/>
                <a:lumOff val="60000"/>
              </a:srgbClr>
            </a:solidFill>
            <a:ln w="6350" cap="flat" cmpd="sng" algn="ctr">
              <a:solidFill>
                <a:sysClr val="windowText" lastClr="000000"/>
              </a:solidFill>
              <a:prstDash val="solid"/>
              <a:miter lim="8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F0AB00"/>
                </a:solidFill>
                <a:effectLst/>
                <a:uLnTx/>
                <a:uFillTx/>
                <a:latin typeface="Calibri" panose="020F0502020204030204"/>
                <a:ea typeface="+mn-ea"/>
                <a:cs typeface="+mn-cs"/>
              </a:endParaRPr>
            </a:p>
          </p:txBody>
        </p:sp>
        <p:sp>
          <p:nvSpPr>
            <p:cNvPr id="146" name="Rectangle 3"/>
            <p:cNvSpPr>
              <a:spLocks noChangeArrowheads="1"/>
            </p:cNvSpPr>
            <p:nvPr/>
          </p:nvSpPr>
          <p:spPr bwMode="auto">
            <a:xfrm>
              <a:off x="5964217" y="5731187"/>
              <a:ext cx="286559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Open Sans"/>
                  <a:ea typeface="Open Sans"/>
                  <a:cs typeface="Open Sans"/>
                </a:defRPr>
              </a:lvl1pPr>
              <a:lvl2pPr marL="742950" indent="-285750" eaLnBrk="0" hangingPunct="0">
                <a:spcBef>
                  <a:spcPct val="20000"/>
                </a:spcBef>
                <a:buFont typeface="Arial" pitchFamily="34" charset="0"/>
                <a:buChar char="–"/>
                <a:defRPr sz="2800">
                  <a:solidFill>
                    <a:schemeClr val="tx1"/>
                  </a:solidFill>
                  <a:latin typeface="Open Sans Semibold"/>
                  <a:ea typeface="Open Sans Semibold"/>
                  <a:cs typeface="Open Sans Semibold"/>
                </a:defRPr>
              </a:lvl2pPr>
              <a:lvl3pPr marL="1143000" indent="-228600" eaLnBrk="0" hangingPunct="0">
                <a:spcBef>
                  <a:spcPct val="20000"/>
                </a:spcBef>
                <a:buFont typeface="Arial" pitchFamily="34" charset="0"/>
                <a:buChar char="•"/>
                <a:defRPr sz="2400">
                  <a:solidFill>
                    <a:schemeClr val="tx1"/>
                  </a:solidFill>
                  <a:latin typeface="Open Sans Light"/>
                  <a:ea typeface="Open Sans Light"/>
                  <a:cs typeface="Open Sans Light"/>
                </a:defRPr>
              </a:lvl3pPr>
              <a:lvl4pPr marL="1600200" indent="-228600" eaLnBrk="0" hangingPunct="0">
                <a:spcBef>
                  <a:spcPct val="20000"/>
                </a:spcBef>
                <a:buFont typeface="Arial" pitchFamily="34" charset="0"/>
                <a:buChar char="–"/>
                <a:defRPr sz="2000">
                  <a:solidFill>
                    <a:schemeClr val="tx1"/>
                  </a:solidFill>
                  <a:latin typeface="Open Sans Light"/>
                  <a:ea typeface="Open Sans Light"/>
                  <a:cs typeface="Open Sans Light"/>
                </a:defRPr>
              </a:lvl4pPr>
              <a:lvl5pPr marL="2057400" indent="-228600" eaLnBrk="0" hangingPunct="0">
                <a:spcBef>
                  <a:spcPct val="20000"/>
                </a:spcBef>
                <a:buFont typeface="Arial" pitchFamily="34" charset="0"/>
                <a:buChar char="»"/>
                <a:defRPr sz="2000">
                  <a:solidFill>
                    <a:schemeClr val="tx1"/>
                  </a:solidFill>
                  <a:latin typeface="Open Sans Light"/>
                  <a:ea typeface="Open Sans Light"/>
                  <a:cs typeface="Open Sans Light"/>
                </a:defRPr>
              </a:lvl5pPr>
              <a:lvl6pPr marL="2514600" indent="-228600"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6pPr>
              <a:lvl7pPr marL="2971800" indent="-228600"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7pPr>
              <a:lvl8pPr marL="3429000" indent="-228600"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8pPr>
              <a:lvl9pPr marL="3886200" indent="-228600"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9pPr>
            </a:lstStyle>
            <a:p>
              <a:pPr marL="0" marR="0" lvl="0" indent="0" algn="l" defTabSz="914400" rtl="0" eaLnBrk="1" fontAlgn="auto" latinLnBrk="0" hangingPunct="1">
                <a:lnSpc>
                  <a:spcPct val="100000"/>
                </a:lnSpc>
                <a:spcBef>
                  <a:spcPts val="200"/>
                </a:spcBef>
                <a:spcAft>
                  <a:spcPts val="200"/>
                </a:spcAft>
                <a:buClrTx/>
                <a:buSzTx/>
                <a:buFont typeface="Arial" pitchFamily="34" charset="0"/>
                <a:buNone/>
                <a:tabLst/>
                <a:defRPr/>
              </a:pPr>
              <a:r>
                <a:rPr kumimoji="0" lang="en-US" altLang="en-US" sz="1600" b="0" i="0" u="none" strike="noStrike" kern="0" cap="none" spc="0" normalizeH="0" baseline="0" noProof="0" dirty="0">
                  <a:ln>
                    <a:noFill/>
                  </a:ln>
                  <a:solidFill>
                    <a:prstClr val="black"/>
                  </a:solidFill>
                  <a:effectLst/>
                  <a:uLnTx/>
                  <a:uFillTx/>
                  <a:latin typeface="Calibri" pitchFamily="34" charset="0"/>
                  <a:cs typeface="Arial" pitchFamily="34" charset="0"/>
                </a:rPr>
                <a:t>Authorizing legislation enacted </a:t>
              </a:r>
            </a:p>
          </p:txBody>
        </p:sp>
        <p:sp>
          <p:nvSpPr>
            <p:cNvPr id="147" name="Rectangle 146"/>
            <p:cNvSpPr/>
            <p:nvPr/>
          </p:nvSpPr>
          <p:spPr>
            <a:xfrm>
              <a:off x="2846040" y="5822462"/>
              <a:ext cx="133350" cy="136525"/>
            </a:xfrm>
            <a:prstGeom prst="rect">
              <a:avLst/>
            </a:prstGeom>
            <a:solidFill>
              <a:srgbClr val="FFC000">
                <a:lumMod val="40000"/>
                <a:lumOff val="60000"/>
              </a:srgbClr>
            </a:solidFill>
            <a:ln w="6350" cap="flat" cmpd="sng" algn="ctr">
              <a:solidFill>
                <a:sysClr val="windowText" lastClr="000000"/>
              </a:solidFill>
              <a:prstDash val="solid"/>
              <a:miter lim="8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F0AB00"/>
                </a:solidFill>
                <a:effectLst/>
                <a:uLnTx/>
                <a:uFillTx/>
                <a:latin typeface="Calibri" panose="020F0502020204030204"/>
                <a:ea typeface="+mn-ea"/>
                <a:cs typeface="+mn-cs"/>
              </a:endParaRPr>
            </a:p>
          </p:txBody>
        </p:sp>
        <p:sp>
          <p:nvSpPr>
            <p:cNvPr id="148" name="Rectangle 3"/>
            <p:cNvSpPr>
              <a:spLocks noChangeArrowheads="1"/>
            </p:cNvSpPr>
            <p:nvPr/>
          </p:nvSpPr>
          <p:spPr bwMode="auto">
            <a:xfrm>
              <a:off x="3101697" y="5732236"/>
              <a:ext cx="2568432" cy="645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Open Sans"/>
                  <a:ea typeface="Open Sans"/>
                  <a:cs typeface="Open Sans"/>
                </a:defRPr>
              </a:lvl1pPr>
              <a:lvl2pPr marL="742950" indent="-285750" eaLnBrk="0" hangingPunct="0">
                <a:spcBef>
                  <a:spcPct val="20000"/>
                </a:spcBef>
                <a:buFont typeface="Arial" pitchFamily="34" charset="0"/>
                <a:buChar char="–"/>
                <a:defRPr sz="2800">
                  <a:solidFill>
                    <a:schemeClr val="tx1"/>
                  </a:solidFill>
                  <a:latin typeface="Open Sans Semibold"/>
                  <a:ea typeface="Open Sans Semibold"/>
                  <a:cs typeface="Open Sans Semibold"/>
                </a:defRPr>
              </a:lvl2pPr>
              <a:lvl3pPr marL="1143000" indent="-228600" eaLnBrk="0" hangingPunct="0">
                <a:spcBef>
                  <a:spcPct val="20000"/>
                </a:spcBef>
                <a:buFont typeface="Arial" pitchFamily="34" charset="0"/>
                <a:buChar char="•"/>
                <a:defRPr sz="2400">
                  <a:solidFill>
                    <a:schemeClr val="tx1"/>
                  </a:solidFill>
                  <a:latin typeface="Open Sans Light"/>
                  <a:ea typeface="Open Sans Light"/>
                  <a:cs typeface="Open Sans Light"/>
                </a:defRPr>
              </a:lvl3pPr>
              <a:lvl4pPr marL="1600200" indent="-228600" eaLnBrk="0" hangingPunct="0">
                <a:spcBef>
                  <a:spcPct val="20000"/>
                </a:spcBef>
                <a:buFont typeface="Arial" pitchFamily="34" charset="0"/>
                <a:buChar char="–"/>
                <a:defRPr sz="2000">
                  <a:solidFill>
                    <a:schemeClr val="tx1"/>
                  </a:solidFill>
                  <a:latin typeface="Open Sans Light"/>
                  <a:ea typeface="Open Sans Light"/>
                  <a:cs typeface="Open Sans Light"/>
                </a:defRPr>
              </a:lvl4pPr>
              <a:lvl5pPr marL="2057400" indent="-228600" eaLnBrk="0" hangingPunct="0">
                <a:spcBef>
                  <a:spcPct val="20000"/>
                </a:spcBef>
                <a:buFont typeface="Arial" pitchFamily="34" charset="0"/>
                <a:buChar char="»"/>
                <a:defRPr sz="2000">
                  <a:solidFill>
                    <a:schemeClr val="tx1"/>
                  </a:solidFill>
                  <a:latin typeface="Open Sans Light"/>
                  <a:ea typeface="Open Sans Light"/>
                  <a:cs typeface="Open Sans Light"/>
                </a:defRPr>
              </a:lvl5pPr>
              <a:lvl6pPr marL="2514600" indent="-228600"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6pPr>
              <a:lvl7pPr marL="2971800" indent="-228600"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7pPr>
              <a:lvl8pPr marL="3429000" indent="-228600"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8pPr>
              <a:lvl9pPr marL="3886200" indent="-228600"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9pPr>
            </a:lstStyle>
            <a:p>
              <a:pPr marL="0" marR="0" lvl="0" indent="0" algn="l" defTabSz="914400" rtl="0" eaLnBrk="1" fontAlgn="auto" latinLnBrk="0" hangingPunct="1">
                <a:lnSpc>
                  <a:spcPct val="100000"/>
                </a:lnSpc>
                <a:spcBef>
                  <a:spcPts val="200"/>
                </a:spcBef>
                <a:spcAft>
                  <a:spcPts val="200"/>
                </a:spcAft>
                <a:buClrTx/>
                <a:buSzTx/>
                <a:buFont typeface="Arial" pitchFamily="34" charset="0"/>
                <a:buNone/>
                <a:tabLst/>
                <a:defRPr/>
              </a:pPr>
              <a:r>
                <a:rPr kumimoji="0" lang="en-US" altLang="en-US" sz="1600" b="0" i="0" u="none" strike="noStrike" kern="0" cap="none" spc="0" normalizeH="0" baseline="0" noProof="0" dirty="0">
                  <a:ln>
                    <a:noFill/>
                  </a:ln>
                  <a:solidFill>
                    <a:prstClr val="black"/>
                  </a:solidFill>
                  <a:effectLst/>
                  <a:uLnTx/>
                  <a:uFillTx/>
                  <a:latin typeface="Calibri" pitchFamily="34" charset="0"/>
                  <a:cs typeface="Arial" pitchFamily="34" charset="0"/>
                </a:rPr>
                <a:t>Waiver application withdrawn/</a:t>
              </a:r>
            </a:p>
            <a:p>
              <a:pPr marL="0" marR="0" lvl="0" indent="0" algn="l" defTabSz="914400" rtl="0" eaLnBrk="1" fontAlgn="auto" latinLnBrk="0" hangingPunct="1">
                <a:lnSpc>
                  <a:spcPct val="100000"/>
                </a:lnSpc>
                <a:spcBef>
                  <a:spcPts val="200"/>
                </a:spcBef>
                <a:spcAft>
                  <a:spcPts val="200"/>
                </a:spcAft>
                <a:buClrTx/>
                <a:buSzTx/>
                <a:buFont typeface="Arial" pitchFamily="34" charset="0"/>
                <a:buNone/>
                <a:tabLst/>
                <a:defRPr/>
              </a:pPr>
              <a:r>
                <a:rPr lang="en-US" altLang="en-US" sz="1600" kern="0" dirty="0">
                  <a:solidFill>
                    <a:prstClr val="black"/>
                  </a:solidFill>
                  <a:latin typeface="Calibri" pitchFamily="34" charset="0"/>
                  <a:cs typeface="Arial" pitchFamily="34" charset="0"/>
                </a:rPr>
                <a:t>deemed incomplete </a:t>
              </a:r>
              <a:r>
                <a:rPr kumimoji="0" lang="en-US" altLang="en-US" sz="1600" b="0" i="0" u="none" strike="noStrike" kern="0" cap="none" spc="0" normalizeH="0" baseline="0" noProof="0" dirty="0">
                  <a:ln>
                    <a:noFill/>
                  </a:ln>
                  <a:solidFill>
                    <a:prstClr val="black"/>
                  </a:solidFill>
                  <a:effectLst/>
                  <a:uLnTx/>
                  <a:uFillTx/>
                  <a:latin typeface="Calibri" pitchFamily="34" charset="0"/>
                  <a:cs typeface="Arial" pitchFamily="34" charset="0"/>
                </a:rPr>
                <a:t> </a:t>
              </a:r>
            </a:p>
          </p:txBody>
        </p:sp>
        <p:grpSp>
          <p:nvGrpSpPr>
            <p:cNvPr id="149" name="Group 148"/>
            <p:cNvGrpSpPr/>
            <p:nvPr/>
          </p:nvGrpSpPr>
          <p:grpSpPr>
            <a:xfrm>
              <a:off x="2848217" y="5332107"/>
              <a:ext cx="2304616" cy="338554"/>
              <a:chOff x="4560574" y="5306451"/>
              <a:chExt cx="2304616" cy="338554"/>
            </a:xfrm>
          </p:grpSpPr>
          <p:sp>
            <p:nvSpPr>
              <p:cNvPr id="152" name="Rectangle 151"/>
              <p:cNvSpPr/>
              <p:nvPr/>
            </p:nvSpPr>
            <p:spPr>
              <a:xfrm>
                <a:off x="4560574" y="5396677"/>
                <a:ext cx="133350" cy="136525"/>
              </a:xfrm>
              <a:prstGeom prst="rect">
                <a:avLst/>
              </a:prstGeom>
              <a:solidFill>
                <a:srgbClr val="5B9BD5">
                  <a:lumMod val="40000"/>
                  <a:lumOff val="60000"/>
                </a:srgbClr>
              </a:solidFill>
              <a:ln w="6350" cap="flat" cmpd="sng" algn="ctr">
                <a:solidFill>
                  <a:sysClr val="windowText" lastClr="000000"/>
                </a:solidFill>
                <a:prstDash val="solid"/>
                <a:miter lim="8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F0AB00"/>
                  </a:solidFill>
                  <a:effectLst/>
                  <a:uLnTx/>
                  <a:uFillTx/>
                  <a:latin typeface="Calibri" panose="020F0502020204030204"/>
                  <a:ea typeface="+mn-ea"/>
                  <a:cs typeface="+mn-cs"/>
                </a:endParaRPr>
              </a:p>
            </p:txBody>
          </p:sp>
          <p:sp>
            <p:nvSpPr>
              <p:cNvPr id="153" name="Rectangle 3"/>
              <p:cNvSpPr>
                <a:spLocks noChangeArrowheads="1"/>
              </p:cNvSpPr>
              <p:nvPr/>
            </p:nvSpPr>
            <p:spPr bwMode="auto">
              <a:xfrm>
                <a:off x="4816231" y="5306451"/>
                <a:ext cx="204895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Open Sans"/>
                    <a:ea typeface="Open Sans"/>
                    <a:cs typeface="Open Sans"/>
                  </a:defRPr>
                </a:lvl1pPr>
                <a:lvl2pPr marL="742950" indent="-285750" eaLnBrk="0" hangingPunct="0">
                  <a:spcBef>
                    <a:spcPct val="20000"/>
                  </a:spcBef>
                  <a:buFont typeface="Arial" pitchFamily="34" charset="0"/>
                  <a:buChar char="–"/>
                  <a:defRPr sz="2800">
                    <a:solidFill>
                      <a:schemeClr val="tx1"/>
                    </a:solidFill>
                    <a:latin typeface="Open Sans Semibold"/>
                    <a:ea typeface="Open Sans Semibold"/>
                    <a:cs typeface="Open Sans Semibold"/>
                  </a:defRPr>
                </a:lvl2pPr>
                <a:lvl3pPr marL="1143000" indent="-228600" eaLnBrk="0" hangingPunct="0">
                  <a:spcBef>
                    <a:spcPct val="20000"/>
                  </a:spcBef>
                  <a:buFont typeface="Arial" pitchFamily="34" charset="0"/>
                  <a:buChar char="•"/>
                  <a:defRPr sz="2400">
                    <a:solidFill>
                      <a:schemeClr val="tx1"/>
                    </a:solidFill>
                    <a:latin typeface="Open Sans Light"/>
                    <a:ea typeface="Open Sans Light"/>
                    <a:cs typeface="Open Sans Light"/>
                  </a:defRPr>
                </a:lvl3pPr>
                <a:lvl4pPr marL="1600200" indent="-228600" eaLnBrk="0" hangingPunct="0">
                  <a:spcBef>
                    <a:spcPct val="20000"/>
                  </a:spcBef>
                  <a:buFont typeface="Arial" pitchFamily="34" charset="0"/>
                  <a:buChar char="–"/>
                  <a:defRPr sz="2000">
                    <a:solidFill>
                      <a:schemeClr val="tx1"/>
                    </a:solidFill>
                    <a:latin typeface="Open Sans Light"/>
                    <a:ea typeface="Open Sans Light"/>
                    <a:cs typeface="Open Sans Light"/>
                  </a:defRPr>
                </a:lvl4pPr>
                <a:lvl5pPr marL="2057400" indent="-228600" eaLnBrk="0" hangingPunct="0">
                  <a:spcBef>
                    <a:spcPct val="20000"/>
                  </a:spcBef>
                  <a:buFont typeface="Arial" pitchFamily="34" charset="0"/>
                  <a:buChar char="»"/>
                  <a:defRPr sz="2000">
                    <a:solidFill>
                      <a:schemeClr val="tx1"/>
                    </a:solidFill>
                    <a:latin typeface="Open Sans Light"/>
                    <a:ea typeface="Open Sans Light"/>
                    <a:cs typeface="Open Sans Light"/>
                  </a:defRPr>
                </a:lvl5pPr>
                <a:lvl6pPr marL="2514600" indent="-228600"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6pPr>
                <a:lvl7pPr marL="2971800" indent="-228600"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7pPr>
                <a:lvl8pPr marL="3429000" indent="-228600"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8pPr>
                <a:lvl9pPr marL="3886200" indent="-228600"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9pPr>
              </a:lstStyle>
              <a:p>
                <a:pPr marL="0" marR="0" lvl="0" indent="0" algn="l" defTabSz="914400" rtl="0" eaLnBrk="1" fontAlgn="auto" latinLnBrk="0" hangingPunct="1">
                  <a:lnSpc>
                    <a:spcPct val="100000"/>
                  </a:lnSpc>
                  <a:spcBef>
                    <a:spcPts val="200"/>
                  </a:spcBef>
                  <a:spcAft>
                    <a:spcPts val="200"/>
                  </a:spcAft>
                  <a:buClrTx/>
                  <a:buSzTx/>
                  <a:buFont typeface="Arial" pitchFamily="34" charset="0"/>
                  <a:buNone/>
                  <a:tabLst/>
                  <a:defRPr/>
                </a:pPr>
                <a:r>
                  <a:rPr kumimoji="0" lang="en-US" altLang="en-US" sz="1600" b="0" i="0" u="none" strike="noStrike" kern="0" cap="none" spc="0" normalizeH="0" baseline="0" noProof="0" dirty="0">
                    <a:ln>
                      <a:noFill/>
                    </a:ln>
                    <a:solidFill>
                      <a:prstClr val="black"/>
                    </a:solidFill>
                    <a:effectLst/>
                    <a:uLnTx/>
                    <a:uFillTx/>
                    <a:latin typeface="Calibri" pitchFamily="34" charset="0"/>
                    <a:cs typeface="Arial" pitchFamily="34" charset="0"/>
                  </a:rPr>
                  <a:t>Waiver approved (12) </a:t>
                </a:r>
              </a:p>
            </p:txBody>
          </p:sp>
        </p:grpSp>
        <p:sp>
          <p:nvSpPr>
            <p:cNvPr id="150" name="Rectangle 149"/>
            <p:cNvSpPr/>
            <p:nvPr/>
          </p:nvSpPr>
          <p:spPr>
            <a:xfrm>
              <a:off x="5751008" y="5422310"/>
              <a:ext cx="133350" cy="136525"/>
            </a:xfrm>
            <a:prstGeom prst="rect">
              <a:avLst/>
            </a:prstGeom>
            <a:solidFill>
              <a:srgbClr val="ED7D31">
                <a:lumMod val="40000"/>
                <a:lumOff val="60000"/>
              </a:srgbClr>
            </a:solidFill>
            <a:ln w="6350" cap="flat" cmpd="sng" algn="ctr">
              <a:solidFill>
                <a:sysClr val="windowText" lastClr="000000"/>
              </a:solidFill>
              <a:prstDash val="solid"/>
              <a:miter lim="8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F0AB00"/>
                </a:solidFill>
                <a:effectLst/>
                <a:uLnTx/>
                <a:uFillTx/>
                <a:latin typeface="Calibri" panose="020F0502020204030204"/>
                <a:ea typeface="+mn-ea"/>
                <a:cs typeface="+mn-cs"/>
              </a:endParaRPr>
            </a:p>
          </p:txBody>
        </p:sp>
        <p:sp>
          <p:nvSpPr>
            <p:cNvPr id="151" name="Rectangle 3"/>
            <p:cNvSpPr>
              <a:spLocks noChangeArrowheads="1"/>
            </p:cNvSpPr>
            <p:nvPr/>
          </p:nvSpPr>
          <p:spPr bwMode="auto">
            <a:xfrm>
              <a:off x="5962061" y="5331035"/>
              <a:ext cx="2492768" cy="343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Open Sans"/>
                  <a:ea typeface="Open Sans"/>
                  <a:cs typeface="Open Sans"/>
                </a:defRPr>
              </a:lvl1pPr>
              <a:lvl2pPr marL="742950" indent="-285750" eaLnBrk="0" hangingPunct="0">
                <a:spcBef>
                  <a:spcPct val="20000"/>
                </a:spcBef>
                <a:buFont typeface="Arial" pitchFamily="34" charset="0"/>
                <a:buChar char="–"/>
                <a:defRPr sz="2800">
                  <a:solidFill>
                    <a:schemeClr val="tx1"/>
                  </a:solidFill>
                  <a:latin typeface="Open Sans Semibold"/>
                  <a:ea typeface="Open Sans Semibold"/>
                  <a:cs typeface="Open Sans Semibold"/>
                </a:defRPr>
              </a:lvl2pPr>
              <a:lvl3pPr marL="1143000" indent="-228600" eaLnBrk="0" hangingPunct="0">
                <a:spcBef>
                  <a:spcPct val="20000"/>
                </a:spcBef>
                <a:buFont typeface="Arial" pitchFamily="34" charset="0"/>
                <a:buChar char="•"/>
                <a:defRPr sz="2400">
                  <a:solidFill>
                    <a:schemeClr val="tx1"/>
                  </a:solidFill>
                  <a:latin typeface="Open Sans Light"/>
                  <a:ea typeface="Open Sans Light"/>
                  <a:cs typeface="Open Sans Light"/>
                </a:defRPr>
              </a:lvl3pPr>
              <a:lvl4pPr marL="1600200" indent="-228600" eaLnBrk="0" hangingPunct="0">
                <a:spcBef>
                  <a:spcPct val="20000"/>
                </a:spcBef>
                <a:buFont typeface="Arial" pitchFamily="34" charset="0"/>
                <a:buChar char="–"/>
                <a:defRPr sz="2000">
                  <a:solidFill>
                    <a:schemeClr val="tx1"/>
                  </a:solidFill>
                  <a:latin typeface="Open Sans Light"/>
                  <a:ea typeface="Open Sans Light"/>
                  <a:cs typeface="Open Sans Light"/>
                </a:defRPr>
              </a:lvl4pPr>
              <a:lvl5pPr marL="2057400" indent="-228600" eaLnBrk="0" hangingPunct="0">
                <a:spcBef>
                  <a:spcPct val="20000"/>
                </a:spcBef>
                <a:buFont typeface="Arial" pitchFamily="34" charset="0"/>
                <a:buChar char="»"/>
                <a:defRPr sz="2000">
                  <a:solidFill>
                    <a:schemeClr val="tx1"/>
                  </a:solidFill>
                  <a:latin typeface="Open Sans Light"/>
                  <a:ea typeface="Open Sans Light"/>
                  <a:cs typeface="Open Sans Light"/>
                </a:defRPr>
              </a:lvl5pPr>
              <a:lvl6pPr marL="2514600" indent="-228600"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6pPr>
              <a:lvl7pPr marL="2971800" indent="-228600"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7pPr>
              <a:lvl8pPr marL="3429000" indent="-228600"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8pPr>
              <a:lvl9pPr marL="3886200" indent="-228600"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9pPr>
            </a:lstStyle>
            <a:p>
              <a:pPr marL="0" marR="0" lvl="0" indent="0" algn="l" defTabSz="914400" rtl="0" eaLnBrk="1" fontAlgn="auto" latinLnBrk="0" hangingPunct="1">
                <a:lnSpc>
                  <a:spcPct val="100000"/>
                </a:lnSpc>
                <a:spcBef>
                  <a:spcPts val="200"/>
                </a:spcBef>
                <a:spcAft>
                  <a:spcPts val="200"/>
                </a:spcAft>
                <a:buClrTx/>
                <a:buSzTx/>
                <a:buFont typeface="Arial" pitchFamily="34" charset="0"/>
                <a:buNone/>
                <a:tabLst/>
                <a:defRPr/>
              </a:pPr>
              <a:r>
                <a:rPr kumimoji="0" lang="en-US" altLang="en-US" sz="1600" b="0" i="0" u="none" strike="noStrike" kern="0" cap="none" spc="0" normalizeH="0" baseline="0" noProof="0" dirty="0">
                  <a:ln>
                    <a:noFill/>
                  </a:ln>
                  <a:solidFill>
                    <a:prstClr val="black"/>
                  </a:solidFill>
                  <a:effectLst/>
                  <a:uLnTx/>
                  <a:uFillTx/>
                  <a:latin typeface="Calibri" pitchFamily="34" charset="0"/>
                  <a:cs typeface="Arial" pitchFamily="34" charset="0"/>
                </a:rPr>
                <a:t>Waiver application</a:t>
              </a:r>
              <a:r>
                <a:rPr kumimoji="0" lang="en-US" altLang="en-US" sz="1600" b="0" i="0" u="none" strike="noStrike" kern="0" cap="none" spc="0" normalizeH="0" noProof="0" dirty="0">
                  <a:ln>
                    <a:noFill/>
                  </a:ln>
                  <a:solidFill>
                    <a:prstClr val="black"/>
                  </a:solidFill>
                  <a:effectLst/>
                  <a:uLnTx/>
                  <a:uFillTx/>
                  <a:latin typeface="Calibri" pitchFamily="34" charset="0"/>
                  <a:cs typeface="Arial" pitchFamily="34" charset="0"/>
                </a:rPr>
                <a:t> submitted </a:t>
              </a:r>
              <a:endParaRPr kumimoji="0" lang="en-US" altLang="en-US" sz="1600" b="0" i="0" u="none" strike="noStrike" kern="0" cap="none" spc="0" normalizeH="0" baseline="0" noProof="0" dirty="0">
                <a:ln>
                  <a:noFill/>
                </a:ln>
                <a:solidFill>
                  <a:prstClr val="black"/>
                </a:solidFill>
                <a:effectLst/>
                <a:uLnTx/>
                <a:uFillTx/>
                <a:latin typeface="Calibri" pitchFamily="34" charset="0"/>
                <a:cs typeface="Arial" pitchFamily="34" charset="0"/>
              </a:endParaRPr>
            </a:p>
          </p:txBody>
        </p:sp>
      </p:grpSp>
      <p:grpSp>
        <p:nvGrpSpPr>
          <p:cNvPr id="154" name="Group 153"/>
          <p:cNvGrpSpPr/>
          <p:nvPr/>
        </p:nvGrpSpPr>
        <p:grpSpPr>
          <a:xfrm>
            <a:off x="6526654" y="5580343"/>
            <a:ext cx="2879006" cy="338554"/>
            <a:chOff x="8587159" y="5314266"/>
            <a:chExt cx="2879006" cy="338554"/>
          </a:xfrm>
        </p:grpSpPr>
        <p:sp>
          <p:nvSpPr>
            <p:cNvPr id="155" name="Rectangle 154"/>
            <p:cNvSpPr/>
            <p:nvPr/>
          </p:nvSpPr>
          <p:spPr>
            <a:xfrm>
              <a:off x="8587159" y="5415788"/>
              <a:ext cx="133350" cy="136525"/>
            </a:xfrm>
            <a:prstGeom prst="rect">
              <a:avLst/>
            </a:prstGeom>
            <a:solidFill>
              <a:srgbClr val="CCACCA"/>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0AB00"/>
                </a:solidFill>
                <a:effectLst/>
                <a:uLnTx/>
                <a:uFillTx/>
                <a:latin typeface="Calibri"/>
                <a:ea typeface="+mn-ea"/>
                <a:cs typeface="+mn-cs"/>
              </a:endParaRPr>
            </a:p>
          </p:txBody>
        </p:sp>
        <p:sp>
          <p:nvSpPr>
            <p:cNvPr id="156" name="TextBox 155"/>
            <p:cNvSpPr txBox="1"/>
            <p:nvPr/>
          </p:nvSpPr>
          <p:spPr>
            <a:xfrm>
              <a:off x="8841339" y="5314266"/>
              <a:ext cx="2624826"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Public draft of application </a:t>
              </a:r>
            </a:p>
          </p:txBody>
        </p:sp>
      </p:grpSp>
    </p:spTree>
    <p:extLst>
      <p:ext uri="{BB962C8B-B14F-4D97-AF65-F5344CB8AC3E}">
        <p14:creationId xmlns:p14="http://schemas.microsoft.com/office/powerpoint/2010/main" val="2389018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ypes of 1332 Waivers [Approved]</a:t>
            </a:r>
          </a:p>
        </p:txBody>
      </p:sp>
      <p:sp>
        <p:nvSpPr>
          <p:cNvPr id="3" name="Slide Number Placeholder 2"/>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C0DA377-74CE-449D-9575-37C744521F5A}" type="slidenum">
              <a:rPr kumimoji="0" lang="en-US" sz="1200" b="0" i="0" u="none" strike="noStrike" kern="1200" cap="none" spc="0" normalizeH="0" baseline="0" noProof="0" smtClean="0">
                <a:ln>
                  <a:noFill/>
                </a:ln>
                <a:solidFill>
                  <a:srgbClr val="E9674F"/>
                </a:solidFill>
                <a:effectLst/>
                <a:uLnTx/>
                <a:uFillTx/>
                <a:latin typeface="Helvetica Neue Medium"/>
                <a:ea typeface="+mn-ea"/>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srgbClr val="E9674F"/>
              </a:solidFill>
              <a:effectLst/>
              <a:uLnTx/>
              <a:uFillTx/>
              <a:latin typeface="Helvetica Neue Medium"/>
              <a:ea typeface="+mn-ea"/>
            </a:endParaRPr>
          </a:p>
        </p:txBody>
      </p:sp>
      <p:sp>
        <p:nvSpPr>
          <p:cNvPr id="4" name="Content Placeholder 3"/>
          <p:cNvSpPr>
            <a:spLocks noGrp="1"/>
          </p:cNvSpPr>
          <p:nvPr>
            <p:ph sz="quarter" idx="1"/>
          </p:nvPr>
        </p:nvSpPr>
        <p:spPr>
          <a:xfrm>
            <a:off x="457200" y="1775478"/>
            <a:ext cx="7772400" cy="4419600"/>
          </a:xfrm>
        </p:spPr>
        <p:txBody>
          <a:bodyPr>
            <a:normAutofit/>
          </a:bodyPr>
          <a:lstStyle/>
          <a:p>
            <a:r>
              <a:rPr lang="en-US" u="sng" dirty="0"/>
              <a:t>Reinsurance program </a:t>
            </a:r>
            <a:r>
              <a:rPr lang="en-US" dirty="0"/>
              <a:t>(AK, CO, DE, ME, MD, MN, MT, NJ, ND, OR, &amp; WI )</a:t>
            </a:r>
          </a:p>
          <a:p>
            <a:pPr lvl="1"/>
            <a:r>
              <a:rPr lang="en-US" sz="2400" dirty="0"/>
              <a:t>Stabilizes individual market through state-funded reinsurance program for high cost claims </a:t>
            </a:r>
          </a:p>
          <a:p>
            <a:pPr lvl="1"/>
            <a:r>
              <a:rPr lang="en-US" sz="2400" dirty="0"/>
              <a:t>1332 waiver allows state to recoup (“pass-through”) some of the savings that accrue to the federal government due to lower premiums</a:t>
            </a:r>
          </a:p>
          <a:p>
            <a:r>
              <a:rPr lang="en-US" u="sng" dirty="0"/>
              <a:t>Other ideas</a:t>
            </a:r>
            <a:r>
              <a:rPr lang="en-US" dirty="0"/>
              <a:t>?</a:t>
            </a:r>
          </a:p>
          <a:p>
            <a:pPr lvl="1"/>
            <a:endParaRPr lang="en-US" dirty="0"/>
          </a:p>
          <a:p>
            <a:pPr marL="320040" lvl="1" indent="0">
              <a:buNone/>
            </a:pPr>
            <a:endParaRPr lang="en-US" dirty="0"/>
          </a:p>
        </p:txBody>
      </p:sp>
    </p:spTree>
    <p:extLst>
      <p:ext uri="{BB962C8B-B14F-4D97-AF65-F5344CB8AC3E}">
        <p14:creationId xmlns:p14="http://schemas.microsoft.com/office/powerpoint/2010/main" val="39199234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Medicaid Buy-In or Public Option</a:t>
            </a:r>
          </a:p>
        </p:txBody>
      </p:sp>
      <p:sp>
        <p:nvSpPr>
          <p:cNvPr id="3" name="Content Placeholder 2"/>
          <p:cNvSpPr>
            <a:spLocks noGrp="1"/>
          </p:cNvSpPr>
          <p:nvPr>
            <p:ph idx="1"/>
          </p:nvPr>
        </p:nvSpPr>
        <p:spPr>
          <a:xfrm>
            <a:off x="1407458" y="2154118"/>
            <a:ext cx="7279341" cy="3853329"/>
          </a:xfrm>
        </p:spPr>
        <p:txBody>
          <a:bodyPr>
            <a:normAutofit lnSpcReduction="10000"/>
          </a:bodyPr>
          <a:lstStyle/>
          <a:p>
            <a:pPr marL="0" lvl="1" indent="0">
              <a:lnSpc>
                <a:spcPct val="120000"/>
              </a:lnSpc>
              <a:buNone/>
            </a:pPr>
            <a:r>
              <a:rPr lang="en-US" sz="2000" b="1" dirty="0">
                <a:solidFill>
                  <a:prstClr val="black"/>
                </a:solidFill>
              </a:rPr>
              <a:t>Definition</a:t>
            </a:r>
            <a:r>
              <a:rPr lang="en-US" sz="2000" dirty="0">
                <a:solidFill>
                  <a:prstClr val="black"/>
                </a:solidFill>
              </a:rPr>
              <a:t>: evolving, but generally state provides coverage that may be more affordable and/or accessible than current options in individual and employer markets by leveraging government buying power</a:t>
            </a:r>
          </a:p>
          <a:p>
            <a:pPr marL="228282" lvl="2" indent="0">
              <a:lnSpc>
                <a:spcPct val="120000"/>
              </a:lnSpc>
              <a:buNone/>
            </a:pPr>
            <a:endParaRPr lang="en-US" sz="1200" dirty="0">
              <a:solidFill>
                <a:prstClr val="black"/>
              </a:solidFill>
            </a:endParaRPr>
          </a:p>
          <a:p>
            <a:pPr marL="0" lvl="1" indent="0">
              <a:lnSpc>
                <a:spcPct val="120000"/>
              </a:lnSpc>
              <a:buNone/>
            </a:pPr>
            <a:r>
              <a:rPr lang="en-US" sz="2000" b="1" dirty="0">
                <a:solidFill>
                  <a:prstClr val="black"/>
                </a:solidFill>
              </a:rPr>
              <a:t>Goals</a:t>
            </a:r>
            <a:r>
              <a:rPr lang="en-US" sz="2000" dirty="0">
                <a:solidFill>
                  <a:prstClr val="black"/>
                </a:solidFill>
              </a:rPr>
              <a:t>: increase affordability, access, competition, single payer glide path (or obstacle)?</a:t>
            </a:r>
          </a:p>
          <a:p>
            <a:pPr marL="0" lvl="1" indent="0">
              <a:lnSpc>
                <a:spcPct val="120000"/>
              </a:lnSpc>
              <a:buNone/>
            </a:pPr>
            <a:endParaRPr lang="en-US" sz="1200" dirty="0">
              <a:solidFill>
                <a:prstClr val="black"/>
              </a:solidFill>
            </a:endParaRPr>
          </a:p>
          <a:p>
            <a:pPr marL="0" lvl="1" indent="0">
              <a:lnSpc>
                <a:spcPct val="120000"/>
              </a:lnSpc>
              <a:buNone/>
            </a:pPr>
            <a:r>
              <a:rPr lang="en-US" sz="2000" b="1" dirty="0">
                <a:solidFill>
                  <a:prstClr val="black"/>
                </a:solidFill>
              </a:rPr>
              <a:t>Considerations</a:t>
            </a:r>
            <a:r>
              <a:rPr lang="en-US" sz="2000" dirty="0">
                <a:solidFill>
                  <a:prstClr val="black"/>
                </a:solidFill>
              </a:rPr>
              <a:t>: provider networks, reimbursement rates, impact on existing insurance markets, insurer reactions, need for federal waiver?</a:t>
            </a:r>
          </a:p>
          <a:p>
            <a:pPr marL="237412" lvl="2" indent="0">
              <a:lnSpc>
                <a:spcPct val="120000"/>
              </a:lnSpc>
              <a:buClr>
                <a:srgbClr val="71685A"/>
              </a:buClr>
              <a:buNone/>
            </a:pPr>
            <a:endParaRPr lang="en-US" sz="1200" dirty="0">
              <a:solidFill>
                <a:prstClr val="black"/>
              </a:solidFill>
            </a:endParaRPr>
          </a:p>
          <a:p>
            <a:endParaRPr lang="en-US" dirty="0"/>
          </a:p>
        </p:txBody>
      </p:sp>
      <p:pic>
        <p:nvPicPr>
          <p:cNvPr id="4" name="Picture 3"/>
          <p:cNvPicPr>
            <a:picLocks noChangeAspect="1"/>
          </p:cNvPicPr>
          <p:nvPr/>
        </p:nvPicPr>
        <p:blipFill>
          <a:blip r:embed="rId2"/>
          <a:stretch>
            <a:fillRect/>
          </a:stretch>
        </p:blipFill>
        <p:spPr>
          <a:xfrm>
            <a:off x="558342" y="2333737"/>
            <a:ext cx="665411" cy="665411"/>
          </a:xfrm>
          <a:prstGeom prst="rect">
            <a:avLst/>
          </a:prstGeom>
        </p:spPr>
      </p:pic>
      <p:pic>
        <p:nvPicPr>
          <p:cNvPr id="5" name="Picture 4"/>
          <p:cNvPicPr>
            <a:picLocks noChangeAspect="1"/>
          </p:cNvPicPr>
          <p:nvPr/>
        </p:nvPicPr>
        <p:blipFill>
          <a:blip r:embed="rId3"/>
          <a:stretch>
            <a:fillRect/>
          </a:stretch>
        </p:blipFill>
        <p:spPr>
          <a:xfrm>
            <a:off x="552246" y="3840719"/>
            <a:ext cx="627942" cy="627942"/>
          </a:xfrm>
          <a:prstGeom prst="rect">
            <a:avLst/>
          </a:prstGeom>
        </p:spPr>
      </p:pic>
      <p:pic>
        <p:nvPicPr>
          <p:cNvPr id="7" name="Picture 6"/>
          <p:cNvPicPr>
            <a:picLocks noChangeAspect="1"/>
          </p:cNvPicPr>
          <p:nvPr/>
        </p:nvPicPr>
        <p:blipFill>
          <a:blip r:embed="rId4"/>
          <a:stretch>
            <a:fillRect/>
          </a:stretch>
        </p:blipFill>
        <p:spPr>
          <a:xfrm>
            <a:off x="558342" y="4999309"/>
            <a:ext cx="621846" cy="621846"/>
          </a:xfrm>
          <a:prstGeom prst="rect">
            <a:avLst/>
          </a:prstGeom>
        </p:spPr>
      </p:pic>
    </p:spTree>
    <p:extLst>
      <p:ext uri="{BB962C8B-B14F-4D97-AF65-F5344CB8AC3E}">
        <p14:creationId xmlns:p14="http://schemas.microsoft.com/office/powerpoint/2010/main" val="16105455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y2SkdHcTS6SNZDU6am1I7g"/>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12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3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1344</TotalTime>
  <Words>847</Words>
  <Application>Microsoft Office PowerPoint</Application>
  <PresentationFormat>On-screen Show (4:3)</PresentationFormat>
  <Paragraphs>235</Paragraphs>
  <Slides>15</Slides>
  <Notes>6</Notes>
  <HiddenSlides>0</HiddenSlides>
  <MMClips>0</MMClips>
  <ScaleCrop>false</ScaleCrop>
  <HeadingPairs>
    <vt:vector size="8" baseType="variant">
      <vt:variant>
        <vt:lpstr>Fonts Used</vt:lpstr>
      </vt:variant>
      <vt:variant>
        <vt:i4>11</vt:i4>
      </vt:variant>
      <vt:variant>
        <vt:lpstr>Theme</vt:lpstr>
      </vt:variant>
      <vt:variant>
        <vt:i4>5</vt:i4>
      </vt:variant>
      <vt:variant>
        <vt:lpstr>Embedded OLE Servers</vt:lpstr>
      </vt:variant>
      <vt:variant>
        <vt:i4>1</vt:i4>
      </vt:variant>
      <vt:variant>
        <vt:lpstr>Slide Titles</vt:lpstr>
      </vt:variant>
      <vt:variant>
        <vt:i4>15</vt:i4>
      </vt:variant>
    </vt:vector>
  </HeadingPairs>
  <TitlesOfParts>
    <vt:vector size="32" baseType="lpstr">
      <vt:lpstr>MS PGothic</vt:lpstr>
      <vt:lpstr>MS PGothic</vt:lpstr>
      <vt:lpstr>Arial</vt:lpstr>
      <vt:lpstr>Avenir Medium Oblique</vt:lpstr>
      <vt:lpstr>Calibri</vt:lpstr>
      <vt:lpstr>Helvetica Neue</vt:lpstr>
      <vt:lpstr>Helvetica Neue Medium</vt:lpstr>
      <vt:lpstr>Open Sans</vt:lpstr>
      <vt:lpstr>Open Sans Semibold</vt:lpstr>
      <vt:lpstr>Times New Roman</vt:lpstr>
      <vt:lpstr>Wingdings</vt:lpstr>
      <vt:lpstr>1_Office Theme</vt:lpstr>
      <vt:lpstr>1_Custom Design</vt:lpstr>
      <vt:lpstr>Custom Design</vt:lpstr>
      <vt:lpstr>12_Custom Design</vt:lpstr>
      <vt:lpstr>3_Custom Design</vt:lpstr>
      <vt:lpstr>think-cell Slide</vt:lpstr>
      <vt:lpstr>What’s Next? Coverage and Affordability Opportunities in Red, Blue, and Purple States</vt:lpstr>
      <vt:lpstr>PowerPoint Presentation</vt:lpstr>
      <vt:lpstr>Dynamic Federal Policy Environment</vt:lpstr>
      <vt:lpstr>PowerPoint Presentation</vt:lpstr>
      <vt:lpstr>Key Themes for States</vt:lpstr>
      <vt:lpstr>States Lean In</vt:lpstr>
      <vt:lpstr>Status of 1332 Activity </vt:lpstr>
      <vt:lpstr>Types of 1332 Waivers [Approved]</vt:lpstr>
      <vt:lpstr>Medicaid Buy-In or Public Option</vt:lpstr>
      <vt:lpstr>Medicaid Buy-In and Public Option Proposals 2019</vt:lpstr>
      <vt:lpstr>Marketplace Transitions </vt:lpstr>
      <vt:lpstr>State-Based Marketplaces</vt:lpstr>
      <vt:lpstr>Other Affordability Policy Decisions</vt:lpstr>
      <vt:lpstr>State Individual Mandates </vt:lpstr>
      <vt:lpstr>Thank You</vt:lpstr>
    </vt:vector>
  </TitlesOfParts>
  <Company>Princeton Universit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ate Innovation (1332) Waivers, Reinsurance, and Related Strategies</dc:title>
  <dc:creator>Sonia Pandit</dc:creator>
  <cp:lastModifiedBy>Sonia Pandit</cp:lastModifiedBy>
  <cp:revision>37</cp:revision>
  <dcterms:created xsi:type="dcterms:W3CDTF">2020-01-13T18:49:48Z</dcterms:created>
  <dcterms:modified xsi:type="dcterms:W3CDTF">2020-01-14T20:04:30Z</dcterms:modified>
</cp:coreProperties>
</file>